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6" r:id="rId1"/>
    <p:sldMasterId id="2147483811" r:id="rId2"/>
    <p:sldMasterId id="2147483825" r:id="rId3"/>
    <p:sldMasterId id="2147483837" r:id="rId4"/>
    <p:sldMasterId id="2147483849" r:id="rId5"/>
    <p:sldMasterId id="2147483862" r:id="rId6"/>
    <p:sldMasterId id="2147483887" r:id="rId7"/>
    <p:sldMasterId id="2147483899" r:id="rId8"/>
  </p:sldMasterIdLst>
  <p:notesMasterIdLst>
    <p:notesMasterId r:id="rId44"/>
  </p:notesMasterIdLst>
  <p:handoutMasterIdLst>
    <p:handoutMasterId r:id="rId45"/>
  </p:handoutMasterIdLst>
  <p:sldIdLst>
    <p:sldId id="659" r:id="rId9"/>
    <p:sldId id="701" r:id="rId10"/>
    <p:sldId id="704" r:id="rId11"/>
    <p:sldId id="705" r:id="rId12"/>
    <p:sldId id="519" r:id="rId13"/>
    <p:sldId id="706" r:id="rId14"/>
    <p:sldId id="707" r:id="rId15"/>
    <p:sldId id="708" r:id="rId16"/>
    <p:sldId id="756" r:id="rId17"/>
    <p:sldId id="709" r:id="rId18"/>
    <p:sldId id="710" r:id="rId19"/>
    <p:sldId id="712" r:id="rId20"/>
    <p:sldId id="713" r:id="rId21"/>
    <p:sldId id="714" r:id="rId22"/>
    <p:sldId id="725" r:id="rId23"/>
    <p:sldId id="755" r:id="rId24"/>
    <p:sldId id="737" r:id="rId25"/>
    <p:sldId id="753" r:id="rId26"/>
    <p:sldId id="746" r:id="rId27"/>
    <p:sldId id="751" r:id="rId28"/>
    <p:sldId id="752" r:id="rId29"/>
    <p:sldId id="643" r:id="rId30"/>
    <p:sldId id="531" r:id="rId31"/>
    <p:sldId id="711" r:id="rId32"/>
    <p:sldId id="726" r:id="rId33"/>
    <p:sldId id="727" r:id="rId34"/>
    <p:sldId id="728" r:id="rId35"/>
    <p:sldId id="729" r:id="rId36"/>
    <p:sldId id="730" r:id="rId37"/>
    <p:sldId id="731" r:id="rId38"/>
    <p:sldId id="732" r:id="rId39"/>
    <p:sldId id="733" r:id="rId40"/>
    <p:sldId id="734" r:id="rId41"/>
    <p:sldId id="735" r:id="rId42"/>
    <p:sldId id="736" r:id="rId43"/>
  </p:sldIdLst>
  <p:sldSz cx="9144000" cy="6858000" type="screen4x3"/>
  <p:notesSz cx="7053263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Garamond" pitchFamily="18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0000FF"/>
    <a:srgbClr val="000099"/>
    <a:srgbClr val="FF0000"/>
    <a:srgbClr val="F50B27"/>
    <a:srgbClr val="009900"/>
    <a:srgbClr val="FEE6E9"/>
    <a:srgbClr val="FEE6EA"/>
    <a:srgbClr val="FEE6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21" autoAdjust="0"/>
    <p:restoredTop sz="96237" autoAdjust="0"/>
  </p:normalViewPr>
  <p:slideViewPr>
    <p:cSldViewPr>
      <p:cViewPr>
        <p:scale>
          <a:sx n="70" d="100"/>
          <a:sy n="70" d="100"/>
        </p:scale>
        <p:origin x="-1302" y="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4200"/>
    </p:cViewPr>
  </p:sorterViewPr>
  <p:notesViewPr>
    <p:cSldViewPr>
      <p:cViewPr varScale="1">
        <p:scale>
          <a:sx n="57" d="100"/>
          <a:sy n="57" d="100"/>
        </p:scale>
        <p:origin x="-1836" y="-96"/>
      </p:cViewPr>
      <p:guideLst>
        <p:guide orient="horz" pos="2931"/>
        <p:guide pos="22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89479440070021"/>
          <c:y val="2.9456272620876651E-2"/>
          <c:w val="0.68982040439390035"/>
          <c:h val="0.821961867562772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 Target</c:v>
                </c:pt>
              </c:strCache>
            </c:strRef>
          </c:tx>
          <c:spPr>
            <a:solidFill>
              <a:srgbClr val="A5002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lang="en-U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5-16 </c:v>
                </c:pt>
                <c:pt idx="1">
                  <c:v>2016-17</c:v>
                </c:pt>
                <c:pt idx="2">
                  <c:v>2017-18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8</c:v>
                </c:pt>
                <c:pt idx="2">
                  <c:v>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D9D-436D-886B-124A2B45F20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I Achievement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lang="en-U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5-16 </c:v>
                </c:pt>
                <c:pt idx="1">
                  <c:v>2016-17</c:v>
                </c:pt>
                <c:pt idx="2">
                  <c:v>2017-18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.72</c:v>
                </c:pt>
                <c:pt idx="1">
                  <c:v>8.44</c:v>
                </c:pt>
                <c:pt idx="2">
                  <c:v>7.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D9D-436D-886B-124A2B45F20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OI Target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2.5254293948050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D9D-436D-886B-124A2B45F2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5-16 </c:v>
                </c:pt>
                <c:pt idx="1">
                  <c:v>2016-17</c:v>
                </c:pt>
                <c:pt idx="2">
                  <c:v>2017-18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0.53</c:v>
                </c:pt>
                <c:pt idx="1">
                  <c:v>0.8</c:v>
                </c:pt>
                <c:pt idx="2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D9D-436D-886B-124A2B45F20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I Achievement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dLbl>
              <c:idx val="1"/>
              <c:layout>
                <c:manualLayout>
                  <c:x val="1.5325670498084349E-2"/>
                  <c:y val="-5.612065321788979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D9D-436D-886B-124A2B45F20E}"/>
                </c:ext>
              </c:extLst>
            </c:dLbl>
            <c:dLbl>
              <c:idx val="2"/>
              <c:layout>
                <c:manualLayout>
                  <c:x val="1.0727969348659059E-2"/>
                  <c:y val="-8.41809798268347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D9D-436D-886B-124A2B45F2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5-16 </c:v>
                </c:pt>
                <c:pt idx="1">
                  <c:v>2016-17</c:v>
                </c:pt>
                <c:pt idx="2">
                  <c:v>2017-18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0.22000000000000003</c:v>
                </c:pt>
                <c:pt idx="1">
                  <c:v>0.84000000000000008</c:v>
                </c:pt>
                <c:pt idx="2">
                  <c:v>1.10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D9D-436D-886B-124A2B45F2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9449856"/>
        <c:axId val="124025088"/>
      </c:barChart>
      <c:catAx>
        <c:axId val="119449856"/>
        <c:scaling>
          <c:orientation val="minMax"/>
        </c:scaling>
        <c:delete val="0"/>
        <c:axPos val="b"/>
        <c:numFmt formatCode="General" sourceLinked="1"/>
        <c:majorTickMark val="in"/>
        <c:minorTickMark val="in"/>
        <c:tickLblPos val="nextTo"/>
        <c:txPr>
          <a:bodyPr rot="0" vert="horz" anchor="ctr" anchorCtr="1"/>
          <a:lstStyle/>
          <a:p>
            <a:pPr>
              <a:defRPr lang="en-US"/>
            </a:pPr>
            <a:endParaRPr lang="en-US"/>
          </a:p>
        </c:txPr>
        <c:crossAx val="124025088"/>
        <c:crosses val="autoZero"/>
        <c:auto val="0"/>
        <c:lblAlgn val="ctr"/>
        <c:lblOffset val="100"/>
        <c:noMultiLvlLbl val="0"/>
      </c:catAx>
      <c:valAx>
        <c:axId val="12402508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n-US"/>
            </a:pPr>
            <a:endParaRPr lang="en-US"/>
          </a:p>
        </c:txPr>
        <c:crossAx val="11944985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845670506464465"/>
          <c:y val="0.34126240095201937"/>
          <c:w val="0.21543294935355303"/>
          <c:h val="0.30063878118314363"/>
        </c:manualLayout>
      </c:layout>
      <c:overlay val="0"/>
      <c:txPr>
        <a:bodyPr/>
        <a:lstStyle/>
        <a:p>
          <a:pPr>
            <a:defRPr lang="en-US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72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055938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9" tIns="46739" rIns="93479" bIns="46739" numCol="1" anchor="t" anchorCtr="0" compatLnSpc="1">
            <a:prstTxWarp prst="textNoShape">
              <a:avLst/>
            </a:prstTxWarp>
          </a:bodyPr>
          <a:lstStyle>
            <a:lvl1pPr defTabSz="934827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95738" y="1"/>
            <a:ext cx="3055937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9" tIns="46739" rIns="93479" bIns="46739" numCol="1" anchor="t" anchorCtr="0" compatLnSpc="1">
            <a:prstTxWarp prst="textNoShape">
              <a:avLst/>
            </a:prstTxWarp>
          </a:bodyPr>
          <a:lstStyle>
            <a:lvl1pPr algn="r" defTabSz="934827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840789"/>
            <a:ext cx="3055938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9" tIns="46739" rIns="93479" bIns="46739" numCol="1" anchor="b" anchorCtr="0" compatLnSpc="1">
            <a:prstTxWarp prst="textNoShape">
              <a:avLst/>
            </a:prstTxWarp>
          </a:bodyPr>
          <a:lstStyle>
            <a:lvl1pPr defTabSz="934827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73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95738" y="8840789"/>
            <a:ext cx="3055937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9" tIns="46739" rIns="93479" bIns="46739" numCol="1" anchor="b" anchorCtr="0" compatLnSpc="1">
            <a:prstTxWarp prst="textNoShape">
              <a:avLst/>
            </a:prstTxWarp>
          </a:bodyPr>
          <a:lstStyle>
            <a:lvl1pPr algn="r" defTabSz="934827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13284B7-76A2-4725-97A2-AD96C0F37B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1474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055938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9" tIns="46739" rIns="93479" bIns="46739" numCol="1" anchor="t" anchorCtr="0" compatLnSpc="1">
            <a:prstTxWarp prst="textNoShape">
              <a:avLst/>
            </a:prstTxWarp>
          </a:bodyPr>
          <a:lstStyle>
            <a:lvl1pPr defTabSz="934827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95738" y="1"/>
            <a:ext cx="3055937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9" tIns="46739" rIns="93479" bIns="46739" numCol="1" anchor="t" anchorCtr="0" compatLnSpc="1">
            <a:prstTxWarp prst="textNoShape">
              <a:avLst/>
            </a:prstTxWarp>
          </a:bodyPr>
          <a:lstStyle>
            <a:lvl1pPr algn="r" defTabSz="934827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00150" y="698500"/>
            <a:ext cx="4654550" cy="34909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4851" y="4422776"/>
            <a:ext cx="5643563" cy="418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9" tIns="46739" rIns="93479" bIns="467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40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840789"/>
            <a:ext cx="3055938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9" tIns="46739" rIns="93479" bIns="46739" numCol="1" anchor="b" anchorCtr="0" compatLnSpc="1">
            <a:prstTxWarp prst="textNoShape">
              <a:avLst/>
            </a:prstTxWarp>
          </a:bodyPr>
          <a:lstStyle>
            <a:lvl1pPr defTabSz="934827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95738" y="8840789"/>
            <a:ext cx="3055937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9" tIns="46739" rIns="93479" bIns="46739" numCol="1" anchor="b" anchorCtr="0" compatLnSpc="1">
            <a:prstTxWarp prst="textNoShape">
              <a:avLst/>
            </a:prstTxWarp>
          </a:bodyPr>
          <a:lstStyle>
            <a:lvl1pPr algn="r" defTabSz="934827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1B3D5BA-0D9E-4C85-AA20-43C13C26BD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6116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200150" y="698500"/>
            <a:ext cx="4654550" cy="3490913"/>
          </a:xfrm>
          <a:ln/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IN" smtClean="0"/>
          </a:p>
        </p:txBody>
      </p:sp>
      <p:sp>
        <p:nvSpPr>
          <p:cNvPr id="23556" name="Slide Number Placeholder 3"/>
          <p:cNvSpPr txBox="1">
            <a:spLocks noGrp="1"/>
          </p:cNvSpPr>
          <p:nvPr/>
        </p:nvSpPr>
        <p:spPr bwMode="auto">
          <a:xfrm>
            <a:off x="3995738" y="8840789"/>
            <a:ext cx="3055937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479" tIns="46739" rIns="93479" bIns="46739" anchor="b"/>
          <a:lstStyle/>
          <a:p>
            <a:pPr algn="r" defTabSz="908040"/>
            <a:fld id="{AC7549E6-4C98-4543-8079-E350A553B423}" type="slidenum">
              <a:rPr lang="en-US" sz="1200">
                <a:latin typeface="Arial" charset="0"/>
              </a:rPr>
              <a:pPr algn="r" defTabSz="908040"/>
              <a:t>5</a:t>
            </a:fld>
            <a:endParaRPr lang="en-US" sz="1200" dirty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B3D5BA-0D9E-4C85-AA20-43C13C26BD5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4568" y="4689602"/>
            <a:ext cx="5520105" cy="24655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2991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8701302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34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IN" dirty="0" smtClean="0"/>
              <a:t>*Micro irrigation Physical Achievement for FY 2017-18 is 2.46 up to September</a:t>
            </a:r>
          </a:p>
          <a:p>
            <a:pPr defTabSz="934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IN" dirty="0" smtClean="0"/>
              <a:t>*PDMC  Fund Release fro FY-2017-18 is 3400 Crore and release of  this year 1517</a:t>
            </a:r>
          </a:p>
          <a:p>
            <a:pPr defTabSz="934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dirty="0" smtClean="0"/>
          </a:p>
          <a:p>
            <a:endParaRPr lang="en-IN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Shape 64"/>
          <p:cNvSpPr txBox="1">
            <a:spLocks noGrp="1"/>
          </p:cNvSpPr>
          <p:nvPr>
            <p:ph type="body" idx="1"/>
          </p:nvPr>
        </p:nvSpPr>
        <p:spPr>
          <a:xfrm>
            <a:off x="705327" y="4421824"/>
            <a:ext cx="5642610" cy="4189095"/>
          </a:xfrm>
          <a:prstGeom prst="rect">
            <a:avLst/>
          </a:prstGeom>
        </p:spPr>
        <p:txBody>
          <a:bodyPr lIns="93482" tIns="93482" rIns="93482" bIns="93482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832861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705327" y="4421824"/>
            <a:ext cx="5642610" cy="4189095"/>
          </a:xfrm>
          <a:prstGeom prst="rect">
            <a:avLst/>
          </a:prstGeom>
        </p:spPr>
        <p:txBody>
          <a:bodyPr lIns="93482" tIns="93482" rIns="93482" bIns="93482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545821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0F4085-0D29-4570-9D04-D87922A368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750D0E-8EA9-43B5-89CD-A86E9A476C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D27B47-9150-4CB1-8D2F-115D32601A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9A7EB3-DA57-47A6-96B8-BC3BBDFA0987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2274B2-E909-4686-B1DA-D24FC9CB6341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2354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ADE952-9589-4ED9-8770-05764159EAE2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C559E6-E785-4DAD-8358-BA1137A05221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6766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F3964A-9334-4D28-B39B-8CDB213A0C18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405CED-E9D2-46F3-93C0-5AF8149AD26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0977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9B042-3C94-4CFA-995D-5D7912AEAE7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6CEEF4-69BA-4563-A001-C73B429D3F9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095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AD0BE1-0677-4236-BDBA-AD53BE1EC0A5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04882E-DF3C-415E-BD18-2A00976B701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0340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939E96-069A-4F4C-A1BF-F9CEB26CD62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AA6669-8C53-4628-ADD4-1925F1D7089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5969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251703-C093-469E-9541-C70190E4F978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B95BB-CAC2-4CA2-B088-23E53CAC002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382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E5BF50-F858-4D22-B13D-A1DB8A43CD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677DD2-FB2C-4B74-AB92-758D1159EE8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272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180009-56EA-4F8F-BC71-F79CDFB3FA1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11131A-5578-4C44-ABA3-1593768DC993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1FD153-E054-4AFD-8875-9F9275C8FE2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063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660FA3-AF20-44F4-8096-B842649E63F6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4CB573-B837-4778-ADCB-8373DC66E79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7868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11AF4-1189-449C-8C44-25CB555C10CF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ED1FE4-C607-49BE-A390-69357AE4C17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0295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23" y="103188"/>
            <a:ext cx="8243887" cy="1314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1"/>
            <a:ext cx="4038600" cy="44561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4561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ate Placeholder 1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7389D3-3371-4201-9999-6CB1914A540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881992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48462-02DD-4289-8AB1-1B10B5AD4A9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009A7-F1CB-FB42-86C6-2C203E0570C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8638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4EFE3-2AF2-42E4-9D37-47A0F7FFC92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009A7-F1CB-FB42-86C6-2C203E0570C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4160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7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55C669-9264-479C-9DE7-3E17DCE554F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009A7-F1CB-FB42-86C6-2C203E0570C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3608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584C3-A1CF-49C5-BBE4-18EB675E573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009A7-F1CB-FB42-86C6-2C203E0570C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761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D2F868-EFD5-4F1C-BEAC-46BFF829F45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009A7-F1CB-FB42-86C6-2C203E0570C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8345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A2916-C57F-40FF-BD48-F61C5458DC4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009A7-F1CB-FB42-86C6-2C203E0570C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2162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C8A7A2-3F28-4457-A49A-0E087B24E4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8571F-E043-4157-AA20-33DB2D434B4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009A7-F1CB-FB42-86C6-2C203E0570C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8095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3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C8B902-A386-4C48-B4F4-6423A968BF8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009A7-F1CB-FB42-86C6-2C203E0570C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7055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3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D3C1A-5C34-49B2-B5FF-2DEFFE8BC64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009A7-F1CB-FB42-86C6-2C203E0570C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7354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584C6-22E6-4DF0-B976-4BC20C41CEE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009A7-F1CB-FB42-86C6-2C203E0570C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3016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D0E43-B7D1-4FA6-AB08-F1F5BF78F16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009A7-F1CB-FB42-86C6-2C203E0570C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2348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0F4085-0D29-4570-9D04-D87922A368B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3115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180009-56EA-4F8F-BC71-F79CDFB3FA1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6011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C8A7A2-3F28-4457-A49A-0E087B24E4A9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8637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972F7C-823D-4FAC-B079-7DF8ECB2171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804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98835A-8537-4995-A711-88F0BEC43EC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788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972F7C-823D-4FAC-B079-7DF8ECB2171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44FC64-A1D9-4B55-A9BA-2C586AC87FF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0867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DBC684-953B-4F4A-8FC6-D9C9E5184C3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6346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3F3D00-267E-4A3E-A493-0B4FA8455AB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3437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8885FA-4064-4644-B3C2-CECF613FE38A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6332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750D0E-8EA9-43B5-89CD-A86E9A476C59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479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D27B47-9150-4CB1-8D2F-115D32601AF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3568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9A7EB3-DA57-47A6-96B8-BC3BBDFA0987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2274B2-E909-4686-B1DA-D24FC9CB6341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1598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ADE952-9589-4ED9-8770-05764159EAE2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C559E6-E785-4DAD-8358-BA1137A05221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877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F3964A-9334-4D28-B39B-8CDB213A0C18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405CED-E9D2-46F3-93C0-5AF8149AD26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5116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9B042-3C94-4CFA-995D-5D7912AEAE7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6CEEF4-69BA-4563-A001-C73B429D3F9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968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98835A-8537-4995-A711-88F0BEC43EC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AD0BE1-0677-4236-BDBA-AD53BE1EC0A5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04882E-DF3C-415E-BD18-2A00976B701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725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939E96-069A-4F4C-A1BF-F9CEB26CD62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AA6669-8C53-4628-ADD4-1925F1D7089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0874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251703-C093-469E-9541-C70190E4F978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B95BB-CAC2-4CA2-B088-23E53CAC002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34362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E5BF50-F858-4D22-B13D-A1DB8A43CD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677DD2-FB2C-4B74-AB92-758D1159EE8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1439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11131A-5578-4C44-ABA3-1593768DC993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1FD153-E054-4AFD-8875-9F9275C8FE2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425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660FA3-AF20-44F4-8096-B842649E63F6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4CB573-B837-4778-ADCB-8373DC66E79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1993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11AF4-1189-449C-8C44-25CB555C10CF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ED1FE4-C607-49BE-A390-69357AE4C17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21762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5" y="103188"/>
            <a:ext cx="8243887" cy="1314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1"/>
            <a:ext cx="4038600" cy="44561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4561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ate Placeholder 1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7389D3-3371-4201-9999-6CB1914A540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404684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0F4085-0D29-4570-9D04-D87922A368B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6969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180009-56EA-4F8F-BC71-F79CDFB3FA1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9191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44FC64-A1D9-4B55-A9BA-2C586AC87F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C8A7A2-3F28-4457-A49A-0E087B24E4A9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19483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972F7C-823D-4FAC-B079-7DF8ECB2171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9196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98835A-8537-4995-A711-88F0BEC43EC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29149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44FC64-A1D9-4B55-A9BA-2C586AC87FF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8823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DBC684-953B-4F4A-8FC6-D9C9E5184C3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22128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3F3D00-267E-4A3E-A493-0B4FA8455AB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6784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8885FA-4064-4644-B3C2-CECF613FE38A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9855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750D0E-8EA9-43B5-89CD-A86E9A476C59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09976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D27B47-9150-4CB1-8D2F-115D32601AF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82036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187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DBC684-953B-4F4A-8FC6-D9C9E5184C3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66285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61317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9645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07208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93056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0163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289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6709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26917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774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3F3D00-267E-4A3E-A493-0B4FA8455A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53666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5BEEFF-FC2D-4C8A-B29D-420A6BDFFB31}" type="slidenum">
              <a:rPr lang="es-E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58647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0BD7F9-F23B-44F4-B67C-CF979575DA9B}" type="slidenum">
              <a:rPr lang="es-E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10084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D1CEBC-933D-4C75-AEA4-5E1C03A08003}" type="slidenum">
              <a:rPr lang="es-E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03170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4238DF-9FD1-48D9-BE94-7F8DFCCF4F72}" type="slidenum">
              <a:rPr lang="es-E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48106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168E94-385A-4C6D-BD0F-E64BAFF17029}" type="slidenum">
              <a:rPr lang="es-E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7546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546231-92CF-47A1-9A78-34C1993047A5}" type="slidenum">
              <a:rPr lang="es-E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83242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0D5B9A-B18C-44DB-A4DB-C2C56279F0C7}" type="slidenum">
              <a:rPr lang="es-E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12075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DF505E-5E0F-457D-B3D6-9C89588EA437}" type="slidenum">
              <a:rPr lang="es-E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9382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1E190-D80E-4086-8FF8-EBDF049C7DD8}" type="slidenum">
              <a:rPr lang="es-E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3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8885FA-4064-4644-B3C2-CECF613FE38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61645-FA40-4C80-979F-300B903FE40E}" type="slidenum">
              <a:rPr lang="es-E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08659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7A48A3-97A3-40DD-9608-2096F5725EB8}" type="slidenum">
              <a:rPr lang="es-E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3352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886057D-3574-4254-8B84-5E53AD856A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9D5592D-3C3C-4377-8E64-F9031656D307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14053A-0C89-40E5-9EF0-C41F509F22FA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596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36"/>
            <a:ext cx="7886700" cy="8895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br>
              <a:rPr lang="en-US" smtClean="0"/>
            </a:br>
            <a:r>
              <a:rPr lang="en-US" smtClean="0"/>
              <a:t>…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403505"/>
            <a:ext cx="7886700" cy="47734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66C4B2D-EAEC-431B-A129-9E7F2C9CDDDD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6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6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46009A7-F1CB-FB42-86C6-2C203E0570C4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505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886057D-3574-4254-8B84-5E53AD856A9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223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9D5592D-3C3C-4377-8E64-F9031656D307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14053A-0C89-40E5-9EF0-C41F509F22FA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584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886057D-3574-4254-8B84-5E53AD856A9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769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/13/2018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63999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25E4F6EC-3FF2-4769-A6EC-C87D06686FD2}" type="slidenum">
              <a:rPr lang="es-ES">
                <a:solidFill>
                  <a:srgbClr val="000000"/>
                </a:solidFill>
                <a:latin typeface="Arial" charset="0"/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647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" Target="slide27.xml"/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2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1.xml"/><Relationship Id="rId4" Type="http://schemas.openxmlformats.org/officeDocument/2006/relationships/chart" Target="../charts/char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Microsoft_Excel_Chart1.xls"/><Relationship Id="rId3" Type="http://schemas.openxmlformats.org/officeDocument/2006/relationships/slideLayout" Target="../slideLayouts/slideLayout82.xml"/><Relationship Id="rId7" Type="http://schemas.openxmlformats.org/officeDocument/2006/relationships/image" Target="../media/image5.jpeg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4" Type="http://schemas.openxmlformats.org/officeDocument/2006/relationships/image" Target="../media/image1.jpeg"/><Relationship Id="rId9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" Target="slide12.xml"/><Relationship Id="rId1" Type="http://schemas.openxmlformats.org/officeDocument/2006/relationships/slideLayout" Target="../slideLayouts/slideLayout5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" Target="slide13.xml"/><Relationship Id="rId1" Type="http://schemas.openxmlformats.org/officeDocument/2006/relationships/slideLayout" Target="../slideLayouts/slideLayout5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544" y="692696"/>
            <a:ext cx="8208912" cy="5760640"/>
          </a:xfrm>
        </p:spPr>
        <p:txBody>
          <a:bodyPr/>
          <a:lstStyle/>
          <a:p>
            <a:endParaRPr lang="en-US" sz="3600" b="1" dirty="0" smtClean="0">
              <a:solidFill>
                <a:srgbClr val="000099"/>
              </a:solidFill>
            </a:endParaRPr>
          </a:p>
          <a:p>
            <a:r>
              <a:rPr lang="en-US" sz="3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onference on Command Area Development</a:t>
            </a:r>
            <a:br>
              <a:rPr lang="en-US" sz="3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endParaRPr lang="en-US" sz="3600" b="1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n-US" sz="3600" b="1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en-U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INISTRY OF WATER RESOURCES, RIVER DEVELOPMENT AND GANGA REJUVENATION</a:t>
            </a: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/>
            </a:r>
            <a:b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3-3-2018</a:t>
            </a:r>
            <a:endParaRPr lang="en-US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90F4085-0D29-4570-9D04-D87922A368B2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90F4085-0D29-4570-9D04-D87922A368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466974" y="451944"/>
            <a:ext cx="8143932" cy="57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en-IN" sz="3200" b="1" dirty="0" smtClean="0">
                <a:latin typeface="Calibri"/>
              </a:rPr>
              <a:t>Development of Remote Sensing Tools</a:t>
            </a:r>
          </a:p>
        </p:txBody>
      </p:sp>
      <p:sp>
        <p:nvSpPr>
          <p:cNvPr id="8" name="Subtitle 2"/>
          <p:cNvSpPr txBox="1">
            <a:spLocks/>
          </p:cNvSpPr>
          <p:nvPr/>
        </p:nvSpPr>
        <p:spPr bwMode="auto">
          <a:xfrm>
            <a:off x="466974" y="1268760"/>
            <a:ext cx="8001056" cy="5112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indent="-174625" algn="just" eaLnBrk="0" hangingPunct="0">
              <a:spcBef>
                <a:spcPts val="2400"/>
              </a:spcBef>
              <a:buFont typeface="Arial" pitchFamily="34" charset="0"/>
              <a:buChar char="•"/>
              <a:defRPr/>
            </a:pPr>
            <a:r>
              <a:rPr lang="en-IN" sz="2400" dirty="0" smtClean="0">
                <a:solidFill>
                  <a:schemeClr val="accent1">
                    <a:lumMod val="75000"/>
                  </a:schemeClr>
                </a:solidFill>
                <a:latin typeface="Calibri"/>
              </a:rPr>
              <a:t>Details of 99 prioritized projects delineated on GIS platform.</a:t>
            </a:r>
          </a:p>
          <a:p>
            <a:pPr marL="174625" indent="-174625" algn="just" eaLnBrk="0" hangingPunct="0">
              <a:spcBef>
                <a:spcPts val="2400"/>
              </a:spcBef>
              <a:buFont typeface="Arial" pitchFamily="34" charset="0"/>
              <a:buChar char="•"/>
              <a:defRPr/>
            </a:pPr>
            <a:r>
              <a:rPr lang="en-IN" sz="2400" dirty="0" smtClean="0">
                <a:solidFill>
                  <a:schemeClr val="accent1">
                    <a:lumMod val="75000"/>
                  </a:schemeClr>
                </a:solidFill>
                <a:latin typeface="Calibri"/>
              </a:rPr>
              <a:t>Digitisation of canal network of the projects (works </a:t>
            </a:r>
            <a:r>
              <a:rPr lang="en-IN" sz="2400" dirty="0">
                <a:solidFill>
                  <a:schemeClr val="accent1">
                    <a:lumMod val="75000"/>
                  </a:schemeClr>
                </a:solidFill>
                <a:latin typeface="Calibri"/>
              </a:rPr>
              <a:t>completed,  in progress and planned) through </a:t>
            </a:r>
            <a:r>
              <a:rPr lang="en-IN" sz="2400" dirty="0" smtClean="0">
                <a:solidFill>
                  <a:schemeClr val="accent1">
                    <a:lumMod val="75000"/>
                  </a:schemeClr>
                </a:solidFill>
                <a:latin typeface="Calibri"/>
              </a:rPr>
              <a:t>available </a:t>
            </a:r>
            <a:r>
              <a:rPr lang="en-IN" sz="2400" dirty="0" err="1" smtClean="0">
                <a:solidFill>
                  <a:schemeClr val="accent1">
                    <a:lumMod val="75000"/>
                  </a:schemeClr>
                </a:solidFill>
                <a:latin typeface="Calibri"/>
              </a:rPr>
              <a:t>google</a:t>
            </a:r>
            <a:r>
              <a:rPr lang="en-IN" sz="2400" dirty="0" smtClean="0">
                <a:solidFill>
                  <a:schemeClr val="accent1">
                    <a:lumMod val="75000"/>
                  </a:schemeClr>
                </a:solidFill>
                <a:latin typeface="Calibri"/>
              </a:rPr>
              <a:t>/</a:t>
            </a:r>
            <a:r>
              <a:rPr lang="en-IN" sz="2400" dirty="0" err="1" smtClean="0">
                <a:solidFill>
                  <a:schemeClr val="accent1">
                    <a:lumMod val="75000"/>
                  </a:schemeClr>
                </a:solidFill>
                <a:latin typeface="Calibri"/>
              </a:rPr>
              <a:t>sentinal</a:t>
            </a:r>
            <a:r>
              <a:rPr lang="en-IN" sz="2400" dirty="0" smtClean="0">
                <a:solidFill>
                  <a:schemeClr val="accent1">
                    <a:lumMod val="75000"/>
                  </a:schemeClr>
                </a:solidFill>
                <a:latin typeface="Calibri"/>
              </a:rPr>
              <a:t>/NRSA imageries for all 99  projects completed through  BISAG.</a:t>
            </a:r>
          </a:p>
          <a:p>
            <a:pPr marL="174625" indent="-174625" algn="just" eaLnBrk="0" hangingPunct="0">
              <a:spcBef>
                <a:spcPts val="2400"/>
              </a:spcBef>
              <a:buFont typeface="Arial" pitchFamily="34" charset="0"/>
              <a:buChar char="•"/>
              <a:defRPr/>
            </a:pPr>
            <a:r>
              <a:rPr lang="en-IN" sz="2400" dirty="0">
                <a:solidFill>
                  <a:schemeClr val="accent1">
                    <a:lumMod val="75000"/>
                  </a:schemeClr>
                </a:solidFill>
                <a:latin typeface="Calibri"/>
              </a:rPr>
              <a:t>Drone Monitoring and mapping the progress of Lower </a:t>
            </a:r>
            <a:r>
              <a:rPr lang="en-IN" sz="2400" dirty="0" err="1">
                <a:solidFill>
                  <a:schemeClr val="accent1">
                    <a:lumMod val="75000"/>
                  </a:schemeClr>
                </a:solidFill>
                <a:latin typeface="Calibri"/>
              </a:rPr>
              <a:t>Dudhana</a:t>
            </a:r>
            <a:r>
              <a:rPr lang="en-IN" sz="2400" dirty="0">
                <a:solidFill>
                  <a:schemeClr val="accent1">
                    <a:lumMod val="75000"/>
                  </a:schemeClr>
                </a:solidFill>
                <a:latin typeface="Calibri"/>
              </a:rPr>
              <a:t> project (</a:t>
            </a:r>
            <a:r>
              <a:rPr lang="en-IN" sz="2400" dirty="0" err="1">
                <a:solidFill>
                  <a:schemeClr val="accent1">
                    <a:lumMod val="75000"/>
                  </a:schemeClr>
                </a:solidFill>
                <a:latin typeface="Calibri"/>
              </a:rPr>
              <a:t>Mah</a:t>
            </a:r>
            <a:r>
              <a:rPr lang="en-IN" sz="2400" dirty="0">
                <a:solidFill>
                  <a:schemeClr val="accent1">
                    <a:lumMod val="75000"/>
                  </a:schemeClr>
                </a:solidFill>
                <a:latin typeface="Calibri"/>
              </a:rPr>
              <a:t>.) on GIS platform initiated as Pilot </a:t>
            </a:r>
            <a:r>
              <a:rPr lang="en-IN" sz="2400" dirty="0" smtClean="0">
                <a:solidFill>
                  <a:schemeClr val="accent1">
                    <a:lumMod val="75000"/>
                  </a:schemeClr>
                </a:solidFill>
                <a:latin typeface="Calibri"/>
              </a:rPr>
              <a:t>project. </a:t>
            </a:r>
          </a:p>
          <a:p>
            <a:pPr marL="174625" indent="-174625" algn="just" eaLnBrk="0" hangingPunct="0">
              <a:spcBef>
                <a:spcPts val="2400"/>
              </a:spcBef>
              <a:buFont typeface="Arial" pitchFamily="34" charset="0"/>
              <a:buChar char="•"/>
              <a:defRPr/>
            </a:pPr>
            <a:r>
              <a:rPr lang="en-IN" sz="2400" dirty="0" smtClean="0">
                <a:solidFill>
                  <a:schemeClr val="accent1">
                    <a:lumMod val="75000"/>
                  </a:schemeClr>
                </a:solidFill>
                <a:latin typeface="Calibri"/>
              </a:rPr>
              <a:t>Cropped Area Estimation for 2016 for each of the project through remote sensing completed and for 2017 in advanced stage.</a:t>
            </a:r>
          </a:p>
          <a:p>
            <a:pPr algn="just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IN" sz="2400" dirty="0" smtClean="0">
              <a:solidFill>
                <a:srgbClr val="000099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13790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 smtClean="0"/>
              <a:t>Overall Funds released during 2016-17 &amp; 2017-18</a:t>
            </a:r>
            <a:endParaRPr lang="en-IN" sz="2800" b="1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14999893"/>
              </p:ext>
            </p:extLst>
          </p:nvPr>
        </p:nvGraphicFramePr>
        <p:xfrm>
          <a:off x="457200" y="1600201"/>
          <a:ext cx="8401079" cy="45922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02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22319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2874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87428"/>
              </a:tblGrid>
              <a:tr h="420624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000" dirty="0">
                          <a:effectLst/>
                        </a:rPr>
                        <a:t>Sr. No.</a:t>
                      </a:r>
                      <a:endParaRPr lang="en-US" sz="20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>
                          <a:effectLst/>
                        </a:rPr>
                        <a:t>Item</a:t>
                      </a:r>
                      <a:endParaRPr lang="en-US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>
                          <a:effectLst/>
                        </a:rPr>
                        <a:t>Funds </a:t>
                      </a:r>
                      <a:r>
                        <a:rPr lang="en-US" sz="2400" dirty="0" smtClean="0">
                          <a:effectLst/>
                        </a:rPr>
                        <a:t>Released  (</a:t>
                      </a:r>
                      <a:r>
                        <a:rPr lang="en-US" sz="2400" dirty="0" err="1" smtClean="0">
                          <a:effectLst/>
                        </a:rPr>
                        <a:t>Rs</a:t>
                      </a:r>
                      <a:r>
                        <a:rPr lang="en-US" sz="2400" dirty="0" smtClean="0">
                          <a:effectLst/>
                        </a:rPr>
                        <a:t> in cr.)</a:t>
                      </a:r>
                      <a:endParaRPr lang="en-US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endParaRPr lang="en-US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06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6-17</a:t>
                      </a:r>
                      <a:endParaRPr lang="en-US" sz="24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7-18</a:t>
                      </a:r>
                      <a:endParaRPr lang="en-US" sz="24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50387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AIBP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3308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438.1*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0387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CAD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854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579.2*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0387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Polavaram Project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2514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2000.0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0387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State </a:t>
                      </a: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Share from LTIF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3334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tabLst>
                          <a:tab pos="685800" algn="l"/>
                        </a:tabLs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4276.4*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47689">
                <a:tc>
                  <a:txBody>
                    <a:bodyPr/>
                    <a:lstStyle/>
                    <a:p>
                      <a:pPr algn="ctr"/>
                      <a:endParaRPr lang="en-IN" sz="2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800" b="1" dirty="0" smtClean="0"/>
                        <a:t>Total </a:t>
                      </a:r>
                      <a:endParaRPr lang="en-IN" sz="2800" b="1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800" b="1" dirty="0" smtClean="0"/>
                        <a:t>10010 </a:t>
                      </a:r>
                      <a:endParaRPr lang="en-IN" sz="2800" b="1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29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47689">
                <a:tc gridSpan="4">
                  <a:txBody>
                    <a:bodyPr/>
                    <a:lstStyle/>
                    <a:p>
                      <a:pPr algn="l"/>
                      <a:r>
                        <a:rPr lang="en-IN" sz="1800" b="1" dirty="0" smtClean="0"/>
                        <a:t>Release of CA</a:t>
                      </a:r>
                      <a:r>
                        <a:rPr lang="en-IN" sz="1800" b="1" baseline="0" dirty="0" smtClean="0"/>
                        <a:t> of </a:t>
                      </a:r>
                      <a:r>
                        <a:rPr lang="en-IN" sz="1800" b="1" baseline="0" dirty="0" err="1" smtClean="0"/>
                        <a:t>Rs</a:t>
                      </a:r>
                      <a:r>
                        <a:rPr lang="en-IN" sz="1800" b="1" baseline="0" dirty="0" smtClean="0"/>
                        <a:t>. 1540 Cr under AIBP , </a:t>
                      </a:r>
                      <a:r>
                        <a:rPr lang="en-IN" sz="1800" b="1" baseline="0" dirty="0" err="1" smtClean="0"/>
                        <a:t>Rs</a:t>
                      </a:r>
                      <a:r>
                        <a:rPr lang="en-IN" sz="1800" b="1" baseline="0" dirty="0" smtClean="0"/>
                        <a:t>. 355 Cr. under CAD and State Share of </a:t>
                      </a:r>
                      <a:r>
                        <a:rPr lang="en-IN" sz="1800" b="1" baseline="0" dirty="0" err="1" smtClean="0"/>
                        <a:t>Rs</a:t>
                      </a:r>
                      <a:r>
                        <a:rPr lang="en-IN" sz="1800" b="1" baseline="0" dirty="0" smtClean="0"/>
                        <a:t>. 450  Cr. under process.</a:t>
                      </a:r>
                      <a:endParaRPr lang="en-IN" sz="1800" b="1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IN" sz="28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IN" sz="28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2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547689">
                <a:tc>
                  <a:txBody>
                    <a:bodyPr/>
                    <a:lstStyle/>
                    <a:p>
                      <a:pPr algn="ctr"/>
                      <a:endParaRPr lang="en-IN" sz="28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28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28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2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9180009-56EA-4F8F-BC71-F79CDFB3FA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953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9180009-56EA-4F8F-BC71-F79CDFB3FA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136904"/>
              </p:ext>
            </p:extLst>
          </p:nvPr>
        </p:nvGraphicFramePr>
        <p:xfrm>
          <a:off x="285720" y="214290"/>
          <a:ext cx="8352928" cy="5734989"/>
        </p:xfrm>
        <a:graphic>
          <a:graphicData uri="http://schemas.openxmlformats.org/drawingml/2006/table">
            <a:tbl>
              <a:tblPr/>
              <a:tblGrid>
                <a:gridCol w="8203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2158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5548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05548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44686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2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Stage-I (AIBP component) Completion-June,2017</a:t>
                      </a:r>
                      <a:endParaRPr lang="en-US" sz="28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24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1840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Sl. No.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Stat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No. of Project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Ultimate Irrigation Potential</a:t>
                      </a:r>
                    </a:p>
                    <a:p>
                      <a:pPr algn="ctr" fontAlgn="ctr"/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(Th. Ha.)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90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dhra Pradesh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4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90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hhattisgarh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.8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190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arnataka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90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dhya Pradesh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1.0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190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harashtra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.02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90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2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disha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.6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90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unjab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.95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190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2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langana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.72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719670">
                <a:tc gridSpan="4">
                  <a:txBody>
                    <a:bodyPr/>
                    <a:lstStyle/>
                    <a:p>
                      <a:pPr marL="434340" indent="-342900" algn="l" fontAlgn="ctr">
                        <a:buFont typeface="Arial" pitchFamily="34" charset="0"/>
                        <a:buChar char="•"/>
                      </a:pPr>
                      <a:r>
                        <a:rPr lang="en-US" sz="2000" b="1" i="0" u="none" strike="noStrike" baseline="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Total cropped area from 99 projects assessed as 32.5 L. ha.</a:t>
                      </a:r>
                    </a:p>
                    <a:p>
                      <a:pPr marL="434340" indent="-342900" algn="l" fontAlgn="ctr">
                        <a:buFont typeface="Arial" pitchFamily="34" charset="0"/>
                        <a:buChar char="•"/>
                      </a:pPr>
                      <a:r>
                        <a:rPr lang="en-US" sz="2000" b="1" i="0" u="none" strike="noStrike" baseline="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Additional Potential Creation : 5.00 L. Ha.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91440" algn="l" fontAlgn="ctr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sp>
        <p:nvSpPr>
          <p:cNvPr id="6" name="Right Arrow 5">
            <a:hlinkClick r:id="rId2" action="ppaction://hlinksldjump"/>
          </p:cNvPr>
          <p:cNvSpPr/>
          <p:nvPr/>
        </p:nvSpPr>
        <p:spPr>
          <a:xfrm>
            <a:off x="7650342" y="6165304"/>
            <a:ext cx="540060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52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7010400" y="6741369"/>
            <a:ext cx="1594048" cy="242316"/>
          </a:xfrm>
        </p:spPr>
        <p:txBody>
          <a:bodyPr/>
          <a:lstStyle/>
          <a:p>
            <a:pPr>
              <a:defRPr/>
            </a:pPr>
            <a:fld id="{32DBC684-953B-4F4A-8FC6-D9C9E5184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143553"/>
              </p:ext>
            </p:extLst>
          </p:nvPr>
        </p:nvGraphicFramePr>
        <p:xfrm>
          <a:off x="467544" y="148375"/>
          <a:ext cx="8147248" cy="64755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28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6440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248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0813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5565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4289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42890"/>
                <a:gridCol w="102551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748982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en-US" sz="24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28 more projects anticipated for completion by June,18</a:t>
                      </a:r>
                      <a:endParaRPr lang="en-US" sz="24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6594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.No</a:t>
                      </a:r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at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o. of Project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alance cost </a:t>
                      </a:r>
                      <a:r>
                        <a:rPr lang="en-US" sz="1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AIBP) as </a:t>
                      </a:r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n 1.4.2016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Balance CA </a:t>
                      </a:r>
                      <a:r>
                        <a:rPr lang="en-US" sz="1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dmissibl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A released under AIBP during 2016-17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A released/ ready  under AIBP during 2017-18 </a:t>
                      </a:r>
                      <a:endParaRPr lang="en-US" sz="16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argeted Irrigation Potential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Th. Ha.)</a:t>
                      </a:r>
                      <a:endParaRPr lang="en-US" sz="16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17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effectLst/>
                        </a:rPr>
                        <a:t> </a:t>
                      </a:r>
                      <a:r>
                        <a:rPr lang="en-US" sz="1600" b="0" u="none" strike="noStrike" dirty="0" smtClean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b="0" u="none" strike="noStrike" dirty="0">
                          <a:effectLst/>
                        </a:rPr>
                        <a:t>Andhra Pradesh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02.823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5.567</a:t>
                      </a:r>
                      <a:endParaRPr lang="en-US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.40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1.79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51.87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817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effectLst/>
                        </a:rPr>
                        <a:t> </a:t>
                      </a:r>
                      <a:r>
                        <a:rPr lang="en-US" sz="1600" b="0" u="none" strike="noStrike" dirty="0" smtClean="0">
                          <a:effectLst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b="0" u="none" strike="noStrike" dirty="0">
                          <a:effectLst/>
                        </a:rPr>
                        <a:t>Assam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42.36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0.51</a:t>
                      </a: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-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-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11.37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320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effectLst/>
                        </a:rPr>
                        <a:t> </a:t>
                      </a:r>
                      <a:r>
                        <a:rPr lang="en-US" sz="1600" b="0" u="none" strike="noStrike" dirty="0" smtClean="0">
                          <a:effectLst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b="0" u="none" strike="noStrike" dirty="0" smtClean="0">
                          <a:effectLst/>
                        </a:rPr>
                        <a:t>Karnatak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6.72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4.49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2.44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-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4.29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817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effectLst/>
                        </a:rPr>
                        <a:t> </a:t>
                      </a:r>
                      <a:r>
                        <a:rPr lang="en-US" sz="1600" b="0" u="none" strike="noStrike" dirty="0" smtClean="0">
                          <a:effectLst/>
                        </a:rPr>
                        <a:t>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b="0" u="none" strike="noStrike" dirty="0">
                          <a:effectLst/>
                        </a:rPr>
                        <a:t>Madhya Pradesh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50.00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17.85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2.65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1.84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12.07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817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effectLst/>
                        </a:rPr>
                        <a:t> </a:t>
                      </a:r>
                      <a:r>
                        <a:rPr lang="en-US" sz="1600" b="0" u="none" strike="noStrike" dirty="0" smtClean="0">
                          <a:effectLst/>
                        </a:rPr>
                        <a:t>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b="0" u="none" strike="noStrike" dirty="0">
                          <a:effectLst/>
                        </a:rPr>
                        <a:t>Maharashtr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402.08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6.49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8.61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.04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4.35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817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effectLst/>
                        </a:rPr>
                        <a:t> </a:t>
                      </a:r>
                      <a:r>
                        <a:rPr lang="en-US" sz="1600" b="0" u="none" strike="noStrike" dirty="0" smtClean="0">
                          <a:effectLst/>
                        </a:rPr>
                        <a:t>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b="0" u="none" strike="noStrike" dirty="0" err="1">
                          <a:effectLst/>
                        </a:rPr>
                        <a:t>Odish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75.75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24.59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82.47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78.78</a:t>
                      </a: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8.20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817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effectLst/>
                        </a:rPr>
                        <a:t> </a:t>
                      </a:r>
                      <a:r>
                        <a:rPr lang="en-US" sz="1600" b="0" u="none" strike="noStrike" dirty="0" smtClean="0">
                          <a:effectLst/>
                        </a:rPr>
                        <a:t>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b="0" u="none" strike="noStrike" dirty="0">
                          <a:effectLst/>
                        </a:rPr>
                        <a:t>Rajasthan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18.92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59.90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5.89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8.44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15.57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817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effectLst/>
                        </a:rPr>
                        <a:t> </a:t>
                      </a:r>
                      <a:r>
                        <a:rPr lang="en-US" sz="1600" b="0" u="none" strike="noStrike" dirty="0" smtClean="0">
                          <a:effectLst/>
                        </a:rPr>
                        <a:t>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b="0" u="none" strike="noStrike" dirty="0" err="1">
                          <a:effectLst/>
                        </a:rPr>
                        <a:t>Telangan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56.61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15.66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2.16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3.24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80.31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817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 smtClean="0">
                          <a:effectLst/>
                        </a:rPr>
                        <a:t>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b="0" u="none" strike="noStrike" dirty="0">
                          <a:effectLst/>
                        </a:rPr>
                        <a:t>Uttar Pradesh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87.60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43.51</a:t>
                      </a: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4.64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3.36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50.13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817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effectLst/>
                        </a:rPr>
                        <a:t> 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2000" b="1" u="none" strike="noStrike" dirty="0">
                          <a:effectLst/>
                        </a:rPr>
                        <a:t> TOTAL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98" marR="8398" marT="839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8</a:t>
                      </a:r>
                      <a:endParaRPr lang="en-US" sz="20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602.80</a:t>
                      </a:r>
                      <a:endParaRPr lang="en-US" sz="20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708.57</a:t>
                      </a:r>
                      <a:endParaRPr lang="en-US" sz="20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86.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99.4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578.20</a:t>
                      </a:r>
                      <a:endParaRPr lang="en-US" sz="20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</a:tbl>
          </a:graphicData>
        </a:graphic>
      </p:graphicFrame>
      <p:sp>
        <p:nvSpPr>
          <p:cNvPr id="3" name="Right Arrow 2">
            <a:hlinkClick r:id="rId3" action="ppaction://hlinksldjump"/>
          </p:cNvPr>
          <p:cNvSpPr/>
          <p:nvPr/>
        </p:nvSpPr>
        <p:spPr>
          <a:xfrm flipV="1">
            <a:off x="8472311" y="6623974"/>
            <a:ext cx="618368" cy="2340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039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351" y="116632"/>
            <a:ext cx="8889480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 b="1" dirty="0" smtClean="0"/>
              <a:t>PMKSY-AIBP State performance</a:t>
            </a:r>
            <a:endParaRPr lang="en-GB" sz="2800" b="1" dirty="0"/>
          </a:p>
        </p:txBody>
      </p:sp>
      <p:grpSp>
        <p:nvGrpSpPr>
          <p:cNvPr id="4" name="Group 18"/>
          <p:cNvGrpSpPr/>
          <p:nvPr/>
        </p:nvGrpSpPr>
        <p:grpSpPr>
          <a:xfrm>
            <a:off x="194808" y="990600"/>
            <a:ext cx="5666735" cy="5723651"/>
            <a:chOff x="5316625" y="1924913"/>
            <a:chExt cx="3248856" cy="3103380"/>
          </a:xfrm>
        </p:grpSpPr>
        <p:sp>
          <p:nvSpPr>
            <p:cNvPr id="20" name="JK"/>
            <p:cNvSpPr>
              <a:spLocks/>
            </p:cNvSpPr>
            <p:nvPr/>
          </p:nvSpPr>
          <p:spPr bwMode="auto">
            <a:xfrm>
              <a:off x="5804296" y="1924913"/>
              <a:ext cx="868581" cy="507616"/>
            </a:xfrm>
            <a:custGeom>
              <a:avLst/>
              <a:gdLst>
                <a:gd name="T0" fmla="*/ 1787 w 2166"/>
                <a:gd name="T1" fmla="*/ 1026 h 1314"/>
                <a:gd name="T2" fmla="*/ 1800 w 2166"/>
                <a:gd name="T3" fmla="*/ 932 h 1314"/>
                <a:gd name="T4" fmla="*/ 1829 w 2166"/>
                <a:gd name="T5" fmla="*/ 840 h 1314"/>
                <a:gd name="T6" fmla="*/ 1910 w 2166"/>
                <a:gd name="T7" fmla="*/ 830 h 1314"/>
                <a:gd name="T8" fmla="*/ 1949 w 2166"/>
                <a:gd name="T9" fmla="*/ 746 h 1314"/>
                <a:gd name="T10" fmla="*/ 2013 w 2166"/>
                <a:gd name="T11" fmla="*/ 684 h 1314"/>
                <a:gd name="T12" fmla="*/ 2094 w 2166"/>
                <a:gd name="T13" fmla="*/ 638 h 1314"/>
                <a:gd name="T14" fmla="*/ 2150 w 2166"/>
                <a:gd name="T15" fmla="*/ 496 h 1314"/>
                <a:gd name="T16" fmla="*/ 2107 w 2166"/>
                <a:gd name="T17" fmla="*/ 388 h 1314"/>
                <a:gd name="T18" fmla="*/ 1945 w 2166"/>
                <a:gd name="T19" fmla="*/ 332 h 1314"/>
                <a:gd name="T20" fmla="*/ 1809 w 2166"/>
                <a:gd name="T21" fmla="*/ 341 h 1314"/>
                <a:gd name="T22" fmla="*/ 1668 w 2166"/>
                <a:gd name="T23" fmla="*/ 362 h 1314"/>
                <a:gd name="T24" fmla="*/ 1578 w 2166"/>
                <a:gd name="T25" fmla="*/ 397 h 1314"/>
                <a:gd name="T26" fmla="*/ 1505 w 2166"/>
                <a:gd name="T27" fmla="*/ 418 h 1314"/>
                <a:gd name="T28" fmla="*/ 1442 w 2166"/>
                <a:gd name="T29" fmla="*/ 434 h 1314"/>
                <a:gd name="T30" fmla="*/ 1373 w 2166"/>
                <a:gd name="T31" fmla="*/ 422 h 1314"/>
                <a:gd name="T32" fmla="*/ 1286 w 2166"/>
                <a:gd name="T33" fmla="*/ 352 h 1314"/>
                <a:gd name="T34" fmla="*/ 1170 w 2166"/>
                <a:gd name="T35" fmla="*/ 269 h 1314"/>
                <a:gd name="T36" fmla="*/ 1035 w 2166"/>
                <a:gd name="T37" fmla="*/ 197 h 1314"/>
                <a:gd name="T38" fmla="*/ 817 w 2166"/>
                <a:gd name="T39" fmla="*/ 55 h 1314"/>
                <a:gd name="T40" fmla="*/ 692 w 2166"/>
                <a:gd name="T41" fmla="*/ 26 h 1314"/>
                <a:gd name="T42" fmla="*/ 562 w 2166"/>
                <a:gd name="T43" fmla="*/ 24 h 1314"/>
                <a:gd name="T44" fmla="*/ 345 w 2166"/>
                <a:gd name="T45" fmla="*/ 51 h 1314"/>
                <a:gd name="T46" fmla="*/ 334 w 2166"/>
                <a:gd name="T47" fmla="*/ 102 h 1314"/>
                <a:gd name="T48" fmla="*/ 187 w 2166"/>
                <a:gd name="T49" fmla="*/ 108 h 1314"/>
                <a:gd name="T50" fmla="*/ 101 w 2166"/>
                <a:gd name="T51" fmla="*/ 189 h 1314"/>
                <a:gd name="T52" fmla="*/ 9 w 2166"/>
                <a:gd name="T53" fmla="*/ 256 h 1314"/>
                <a:gd name="T54" fmla="*/ 43 w 2166"/>
                <a:gd name="T55" fmla="*/ 350 h 1314"/>
                <a:gd name="T56" fmla="*/ 147 w 2166"/>
                <a:gd name="T57" fmla="*/ 341 h 1314"/>
                <a:gd name="T58" fmla="*/ 285 w 2166"/>
                <a:gd name="T59" fmla="*/ 419 h 1314"/>
                <a:gd name="T60" fmla="*/ 338 w 2166"/>
                <a:gd name="T61" fmla="*/ 491 h 1314"/>
                <a:gd name="T62" fmla="*/ 445 w 2166"/>
                <a:gd name="T63" fmla="*/ 550 h 1314"/>
                <a:gd name="T64" fmla="*/ 347 w 2166"/>
                <a:gd name="T65" fmla="*/ 635 h 1314"/>
                <a:gd name="T66" fmla="*/ 254 w 2166"/>
                <a:gd name="T67" fmla="*/ 740 h 1314"/>
                <a:gd name="T68" fmla="*/ 301 w 2166"/>
                <a:gd name="T69" fmla="*/ 915 h 1314"/>
                <a:gd name="T70" fmla="*/ 318 w 2166"/>
                <a:gd name="T71" fmla="*/ 1088 h 1314"/>
                <a:gd name="T72" fmla="*/ 460 w 2166"/>
                <a:gd name="T73" fmla="*/ 1147 h 1314"/>
                <a:gd name="T74" fmla="*/ 590 w 2166"/>
                <a:gd name="T75" fmla="*/ 1187 h 1314"/>
                <a:gd name="T76" fmla="*/ 616 w 2166"/>
                <a:gd name="T77" fmla="*/ 1267 h 1314"/>
                <a:gd name="T78" fmla="*/ 725 w 2166"/>
                <a:gd name="T79" fmla="*/ 1279 h 1314"/>
                <a:gd name="T80" fmla="*/ 834 w 2166"/>
                <a:gd name="T81" fmla="*/ 1311 h 1314"/>
                <a:gd name="T82" fmla="*/ 923 w 2166"/>
                <a:gd name="T83" fmla="*/ 1248 h 1314"/>
                <a:gd name="T84" fmla="*/ 942 w 2166"/>
                <a:gd name="T85" fmla="*/ 1184 h 1314"/>
                <a:gd name="T86" fmla="*/ 962 w 2166"/>
                <a:gd name="T87" fmla="*/ 1155 h 1314"/>
                <a:gd name="T88" fmla="*/ 1038 w 2166"/>
                <a:gd name="T89" fmla="*/ 1110 h 1314"/>
                <a:gd name="T90" fmla="*/ 1078 w 2166"/>
                <a:gd name="T91" fmla="*/ 1069 h 1314"/>
                <a:gd name="T92" fmla="*/ 1141 w 2166"/>
                <a:gd name="T93" fmla="*/ 1072 h 1314"/>
                <a:gd name="T94" fmla="*/ 1201 w 2166"/>
                <a:gd name="T95" fmla="*/ 1052 h 1314"/>
                <a:gd name="T96" fmla="*/ 1236 w 2166"/>
                <a:gd name="T97" fmla="*/ 1117 h 1314"/>
                <a:gd name="T98" fmla="*/ 1304 w 2166"/>
                <a:gd name="T99" fmla="*/ 1146 h 1314"/>
                <a:gd name="T100" fmla="*/ 1385 w 2166"/>
                <a:gd name="T101" fmla="*/ 1152 h 1314"/>
                <a:gd name="T102" fmla="*/ 1467 w 2166"/>
                <a:gd name="T103" fmla="*/ 1151 h 1314"/>
                <a:gd name="T104" fmla="*/ 1518 w 2166"/>
                <a:gd name="T105" fmla="*/ 1221 h 1314"/>
                <a:gd name="T106" fmla="*/ 1619 w 2166"/>
                <a:gd name="T107" fmla="*/ 1206 h 1314"/>
                <a:gd name="T108" fmla="*/ 1609 w 2166"/>
                <a:gd name="T109" fmla="*/ 1269 h 1314"/>
                <a:gd name="T110" fmla="*/ 1694 w 2166"/>
                <a:gd name="T111" fmla="*/ 1229 h 1314"/>
                <a:gd name="T112" fmla="*/ 1742 w 2166"/>
                <a:gd name="T113" fmla="*/ 1274 h 1314"/>
                <a:gd name="T114" fmla="*/ 1824 w 2166"/>
                <a:gd name="T115" fmla="*/ 1295 h 1314"/>
                <a:gd name="T116" fmla="*/ 1881 w 2166"/>
                <a:gd name="T117" fmla="*/ 1240 h 1314"/>
                <a:gd name="T118" fmla="*/ 1952 w 2166"/>
                <a:gd name="T119" fmla="*/ 1218 h 1314"/>
                <a:gd name="T120" fmla="*/ 1924 w 2166"/>
                <a:gd name="T121" fmla="*/ 1147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66" h="1314">
                  <a:moveTo>
                    <a:pt x="1896" y="1109"/>
                  </a:moveTo>
                  <a:lnTo>
                    <a:pt x="1894" y="1100"/>
                  </a:lnTo>
                  <a:lnTo>
                    <a:pt x="1897" y="1094"/>
                  </a:lnTo>
                  <a:lnTo>
                    <a:pt x="1900" y="1092"/>
                  </a:lnTo>
                  <a:lnTo>
                    <a:pt x="1906" y="1086"/>
                  </a:lnTo>
                  <a:lnTo>
                    <a:pt x="1909" y="1080"/>
                  </a:lnTo>
                  <a:lnTo>
                    <a:pt x="1909" y="1071"/>
                  </a:lnTo>
                  <a:lnTo>
                    <a:pt x="1909" y="1067"/>
                  </a:lnTo>
                  <a:lnTo>
                    <a:pt x="1910" y="1062"/>
                  </a:lnTo>
                  <a:lnTo>
                    <a:pt x="1915" y="1056"/>
                  </a:lnTo>
                  <a:lnTo>
                    <a:pt x="1915" y="1052"/>
                  </a:lnTo>
                  <a:lnTo>
                    <a:pt x="1908" y="1048"/>
                  </a:lnTo>
                  <a:lnTo>
                    <a:pt x="1901" y="1047"/>
                  </a:lnTo>
                  <a:lnTo>
                    <a:pt x="1886" y="1047"/>
                  </a:lnTo>
                  <a:lnTo>
                    <a:pt x="1878" y="1048"/>
                  </a:lnTo>
                  <a:lnTo>
                    <a:pt x="1870" y="1045"/>
                  </a:lnTo>
                  <a:lnTo>
                    <a:pt x="1849" y="1040"/>
                  </a:lnTo>
                  <a:lnTo>
                    <a:pt x="1832" y="1040"/>
                  </a:lnTo>
                  <a:lnTo>
                    <a:pt x="1817" y="1039"/>
                  </a:lnTo>
                  <a:lnTo>
                    <a:pt x="1801" y="1036"/>
                  </a:lnTo>
                  <a:lnTo>
                    <a:pt x="1793" y="1030"/>
                  </a:lnTo>
                  <a:lnTo>
                    <a:pt x="1787" y="1026"/>
                  </a:lnTo>
                  <a:lnTo>
                    <a:pt x="1780" y="1018"/>
                  </a:lnTo>
                  <a:lnTo>
                    <a:pt x="1776" y="1011"/>
                  </a:lnTo>
                  <a:lnTo>
                    <a:pt x="1772" y="1006"/>
                  </a:lnTo>
                  <a:lnTo>
                    <a:pt x="1771" y="999"/>
                  </a:lnTo>
                  <a:lnTo>
                    <a:pt x="1773" y="994"/>
                  </a:lnTo>
                  <a:lnTo>
                    <a:pt x="1776" y="988"/>
                  </a:lnTo>
                  <a:lnTo>
                    <a:pt x="1776" y="981"/>
                  </a:lnTo>
                  <a:lnTo>
                    <a:pt x="1773" y="976"/>
                  </a:lnTo>
                  <a:lnTo>
                    <a:pt x="1768" y="970"/>
                  </a:lnTo>
                  <a:lnTo>
                    <a:pt x="1770" y="957"/>
                  </a:lnTo>
                  <a:lnTo>
                    <a:pt x="1769" y="952"/>
                  </a:lnTo>
                  <a:lnTo>
                    <a:pt x="1774" y="949"/>
                  </a:lnTo>
                  <a:lnTo>
                    <a:pt x="1788" y="952"/>
                  </a:lnTo>
                  <a:lnTo>
                    <a:pt x="1798" y="952"/>
                  </a:lnTo>
                  <a:lnTo>
                    <a:pt x="1804" y="952"/>
                  </a:lnTo>
                  <a:lnTo>
                    <a:pt x="1822" y="951"/>
                  </a:lnTo>
                  <a:lnTo>
                    <a:pt x="1825" y="949"/>
                  </a:lnTo>
                  <a:lnTo>
                    <a:pt x="1821" y="947"/>
                  </a:lnTo>
                  <a:lnTo>
                    <a:pt x="1820" y="942"/>
                  </a:lnTo>
                  <a:lnTo>
                    <a:pt x="1817" y="939"/>
                  </a:lnTo>
                  <a:lnTo>
                    <a:pt x="1812" y="939"/>
                  </a:lnTo>
                  <a:lnTo>
                    <a:pt x="1800" y="932"/>
                  </a:lnTo>
                  <a:lnTo>
                    <a:pt x="1800" y="926"/>
                  </a:lnTo>
                  <a:lnTo>
                    <a:pt x="1801" y="923"/>
                  </a:lnTo>
                  <a:lnTo>
                    <a:pt x="1806" y="919"/>
                  </a:lnTo>
                  <a:lnTo>
                    <a:pt x="1809" y="914"/>
                  </a:lnTo>
                  <a:lnTo>
                    <a:pt x="1803" y="911"/>
                  </a:lnTo>
                  <a:lnTo>
                    <a:pt x="1795" y="908"/>
                  </a:lnTo>
                  <a:lnTo>
                    <a:pt x="1792" y="900"/>
                  </a:lnTo>
                  <a:lnTo>
                    <a:pt x="1788" y="890"/>
                  </a:lnTo>
                  <a:lnTo>
                    <a:pt x="1781" y="879"/>
                  </a:lnTo>
                  <a:lnTo>
                    <a:pt x="1777" y="869"/>
                  </a:lnTo>
                  <a:lnTo>
                    <a:pt x="1771" y="860"/>
                  </a:lnTo>
                  <a:lnTo>
                    <a:pt x="1769" y="851"/>
                  </a:lnTo>
                  <a:lnTo>
                    <a:pt x="1773" y="845"/>
                  </a:lnTo>
                  <a:lnTo>
                    <a:pt x="1781" y="839"/>
                  </a:lnTo>
                  <a:lnTo>
                    <a:pt x="1790" y="839"/>
                  </a:lnTo>
                  <a:lnTo>
                    <a:pt x="1796" y="838"/>
                  </a:lnTo>
                  <a:lnTo>
                    <a:pt x="1804" y="839"/>
                  </a:lnTo>
                  <a:lnTo>
                    <a:pt x="1809" y="840"/>
                  </a:lnTo>
                  <a:lnTo>
                    <a:pt x="1813" y="843"/>
                  </a:lnTo>
                  <a:lnTo>
                    <a:pt x="1820" y="844"/>
                  </a:lnTo>
                  <a:lnTo>
                    <a:pt x="1826" y="844"/>
                  </a:lnTo>
                  <a:lnTo>
                    <a:pt x="1829" y="840"/>
                  </a:lnTo>
                  <a:lnTo>
                    <a:pt x="1829" y="837"/>
                  </a:lnTo>
                  <a:lnTo>
                    <a:pt x="1835" y="832"/>
                  </a:lnTo>
                  <a:lnTo>
                    <a:pt x="1843" y="831"/>
                  </a:lnTo>
                  <a:lnTo>
                    <a:pt x="1846" y="832"/>
                  </a:lnTo>
                  <a:lnTo>
                    <a:pt x="1851" y="835"/>
                  </a:lnTo>
                  <a:lnTo>
                    <a:pt x="1857" y="837"/>
                  </a:lnTo>
                  <a:lnTo>
                    <a:pt x="1864" y="838"/>
                  </a:lnTo>
                  <a:lnTo>
                    <a:pt x="1869" y="837"/>
                  </a:lnTo>
                  <a:lnTo>
                    <a:pt x="1875" y="838"/>
                  </a:lnTo>
                  <a:lnTo>
                    <a:pt x="1881" y="838"/>
                  </a:lnTo>
                  <a:lnTo>
                    <a:pt x="1884" y="838"/>
                  </a:lnTo>
                  <a:lnTo>
                    <a:pt x="1891" y="839"/>
                  </a:lnTo>
                  <a:lnTo>
                    <a:pt x="1896" y="840"/>
                  </a:lnTo>
                  <a:lnTo>
                    <a:pt x="1898" y="843"/>
                  </a:lnTo>
                  <a:lnTo>
                    <a:pt x="1904" y="846"/>
                  </a:lnTo>
                  <a:lnTo>
                    <a:pt x="1909" y="846"/>
                  </a:lnTo>
                  <a:lnTo>
                    <a:pt x="1910" y="846"/>
                  </a:lnTo>
                  <a:lnTo>
                    <a:pt x="1913" y="843"/>
                  </a:lnTo>
                  <a:lnTo>
                    <a:pt x="1913" y="840"/>
                  </a:lnTo>
                  <a:lnTo>
                    <a:pt x="1910" y="838"/>
                  </a:lnTo>
                  <a:lnTo>
                    <a:pt x="1909" y="831"/>
                  </a:lnTo>
                  <a:lnTo>
                    <a:pt x="1910" y="830"/>
                  </a:lnTo>
                  <a:lnTo>
                    <a:pt x="1913" y="827"/>
                  </a:lnTo>
                  <a:lnTo>
                    <a:pt x="1915" y="824"/>
                  </a:lnTo>
                  <a:lnTo>
                    <a:pt x="1921" y="820"/>
                  </a:lnTo>
                  <a:lnTo>
                    <a:pt x="1924" y="819"/>
                  </a:lnTo>
                  <a:lnTo>
                    <a:pt x="1926" y="814"/>
                  </a:lnTo>
                  <a:lnTo>
                    <a:pt x="1928" y="811"/>
                  </a:lnTo>
                  <a:lnTo>
                    <a:pt x="1928" y="806"/>
                  </a:lnTo>
                  <a:lnTo>
                    <a:pt x="1930" y="799"/>
                  </a:lnTo>
                  <a:lnTo>
                    <a:pt x="1931" y="796"/>
                  </a:lnTo>
                  <a:lnTo>
                    <a:pt x="1940" y="796"/>
                  </a:lnTo>
                  <a:lnTo>
                    <a:pt x="1945" y="796"/>
                  </a:lnTo>
                  <a:lnTo>
                    <a:pt x="1949" y="796"/>
                  </a:lnTo>
                  <a:lnTo>
                    <a:pt x="1953" y="795"/>
                  </a:lnTo>
                  <a:lnTo>
                    <a:pt x="1955" y="794"/>
                  </a:lnTo>
                  <a:lnTo>
                    <a:pt x="1957" y="788"/>
                  </a:lnTo>
                  <a:lnTo>
                    <a:pt x="1956" y="786"/>
                  </a:lnTo>
                  <a:lnTo>
                    <a:pt x="1956" y="781"/>
                  </a:lnTo>
                  <a:lnTo>
                    <a:pt x="1956" y="775"/>
                  </a:lnTo>
                  <a:lnTo>
                    <a:pt x="1955" y="768"/>
                  </a:lnTo>
                  <a:lnTo>
                    <a:pt x="1954" y="760"/>
                  </a:lnTo>
                  <a:lnTo>
                    <a:pt x="1952" y="751"/>
                  </a:lnTo>
                  <a:lnTo>
                    <a:pt x="1949" y="746"/>
                  </a:lnTo>
                  <a:lnTo>
                    <a:pt x="1947" y="741"/>
                  </a:lnTo>
                  <a:lnTo>
                    <a:pt x="1942" y="736"/>
                  </a:lnTo>
                  <a:lnTo>
                    <a:pt x="1941" y="730"/>
                  </a:lnTo>
                  <a:lnTo>
                    <a:pt x="1941" y="725"/>
                  </a:lnTo>
                  <a:lnTo>
                    <a:pt x="1945" y="723"/>
                  </a:lnTo>
                  <a:lnTo>
                    <a:pt x="1950" y="719"/>
                  </a:lnTo>
                  <a:lnTo>
                    <a:pt x="1960" y="716"/>
                  </a:lnTo>
                  <a:lnTo>
                    <a:pt x="1964" y="717"/>
                  </a:lnTo>
                  <a:lnTo>
                    <a:pt x="1971" y="719"/>
                  </a:lnTo>
                  <a:lnTo>
                    <a:pt x="1979" y="720"/>
                  </a:lnTo>
                  <a:lnTo>
                    <a:pt x="1989" y="720"/>
                  </a:lnTo>
                  <a:lnTo>
                    <a:pt x="1997" y="722"/>
                  </a:lnTo>
                  <a:lnTo>
                    <a:pt x="2008" y="722"/>
                  </a:lnTo>
                  <a:lnTo>
                    <a:pt x="2013" y="720"/>
                  </a:lnTo>
                  <a:lnTo>
                    <a:pt x="2020" y="716"/>
                  </a:lnTo>
                  <a:lnTo>
                    <a:pt x="2020" y="709"/>
                  </a:lnTo>
                  <a:lnTo>
                    <a:pt x="2014" y="706"/>
                  </a:lnTo>
                  <a:lnTo>
                    <a:pt x="2009" y="701"/>
                  </a:lnTo>
                  <a:lnTo>
                    <a:pt x="2009" y="695"/>
                  </a:lnTo>
                  <a:lnTo>
                    <a:pt x="2013" y="691"/>
                  </a:lnTo>
                  <a:lnTo>
                    <a:pt x="2012" y="687"/>
                  </a:lnTo>
                  <a:lnTo>
                    <a:pt x="2013" y="684"/>
                  </a:lnTo>
                  <a:lnTo>
                    <a:pt x="2018" y="680"/>
                  </a:lnTo>
                  <a:lnTo>
                    <a:pt x="2021" y="679"/>
                  </a:lnTo>
                  <a:lnTo>
                    <a:pt x="2025" y="676"/>
                  </a:lnTo>
                  <a:lnTo>
                    <a:pt x="2027" y="671"/>
                  </a:lnTo>
                  <a:lnTo>
                    <a:pt x="2030" y="669"/>
                  </a:lnTo>
                  <a:lnTo>
                    <a:pt x="2038" y="667"/>
                  </a:lnTo>
                  <a:lnTo>
                    <a:pt x="2042" y="667"/>
                  </a:lnTo>
                  <a:lnTo>
                    <a:pt x="2043" y="668"/>
                  </a:lnTo>
                  <a:lnTo>
                    <a:pt x="2048" y="670"/>
                  </a:lnTo>
                  <a:lnTo>
                    <a:pt x="2050" y="670"/>
                  </a:lnTo>
                  <a:lnTo>
                    <a:pt x="2057" y="670"/>
                  </a:lnTo>
                  <a:lnTo>
                    <a:pt x="2060" y="670"/>
                  </a:lnTo>
                  <a:lnTo>
                    <a:pt x="2066" y="670"/>
                  </a:lnTo>
                  <a:lnTo>
                    <a:pt x="2069" y="668"/>
                  </a:lnTo>
                  <a:lnTo>
                    <a:pt x="2076" y="667"/>
                  </a:lnTo>
                  <a:lnTo>
                    <a:pt x="2083" y="666"/>
                  </a:lnTo>
                  <a:lnTo>
                    <a:pt x="2085" y="664"/>
                  </a:lnTo>
                  <a:lnTo>
                    <a:pt x="2094" y="659"/>
                  </a:lnTo>
                  <a:lnTo>
                    <a:pt x="2096" y="655"/>
                  </a:lnTo>
                  <a:lnTo>
                    <a:pt x="2094" y="653"/>
                  </a:lnTo>
                  <a:lnTo>
                    <a:pt x="2093" y="647"/>
                  </a:lnTo>
                  <a:lnTo>
                    <a:pt x="2094" y="638"/>
                  </a:lnTo>
                  <a:lnTo>
                    <a:pt x="2094" y="632"/>
                  </a:lnTo>
                  <a:lnTo>
                    <a:pt x="2096" y="628"/>
                  </a:lnTo>
                  <a:lnTo>
                    <a:pt x="2099" y="623"/>
                  </a:lnTo>
                  <a:lnTo>
                    <a:pt x="2104" y="618"/>
                  </a:lnTo>
                  <a:lnTo>
                    <a:pt x="2106" y="613"/>
                  </a:lnTo>
                  <a:lnTo>
                    <a:pt x="2109" y="607"/>
                  </a:lnTo>
                  <a:lnTo>
                    <a:pt x="2113" y="603"/>
                  </a:lnTo>
                  <a:lnTo>
                    <a:pt x="2118" y="597"/>
                  </a:lnTo>
                  <a:lnTo>
                    <a:pt x="2118" y="591"/>
                  </a:lnTo>
                  <a:lnTo>
                    <a:pt x="2121" y="584"/>
                  </a:lnTo>
                  <a:lnTo>
                    <a:pt x="2125" y="574"/>
                  </a:lnTo>
                  <a:lnTo>
                    <a:pt x="2126" y="567"/>
                  </a:lnTo>
                  <a:lnTo>
                    <a:pt x="2128" y="562"/>
                  </a:lnTo>
                  <a:lnTo>
                    <a:pt x="2128" y="554"/>
                  </a:lnTo>
                  <a:lnTo>
                    <a:pt x="2128" y="542"/>
                  </a:lnTo>
                  <a:lnTo>
                    <a:pt x="2132" y="534"/>
                  </a:lnTo>
                  <a:lnTo>
                    <a:pt x="2134" y="528"/>
                  </a:lnTo>
                  <a:lnTo>
                    <a:pt x="2138" y="518"/>
                  </a:lnTo>
                  <a:lnTo>
                    <a:pt x="2139" y="511"/>
                  </a:lnTo>
                  <a:lnTo>
                    <a:pt x="2142" y="506"/>
                  </a:lnTo>
                  <a:lnTo>
                    <a:pt x="2147" y="500"/>
                  </a:lnTo>
                  <a:lnTo>
                    <a:pt x="2150" y="496"/>
                  </a:lnTo>
                  <a:lnTo>
                    <a:pt x="2152" y="492"/>
                  </a:lnTo>
                  <a:lnTo>
                    <a:pt x="2152" y="486"/>
                  </a:lnTo>
                  <a:lnTo>
                    <a:pt x="2154" y="480"/>
                  </a:lnTo>
                  <a:lnTo>
                    <a:pt x="2156" y="474"/>
                  </a:lnTo>
                  <a:lnTo>
                    <a:pt x="2157" y="468"/>
                  </a:lnTo>
                  <a:lnTo>
                    <a:pt x="2160" y="459"/>
                  </a:lnTo>
                  <a:lnTo>
                    <a:pt x="2161" y="452"/>
                  </a:lnTo>
                  <a:lnTo>
                    <a:pt x="2162" y="447"/>
                  </a:lnTo>
                  <a:lnTo>
                    <a:pt x="2166" y="431"/>
                  </a:lnTo>
                  <a:lnTo>
                    <a:pt x="2166" y="423"/>
                  </a:lnTo>
                  <a:lnTo>
                    <a:pt x="2165" y="416"/>
                  </a:lnTo>
                  <a:lnTo>
                    <a:pt x="2161" y="412"/>
                  </a:lnTo>
                  <a:lnTo>
                    <a:pt x="2157" y="410"/>
                  </a:lnTo>
                  <a:lnTo>
                    <a:pt x="2153" y="407"/>
                  </a:lnTo>
                  <a:lnTo>
                    <a:pt x="2147" y="405"/>
                  </a:lnTo>
                  <a:lnTo>
                    <a:pt x="2147" y="402"/>
                  </a:lnTo>
                  <a:lnTo>
                    <a:pt x="2137" y="399"/>
                  </a:lnTo>
                  <a:lnTo>
                    <a:pt x="2126" y="398"/>
                  </a:lnTo>
                  <a:lnTo>
                    <a:pt x="2118" y="397"/>
                  </a:lnTo>
                  <a:lnTo>
                    <a:pt x="2113" y="394"/>
                  </a:lnTo>
                  <a:lnTo>
                    <a:pt x="2110" y="390"/>
                  </a:lnTo>
                  <a:lnTo>
                    <a:pt x="2107" y="388"/>
                  </a:lnTo>
                  <a:lnTo>
                    <a:pt x="2104" y="383"/>
                  </a:lnTo>
                  <a:lnTo>
                    <a:pt x="2101" y="378"/>
                  </a:lnTo>
                  <a:lnTo>
                    <a:pt x="2100" y="373"/>
                  </a:lnTo>
                  <a:lnTo>
                    <a:pt x="2098" y="370"/>
                  </a:lnTo>
                  <a:lnTo>
                    <a:pt x="2090" y="359"/>
                  </a:lnTo>
                  <a:lnTo>
                    <a:pt x="2086" y="354"/>
                  </a:lnTo>
                  <a:lnTo>
                    <a:pt x="2076" y="347"/>
                  </a:lnTo>
                  <a:lnTo>
                    <a:pt x="2070" y="348"/>
                  </a:lnTo>
                  <a:lnTo>
                    <a:pt x="2062" y="351"/>
                  </a:lnTo>
                  <a:lnTo>
                    <a:pt x="2054" y="357"/>
                  </a:lnTo>
                  <a:lnTo>
                    <a:pt x="2046" y="359"/>
                  </a:lnTo>
                  <a:lnTo>
                    <a:pt x="2042" y="359"/>
                  </a:lnTo>
                  <a:lnTo>
                    <a:pt x="2027" y="358"/>
                  </a:lnTo>
                  <a:lnTo>
                    <a:pt x="2018" y="357"/>
                  </a:lnTo>
                  <a:lnTo>
                    <a:pt x="2008" y="354"/>
                  </a:lnTo>
                  <a:lnTo>
                    <a:pt x="1997" y="350"/>
                  </a:lnTo>
                  <a:lnTo>
                    <a:pt x="1989" y="346"/>
                  </a:lnTo>
                  <a:lnTo>
                    <a:pt x="1980" y="344"/>
                  </a:lnTo>
                  <a:lnTo>
                    <a:pt x="1971" y="342"/>
                  </a:lnTo>
                  <a:lnTo>
                    <a:pt x="1964" y="340"/>
                  </a:lnTo>
                  <a:lnTo>
                    <a:pt x="1955" y="334"/>
                  </a:lnTo>
                  <a:lnTo>
                    <a:pt x="1945" y="332"/>
                  </a:lnTo>
                  <a:lnTo>
                    <a:pt x="1933" y="332"/>
                  </a:lnTo>
                  <a:lnTo>
                    <a:pt x="1928" y="331"/>
                  </a:lnTo>
                  <a:lnTo>
                    <a:pt x="1921" y="326"/>
                  </a:lnTo>
                  <a:lnTo>
                    <a:pt x="1917" y="319"/>
                  </a:lnTo>
                  <a:lnTo>
                    <a:pt x="1915" y="314"/>
                  </a:lnTo>
                  <a:lnTo>
                    <a:pt x="1913" y="309"/>
                  </a:lnTo>
                  <a:lnTo>
                    <a:pt x="1905" y="304"/>
                  </a:lnTo>
                  <a:lnTo>
                    <a:pt x="1883" y="303"/>
                  </a:lnTo>
                  <a:lnTo>
                    <a:pt x="1875" y="304"/>
                  </a:lnTo>
                  <a:lnTo>
                    <a:pt x="1862" y="310"/>
                  </a:lnTo>
                  <a:lnTo>
                    <a:pt x="1858" y="317"/>
                  </a:lnTo>
                  <a:lnTo>
                    <a:pt x="1858" y="323"/>
                  </a:lnTo>
                  <a:lnTo>
                    <a:pt x="1861" y="327"/>
                  </a:lnTo>
                  <a:lnTo>
                    <a:pt x="1862" y="331"/>
                  </a:lnTo>
                  <a:lnTo>
                    <a:pt x="1862" y="335"/>
                  </a:lnTo>
                  <a:lnTo>
                    <a:pt x="1857" y="340"/>
                  </a:lnTo>
                  <a:lnTo>
                    <a:pt x="1850" y="343"/>
                  </a:lnTo>
                  <a:lnTo>
                    <a:pt x="1842" y="344"/>
                  </a:lnTo>
                  <a:lnTo>
                    <a:pt x="1833" y="344"/>
                  </a:lnTo>
                  <a:lnTo>
                    <a:pt x="1825" y="344"/>
                  </a:lnTo>
                  <a:lnTo>
                    <a:pt x="1817" y="343"/>
                  </a:lnTo>
                  <a:lnTo>
                    <a:pt x="1809" y="341"/>
                  </a:lnTo>
                  <a:lnTo>
                    <a:pt x="1805" y="338"/>
                  </a:lnTo>
                  <a:lnTo>
                    <a:pt x="1801" y="334"/>
                  </a:lnTo>
                  <a:lnTo>
                    <a:pt x="1797" y="332"/>
                  </a:lnTo>
                  <a:lnTo>
                    <a:pt x="1790" y="332"/>
                  </a:lnTo>
                  <a:lnTo>
                    <a:pt x="1785" y="335"/>
                  </a:lnTo>
                  <a:lnTo>
                    <a:pt x="1780" y="336"/>
                  </a:lnTo>
                  <a:lnTo>
                    <a:pt x="1768" y="338"/>
                  </a:lnTo>
                  <a:lnTo>
                    <a:pt x="1760" y="341"/>
                  </a:lnTo>
                  <a:lnTo>
                    <a:pt x="1754" y="340"/>
                  </a:lnTo>
                  <a:lnTo>
                    <a:pt x="1750" y="338"/>
                  </a:lnTo>
                  <a:lnTo>
                    <a:pt x="1744" y="339"/>
                  </a:lnTo>
                  <a:lnTo>
                    <a:pt x="1733" y="338"/>
                  </a:lnTo>
                  <a:lnTo>
                    <a:pt x="1724" y="339"/>
                  </a:lnTo>
                  <a:lnTo>
                    <a:pt x="1720" y="340"/>
                  </a:lnTo>
                  <a:lnTo>
                    <a:pt x="1716" y="341"/>
                  </a:lnTo>
                  <a:lnTo>
                    <a:pt x="1709" y="343"/>
                  </a:lnTo>
                  <a:lnTo>
                    <a:pt x="1704" y="348"/>
                  </a:lnTo>
                  <a:lnTo>
                    <a:pt x="1696" y="351"/>
                  </a:lnTo>
                  <a:lnTo>
                    <a:pt x="1690" y="355"/>
                  </a:lnTo>
                  <a:lnTo>
                    <a:pt x="1682" y="362"/>
                  </a:lnTo>
                  <a:lnTo>
                    <a:pt x="1674" y="362"/>
                  </a:lnTo>
                  <a:lnTo>
                    <a:pt x="1668" y="362"/>
                  </a:lnTo>
                  <a:lnTo>
                    <a:pt x="1665" y="362"/>
                  </a:lnTo>
                  <a:lnTo>
                    <a:pt x="1656" y="360"/>
                  </a:lnTo>
                  <a:lnTo>
                    <a:pt x="1649" y="359"/>
                  </a:lnTo>
                  <a:lnTo>
                    <a:pt x="1643" y="362"/>
                  </a:lnTo>
                  <a:lnTo>
                    <a:pt x="1638" y="366"/>
                  </a:lnTo>
                  <a:lnTo>
                    <a:pt x="1634" y="371"/>
                  </a:lnTo>
                  <a:lnTo>
                    <a:pt x="1630" y="373"/>
                  </a:lnTo>
                  <a:lnTo>
                    <a:pt x="1627" y="373"/>
                  </a:lnTo>
                  <a:lnTo>
                    <a:pt x="1619" y="374"/>
                  </a:lnTo>
                  <a:lnTo>
                    <a:pt x="1613" y="376"/>
                  </a:lnTo>
                  <a:lnTo>
                    <a:pt x="1609" y="378"/>
                  </a:lnTo>
                  <a:lnTo>
                    <a:pt x="1606" y="378"/>
                  </a:lnTo>
                  <a:lnTo>
                    <a:pt x="1604" y="378"/>
                  </a:lnTo>
                  <a:lnTo>
                    <a:pt x="1602" y="382"/>
                  </a:lnTo>
                  <a:lnTo>
                    <a:pt x="1602" y="388"/>
                  </a:lnTo>
                  <a:lnTo>
                    <a:pt x="1602" y="392"/>
                  </a:lnTo>
                  <a:lnTo>
                    <a:pt x="1598" y="394"/>
                  </a:lnTo>
                  <a:lnTo>
                    <a:pt x="1595" y="392"/>
                  </a:lnTo>
                  <a:lnTo>
                    <a:pt x="1592" y="390"/>
                  </a:lnTo>
                  <a:lnTo>
                    <a:pt x="1586" y="394"/>
                  </a:lnTo>
                  <a:lnTo>
                    <a:pt x="1581" y="397"/>
                  </a:lnTo>
                  <a:lnTo>
                    <a:pt x="1578" y="397"/>
                  </a:lnTo>
                  <a:lnTo>
                    <a:pt x="1574" y="399"/>
                  </a:lnTo>
                  <a:lnTo>
                    <a:pt x="1573" y="403"/>
                  </a:lnTo>
                  <a:lnTo>
                    <a:pt x="1572" y="408"/>
                  </a:lnTo>
                  <a:lnTo>
                    <a:pt x="1569" y="410"/>
                  </a:lnTo>
                  <a:lnTo>
                    <a:pt x="1566" y="412"/>
                  </a:lnTo>
                  <a:lnTo>
                    <a:pt x="1566" y="415"/>
                  </a:lnTo>
                  <a:lnTo>
                    <a:pt x="1568" y="419"/>
                  </a:lnTo>
                  <a:lnTo>
                    <a:pt x="1568" y="423"/>
                  </a:lnTo>
                  <a:lnTo>
                    <a:pt x="1565" y="424"/>
                  </a:lnTo>
                  <a:lnTo>
                    <a:pt x="1561" y="423"/>
                  </a:lnTo>
                  <a:lnTo>
                    <a:pt x="1552" y="420"/>
                  </a:lnTo>
                  <a:lnTo>
                    <a:pt x="1548" y="419"/>
                  </a:lnTo>
                  <a:lnTo>
                    <a:pt x="1544" y="414"/>
                  </a:lnTo>
                  <a:lnTo>
                    <a:pt x="1537" y="410"/>
                  </a:lnTo>
                  <a:lnTo>
                    <a:pt x="1530" y="407"/>
                  </a:lnTo>
                  <a:lnTo>
                    <a:pt x="1523" y="407"/>
                  </a:lnTo>
                  <a:lnTo>
                    <a:pt x="1520" y="405"/>
                  </a:lnTo>
                  <a:lnTo>
                    <a:pt x="1514" y="402"/>
                  </a:lnTo>
                  <a:lnTo>
                    <a:pt x="1509" y="404"/>
                  </a:lnTo>
                  <a:lnTo>
                    <a:pt x="1509" y="408"/>
                  </a:lnTo>
                  <a:lnTo>
                    <a:pt x="1507" y="414"/>
                  </a:lnTo>
                  <a:lnTo>
                    <a:pt x="1505" y="418"/>
                  </a:lnTo>
                  <a:lnTo>
                    <a:pt x="1504" y="422"/>
                  </a:lnTo>
                  <a:lnTo>
                    <a:pt x="1505" y="426"/>
                  </a:lnTo>
                  <a:lnTo>
                    <a:pt x="1508" y="429"/>
                  </a:lnTo>
                  <a:lnTo>
                    <a:pt x="1510" y="431"/>
                  </a:lnTo>
                  <a:lnTo>
                    <a:pt x="1510" y="435"/>
                  </a:lnTo>
                  <a:lnTo>
                    <a:pt x="1509" y="437"/>
                  </a:lnTo>
                  <a:lnTo>
                    <a:pt x="1507" y="439"/>
                  </a:lnTo>
                  <a:lnTo>
                    <a:pt x="1506" y="439"/>
                  </a:lnTo>
                  <a:lnTo>
                    <a:pt x="1504" y="438"/>
                  </a:lnTo>
                  <a:lnTo>
                    <a:pt x="1502" y="436"/>
                  </a:lnTo>
                  <a:lnTo>
                    <a:pt x="1499" y="436"/>
                  </a:lnTo>
                  <a:lnTo>
                    <a:pt x="1493" y="438"/>
                  </a:lnTo>
                  <a:lnTo>
                    <a:pt x="1489" y="438"/>
                  </a:lnTo>
                  <a:lnTo>
                    <a:pt x="1482" y="435"/>
                  </a:lnTo>
                  <a:lnTo>
                    <a:pt x="1476" y="432"/>
                  </a:lnTo>
                  <a:lnTo>
                    <a:pt x="1468" y="430"/>
                  </a:lnTo>
                  <a:lnTo>
                    <a:pt x="1461" y="428"/>
                  </a:lnTo>
                  <a:lnTo>
                    <a:pt x="1458" y="427"/>
                  </a:lnTo>
                  <a:lnTo>
                    <a:pt x="1452" y="423"/>
                  </a:lnTo>
                  <a:lnTo>
                    <a:pt x="1448" y="423"/>
                  </a:lnTo>
                  <a:lnTo>
                    <a:pt x="1444" y="429"/>
                  </a:lnTo>
                  <a:lnTo>
                    <a:pt x="1442" y="434"/>
                  </a:lnTo>
                  <a:lnTo>
                    <a:pt x="1436" y="437"/>
                  </a:lnTo>
                  <a:lnTo>
                    <a:pt x="1432" y="438"/>
                  </a:lnTo>
                  <a:lnTo>
                    <a:pt x="1424" y="438"/>
                  </a:lnTo>
                  <a:lnTo>
                    <a:pt x="1413" y="437"/>
                  </a:lnTo>
                  <a:lnTo>
                    <a:pt x="1405" y="437"/>
                  </a:lnTo>
                  <a:lnTo>
                    <a:pt x="1398" y="436"/>
                  </a:lnTo>
                  <a:lnTo>
                    <a:pt x="1389" y="437"/>
                  </a:lnTo>
                  <a:lnTo>
                    <a:pt x="1378" y="439"/>
                  </a:lnTo>
                  <a:lnTo>
                    <a:pt x="1369" y="439"/>
                  </a:lnTo>
                  <a:lnTo>
                    <a:pt x="1357" y="438"/>
                  </a:lnTo>
                  <a:lnTo>
                    <a:pt x="1348" y="436"/>
                  </a:lnTo>
                  <a:lnTo>
                    <a:pt x="1342" y="432"/>
                  </a:lnTo>
                  <a:lnTo>
                    <a:pt x="1339" y="428"/>
                  </a:lnTo>
                  <a:lnTo>
                    <a:pt x="1337" y="423"/>
                  </a:lnTo>
                  <a:lnTo>
                    <a:pt x="1338" y="419"/>
                  </a:lnTo>
                  <a:lnTo>
                    <a:pt x="1341" y="418"/>
                  </a:lnTo>
                  <a:lnTo>
                    <a:pt x="1348" y="419"/>
                  </a:lnTo>
                  <a:lnTo>
                    <a:pt x="1352" y="420"/>
                  </a:lnTo>
                  <a:lnTo>
                    <a:pt x="1354" y="421"/>
                  </a:lnTo>
                  <a:lnTo>
                    <a:pt x="1357" y="423"/>
                  </a:lnTo>
                  <a:lnTo>
                    <a:pt x="1365" y="423"/>
                  </a:lnTo>
                  <a:lnTo>
                    <a:pt x="1373" y="422"/>
                  </a:lnTo>
                  <a:lnTo>
                    <a:pt x="1377" y="422"/>
                  </a:lnTo>
                  <a:lnTo>
                    <a:pt x="1381" y="422"/>
                  </a:lnTo>
                  <a:lnTo>
                    <a:pt x="1381" y="420"/>
                  </a:lnTo>
                  <a:lnTo>
                    <a:pt x="1378" y="416"/>
                  </a:lnTo>
                  <a:lnTo>
                    <a:pt x="1373" y="410"/>
                  </a:lnTo>
                  <a:lnTo>
                    <a:pt x="1370" y="406"/>
                  </a:lnTo>
                  <a:lnTo>
                    <a:pt x="1368" y="400"/>
                  </a:lnTo>
                  <a:lnTo>
                    <a:pt x="1365" y="395"/>
                  </a:lnTo>
                  <a:lnTo>
                    <a:pt x="1363" y="392"/>
                  </a:lnTo>
                  <a:lnTo>
                    <a:pt x="1358" y="387"/>
                  </a:lnTo>
                  <a:lnTo>
                    <a:pt x="1357" y="383"/>
                  </a:lnTo>
                  <a:lnTo>
                    <a:pt x="1357" y="380"/>
                  </a:lnTo>
                  <a:lnTo>
                    <a:pt x="1348" y="373"/>
                  </a:lnTo>
                  <a:lnTo>
                    <a:pt x="1341" y="373"/>
                  </a:lnTo>
                  <a:lnTo>
                    <a:pt x="1332" y="370"/>
                  </a:lnTo>
                  <a:lnTo>
                    <a:pt x="1320" y="367"/>
                  </a:lnTo>
                  <a:lnTo>
                    <a:pt x="1312" y="366"/>
                  </a:lnTo>
                  <a:lnTo>
                    <a:pt x="1305" y="367"/>
                  </a:lnTo>
                  <a:lnTo>
                    <a:pt x="1299" y="365"/>
                  </a:lnTo>
                  <a:lnTo>
                    <a:pt x="1296" y="362"/>
                  </a:lnTo>
                  <a:lnTo>
                    <a:pt x="1291" y="357"/>
                  </a:lnTo>
                  <a:lnTo>
                    <a:pt x="1286" y="352"/>
                  </a:lnTo>
                  <a:lnTo>
                    <a:pt x="1275" y="350"/>
                  </a:lnTo>
                  <a:lnTo>
                    <a:pt x="1267" y="354"/>
                  </a:lnTo>
                  <a:lnTo>
                    <a:pt x="1257" y="355"/>
                  </a:lnTo>
                  <a:lnTo>
                    <a:pt x="1240" y="355"/>
                  </a:lnTo>
                  <a:lnTo>
                    <a:pt x="1230" y="352"/>
                  </a:lnTo>
                  <a:lnTo>
                    <a:pt x="1224" y="350"/>
                  </a:lnTo>
                  <a:lnTo>
                    <a:pt x="1217" y="346"/>
                  </a:lnTo>
                  <a:lnTo>
                    <a:pt x="1210" y="343"/>
                  </a:lnTo>
                  <a:lnTo>
                    <a:pt x="1204" y="341"/>
                  </a:lnTo>
                  <a:lnTo>
                    <a:pt x="1198" y="336"/>
                  </a:lnTo>
                  <a:lnTo>
                    <a:pt x="1194" y="330"/>
                  </a:lnTo>
                  <a:lnTo>
                    <a:pt x="1187" y="319"/>
                  </a:lnTo>
                  <a:lnTo>
                    <a:pt x="1180" y="315"/>
                  </a:lnTo>
                  <a:lnTo>
                    <a:pt x="1174" y="310"/>
                  </a:lnTo>
                  <a:lnTo>
                    <a:pt x="1173" y="306"/>
                  </a:lnTo>
                  <a:lnTo>
                    <a:pt x="1174" y="302"/>
                  </a:lnTo>
                  <a:lnTo>
                    <a:pt x="1180" y="295"/>
                  </a:lnTo>
                  <a:lnTo>
                    <a:pt x="1188" y="288"/>
                  </a:lnTo>
                  <a:lnTo>
                    <a:pt x="1188" y="283"/>
                  </a:lnTo>
                  <a:lnTo>
                    <a:pt x="1184" y="278"/>
                  </a:lnTo>
                  <a:lnTo>
                    <a:pt x="1176" y="272"/>
                  </a:lnTo>
                  <a:lnTo>
                    <a:pt x="1170" y="269"/>
                  </a:lnTo>
                  <a:lnTo>
                    <a:pt x="1163" y="264"/>
                  </a:lnTo>
                  <a:lnTo>
                    <a:pt x="1160" y="259"/>
                  </a:lnTo>
                  <a:lnTo>
                    <a:pt x="1155" y="251"/>
                  </a:lnTo>
                  <a:lnTo>
                    <a:pt x="1153" y="248"/>
                  </a:lnTo>
                  <a:lnTo>
                    <a:pt x="1147" y="246"/>
                  </a:lnTo>
                  <a:lnTo>
                    <a:pt x="1141" y="244"/>
                  </a:lnTo>
                  <a:lnTo>
                    <a:pt x="1133" y="246"/>
                  </a:lnTo>
                  <a:lnTo>
                    <a:pt x="1126" y="245"/>
                  </a:lnTo>
                  <a:lnTo>
                    <a:pt x="1121" y="240"/>
                  </a:lnTo>
                  <a:lnTo>
                    <a:pt x="1113" y="238"/>
                  </a:lnTo>
                  <a:lnTo>
                    <a:pt x="1109" y="237"/>
                  </a:lnTo>
                  <a:lnTo>
                    <a:pt x="1106" y="235"/>
                  </a:lnTo>
                  <a:lnTo>
                    <a:pt x="1101" y="230"/>
                  </a:lnTo>
                  <a:lnTo>
                    <a:pt x="1092" y="228"/>
                  </a:lnTo>
                  <a:lnTo>
                    <a:pt x="1092" y="224"/>
                  </a:lnTo>
                  <a:lnTo>
                    <a:pt x="1091" y="212"/>
                  </a:lnTo>
                  <a:lnTo>
                    <a:pt x="1083" y="205"/>
                  </a:lnTo>
                  <a:lnTo>
                    <a:pt x="1078" y="200"/>
                  </a:lnTo>
                  <a:lnTo>
                    <a:pt x="1066" y="197"/>
                  </a:lnTo>
                  <a:lnTo>
                    <a:pt x="1054" y="197"/>
                  </a:lnTo>
                  <a:lnTo>
                    <a:pt x="1045" y="197"/>
                  </a:lnTo>
                  <a:lnTo>
                    <a:pt x="1035" y="197"/>
                  </a:lnTo>
                  <a:lnTo>
                    <a:pt x="1028" y="194"/>
                  </a:lnTo>
                  <a:lnTo>
                    <a:pt x="1017" y="187"/>
                  </a:lnTo>
                  <a:lnTo>
                    <a:pt x="1008" y="179"/>
                  </a:lnTo>
                  <a:lnTo>
                    <a:pt x="993" y="165"/>
                  </a:lnTo>
                  <a:lnTo>
                    <a:pt x="979" y="160"/>
                  </a:lnTo>
                  <a:lnTo>
                    <a:pt x="963" y="159"/>
                  </a:lnTo>
                  <a:lnTo>
                    <a:pt x="953" y="155"/>
                  </a:lnTo>
                  <a:lnTo>
                    <a:pt x="946" y="151"/>
                  </a:lnTo>
                  <a:lnTo>
                    <a:pt x="934" y="148"/>
                  </a:lnTo>
                  <a:lnTo>
                    <a:pt x="924" y="146"/>
                  </a:lnTo>
                  <a:lnTo>
                    <a:pt x="915" y="141"/>
                  </a:lnTo>
                  <a:lnTo>
                    <a:pt x="907" y="135"/>
                  </a:lnTo>
                  <a:lnTo>
                    <a:pt x="898" y="126"/>
                  </a:lnTo>
                  <a:lnTo>
                    <a:pt x="888" y="117"/>
                  </a:lnTo>
                  <a:lnTo>
                    <a:pt x="881" y="108"/>
                  </a:lnTo>
                  <a:lnTo>
                    <a:pt x="873" y="98"/>
                  </a:lnTo>
                  <a:lnTo>
                    <a:pt x="867" y="87"/>
                  </a:lnTo>
                  <a:lnTo>
                    <a:pt x="860" y="82"/>
                  </a:lnTo>
                  <a:lnTo>
                    <a:pt x="840" y="75"/>
                  </a:lnTo>
                  <a:lnTo>
                    <a:pt x="824" y="70"/>
                  </a:lnTo>
                  <a:lnTo>
                    <a:pt x="819" y="64"/>
                  </a:lnTo>
                  <a:lnTo>
                    <a:pt x="817" y="55"/>
                  </a:lnTo>
                  <a:lnTo>
                    <a:pt x="811" y="50"/>
                  </a:lnTo>
                  <a:lnTo>
                    <a:pt x="804" y="45"/>
                  </a:lnTo>
                  <a:lnTo>
                    <a:pt x="801" y="38"/>
                  </a:lnTo>
                  <a:lnTo>
                    <a:pt x="797" y="29"/>
                  </a:lnTo>
                  <a:lnTo>
                    <a:pt x="794" y="27"/>
                  </a:lnTo>
                  <a:lnTo>
                    <a:pt x="789" y="22"/>
                  </a:lnTo>
                  <a:lnTo>
                    <a:pt x="787" y="16"/>
                  </a:lnTo>
                  <a:lnTo>
                    <a:pt x="784" y="11"/>
                  </a:lnTo>
                  <a:lnTo>
                    <a:pt x="781" y="3"/>
                  </a:lnTo>
                  <a:lnTo>
                    <a:pt x="778" y="0"/>
                  </a:lnTo>
                  <a:lnTo>
                    <a:pt x="766" y="2"/>
                  </a:lnTo>
                  <a:lnTo>
                    <a:pt x="753" y="4"/>
                  </a:lnTo>
                  <a:lnTo>
                    <a:pt x="744" y="7"/>
                  </a:lnTo>
                  <a:lnTo>
                    <a:pt x="738" y="11"/>
                  </a:lnTo>
                  <a:lnTo>
                    <a:pt x="734" y="20"/>
                  </a:lnTo>
                  <a:lnTo>
                    <a:pt x="728" y="24"/>
                  </a:lnTo>
                  <a:lnTo>
                    <a:pt x="722" y="27"/>
                  </a:lnTo>
                  <a:lnTo>
                    <a:pt x="717" y="28"/>
                  </a:lnTo>
                  <a:lnTo>
                    <a:pt x="710" y="29"/>
                  </a:lnTo>
                  <a:lnTo>
                    <a:pt x="706" y="29"/>
                  </a:lnTo>
                  <a:lnTo>
                    <a:pt x="699" y="27"/>
                  </a:lnTo>
                  <a:lnTo>
                    <a:pt x="692" y="26"/>
                  </a:lnTo>
                  <a:lnTo>
                    <a:pt x="684" y="28"/>
                  </a:lnTo>
                  <a:lnTo>
                    <a:pt x="677" y="29"/>
                  </a:lnTo>
                  <a:lnTo>
                    <a:pt x="666" y="38"/>
                  </a:lnTo>
                  <a:lnTo>
                    <a:pt x="661" y="39"/>
                  </a:lnTo>
                  <a:lnTo>
                    <a:pt x="653" y="29"/>
                  </a:lnTo>
                  <a:lnTo>
                    <a:pt x="646" y="22"/>
                  </a:lnTo>
                  <a:lnTo>
                    <a:pt x="643" y="14"/>
                  </a:lnTo>
                  <a:lnTo>
                    <a:pt x="635" y="8"/>
                  </a:lnTo>
                  <a:lnTo>
                    <a:pt x="627" y="11"/>
                  </a:lnTo>
                  <a:lnTo>
                    <a:pt x="616" y="11"/>
                  </a:lnTo>
                  <a:lnTo>
                    <a:pt x="610" y="7"/>
                  </a:lnTo>
                  <a:lnTo>
                    <a:pt x="601" y="4"/>
                  </a:lnTo>
                  <a:lnTo>
                    <a:pt x="595" y="5"/>
                  </a:lnTo>
                  <a:lnTo>
                    <a:pt x="587" y="5"/>
                  </a:lnTo>
                  <a:lnTo>
                    <a:pt x="581" y="5"/>
                  </a:lnTo>
                  <a:lnTo>
                    <a:pt x="577" y="5"/>
                  </a:lnTo>
                  <a:lnTo>
                    <a:pt x="569" y="11"/>
                  </a:lnTo>
                  <a:lnTo>
                    <a:pt x="568" y="15"/>
                  </a:lnTo>
                  <a:lnTo>
                    <a:pt x="569" y="21"/>
                  </a:lnTo>
                  <a:lnTo>
                    <a:pt x="569" y="27"/>
                  </a:lnTo>
                  <a:lnTo>
                    <a:pt x="565" y="29"/>
                  </a:lnTo>
                  <a:lnTo>
                    <a:pt x="562" y="24"/>
                  </a:lnTo>
                  <a:lnTo>
                    <a:pt x="554" y="20"/>
                  </a:lnTo>
                  <a:lnTo>
                    <a:pt x="544" y="20"/>
                  </a:lnTo>
                  <a:lnTo>
                    <a:pt x="529" y="20"/>
                  </a:lnTo>
                  <a:lnTo>
                    <a:pt x="516" y="26"/>
                  </a:lnTo>
                  <a:lnTo>
                    <a:pt x="507" y="29"/>
                  </a:lnTo>
                  <a:lnTo>
                    <a:pt x="499" y="34"/>
                  </a:lnTo>
                  <a:lnTo>
                    <a:pt x="492" y="43"/>
                  </a:lnTo>
                  <a:lnTo>
                    <a:pt x="485" y="46"/>
                  </a:lnTo>
                  <a:lnTo>
                    <a:pt x="481" y="46"/>
                  </a:lnTo>
                  <a:lnTo>
                    <a:pt x="474" y="46"/>
                  </a:lnTo>
                  <a:lnTo>
                    <a:pt x="464" y="45"/>
                  </a:lnTo>
                  <a:lnTo>
                    <a:pt x="457" y="46"/>
                  </a:lnTo>
                  <a:lnTo>
                    <a:pt x="454" y="51"/>
                  </a:lnTo>
                  <a:lnTo>
                    <a:pt x="443" y="63"/>
                  </a:lnTo>
                  <a:lnTo>
                    <a:pt x="435" y="69"/>
                  </a:lnTo>
                  <a:lnTo>
                    <a:pt x="426" y="70"/>
                  </a:lnTo>
                  <a:lnTo>
                    <a:pt x="413" y="69"/>
                  </a:lnTo>
                  <a:lnTo>
                    <a:pt x="400" y="62"/>
                  </a:lnTo>
                  <a:lnTo>
                    <a:pt x="380" y="52"/>
                  </a:lnTo>
                  <a:lnTo>
                    <a:pt x="365" y="50"/>
                  </a:lnTo>
                  <a:lnTo>
                    <a:pt x="353" y="51"/>
                  </a:lnTo>
                  <a:lnTo>
                    <a:pt x="345" y="51"/>
                  </a:lnTo>
                  <a:lnTo>
                    <a:pt x="337" y="48"/>
                  </a:lnTo>
                  <a:lnTo>
                    <a:pt x="330" y="47"/>
                  </a:lnTo>
                  <a:lnTo>
                    <a:pt x="323" y="47"/>
                  </a:lnTo>
                  <a:lnTo>
                    <a:pt x="316" y="50"/>
                  </a:lnTo>
                  <a:lnTo>
                    <a:pt x="317" y="54"/>
                  </a:lnTo>
                  <a:lnTo>
                    <a:pt x="324" y="60"/>
                  </a:lnTo>
                  <a:lnTo>
                    <a:pt x="329" y="62"/>
                  </a:lnTo>
                  <a:lnTo>
                    <a:pt x="340" y="70"/>
                  </a:lnTo>
                  <a:lnTo>
                    <a:pt x="342" y="72"/>
                  </a:lnTo>
                  <a:lnTo>
                    <a:pt x="350" y="71"/>
                  </a:lnTo>
                  <a:lnTo>
                    <a:pt x="352" y="72"/>
                  </a:lnTo>
                  <a:lnTo>
                    <a:pt x="361" y="77"/>
                  </a:lnTo>
                  <a:lnTo>
                    <a:pt x="366" y="79"/>
                  </a:lnTo>
                  <a:lnTo>
                    <a:pt x="370" y="83"/>
                  </a:lnTo>
                  <a:lnTo>
                    <a:pt x="373" y="86"/>
                  </a:lnTo>
                  <a:lnTo>
                    <a:pt x="377" y="92"/>
                  </a:lnTo>
                  <a:lnTo>
                    <a:pt x="379" y="99"/>
                  </a:lnTo>
                  <a:lnTo>
                    <a:pt x="377" y="103"/>
                  </a:lnTo>
                  <a:lnTo>
                    <a:pt x="373" y="104"/>
                  </a:lnTo>
                  <a:lnTo>
                    <a:pt x="369" y="106"/>
                  </a:lnTo>
                  <a:lnTo>
                    <a:pt x="348" y="103"/>
                  </a:lnTo>
                  <a:lnTo>
                    <a:pt x="334" y="102"/>
                  </a:lnTo>
                  <a:lnTo>
                    <a:pt x="329" y="104"/>
                  </a:lnTo>
                  <a:lnTo>
                    <a:pt x="323" y="107"/>
                  </a:lnTo>
                  <a:lnTo>
                    <a:pt x="315" y="108"/>
                  </a:lnTo>
                  <a:lnTo>
                    <a:pt x="309" y="109"/>
                  </a:lnTo>
                  <a:lnTo>
                    <a:pt x="304" y="109"/>
                  </a:lnTo>
                  <a:lnTo>
                    <a:pt x="299" y="107"/>
                  </a:lnTo>
                  <a:lnTo>
                    <a:pt x="291" y="101"/>
                  </a:lnTo>
                  <a:lnTo>
                    <a:pt x="285" y="101"/>
                  </a:lnTo>
                  <a:lnTo>
                    <a:pt x="277" y="102"/>
                  </a:lnTo>
                  <a:lnTo>
                    <a:pt x="270" y="102"/>
                  </a:lnTo>
                  <a:lnTo>
                    <a:pt x="266" y="101"/>
                  </a:lnTo>
                  <a:lnTo>
                    <a:pt x="261" y="99"/>
                  </a:lnTo>
                  <a:lnTo>
                    <a:pt x="252" y="96"/>
                  </a:lnTo>
                  <a:lnTo>
                    <a:pt x="244" y="95"/>
                  </a:lnTo>
                  <a:lnTo>
                    <a:pt x="237" y="96"/>
                  </a:lnTo>
                  <a:lnTo>
                    <a:pt x="228" y="100"/>
                  </a:lnTo>
                  <a:lnTo>
                    <a:pt x="221" y="106"/>
                  </a:lnTo>
                  <a:lnTo>
                    <a:pt x="217" y="108"/>
                  </a:lnTo>
                  <a:lnTo>
                    <a:pt x="206" y="107"/>
                  </a:lnTo>
                  <a:lnTo>
                    <a:pt x="201" y="107"/>
                  </a:lnTo>
                  <a:lnTo>
                    <a:pt x="194" y="108"/>
                  </a:lnTo>
                  <a:lnTo>
                    <a:pt x="187" y="108"/>
                  </a:lnTo>
                  <a:lnTo>
                    <a:pt x="179" y="107"/>
                  </a:lnTo>
                  <a:lnTo>
                    <a:pt x="174" y="110"/>
                  </a:lnTo>
                  <a:lnTo>
                    <a:pt x="165" y="114"/>
                  </a:lnTo>
                  <a:lnTo>
                    <a:pt x="157" y="114"/>
                  </a:lnTo>
                  <a:lnTo>
                    <a:pt x="154" y="116"/>
                  </a:lnTo>
                  <a:lnTo>
                    <a:pt x="154" y="118"/>
                  </a:lnTo>
                  <a:lnTo>
                    <a:pt x="155" y="124"/>
                  </a:lnTo>
                  <a:lnTo>
                    <a:pt x="157" y="131"/>
                  </a:lnTo>
                  <a:lnTo>
                    <a:pt x="157" y="138"/>
                  </a:lnTo>
                  <a:lnTo>
                    <a:pt x="155" y="144"/>
                  </a:lnTo>
                  <a:lnTo>
                    <a:pt x="152" y="148"/>
                  </a:lnTo>
                  <a:lnTo>
                    <a:pt x="147" y="151"/>
                  </a:lnTo>
                  <a:lnTo>
                    <a:pt x="142" y="156"/>
                  </a:lnTo>
                  <a:lnTo>
                    <a:pt x="136" y="158"/>
                  </a:lnTo>
                  <a:lnTo>
                    <a:pt x="131" y="162"/>
                  </a:lnTo>
                  <a:lnTo>
                    <a:pt x="131" y="167"/>
                  </a:lnTo>
                  <a:lnTo>
                    <a:pt x="131" y="175"/>
                  </a:lnTo>
                  <a:lnTo>
                    <a:pt x="123" y="178"/>
                  </a:lnTo>
                  <a:lnTo>
                    <a:pt x="116" y="179"/>
                  </a:lnTo>
                  <a:lnTo>
                    <a:pt x="108" y="179"/>
                  </a:lnTo>
                  <a:lnTo>
                    <a:pt x="105" y="181"/>
                  </a:lnTo>
                  <a:lnTo>
                    <a:pt x="101" y="189"/>
                  </a:lnTo>
                  <a:lnTo>
                    <a:pt x="100" y="194"/>
                  </a:lnTo>
                  <a:lnTo>
                    <a:pt x="97" y="200"/>
                  </a:lnTo>
                  <a:lnTo>
                    <a:pt x="91" y="203"/>
                  </a:lnTo>
                  <a:lnTo>
                    <a:pt x="85" y="206"/>
                  </a:lnTo>
                  <a:lnTo>
                    <a:pt x="83" y="208"/>
                  </a:lnTo>
                  <a:lnTo>
                    <a:pt x="80" y="215"/>
                  </a:lnTo>
                  <a:lnTo>
                    <a:pt x="76" y="219"/>
                  </a:lnTo>
                  <a:lnTo>
                    <a:pt x="70" y="220"/>
                  </a:lnTo>
                  <a:lnTo>
                    <a:pt x="64" y="223"/>
                  </a:lnTo>
                  <a:lnTo>
                    <a:pt x="58" y="226"/>
                  </a:lnTo>
                  <a:lnTo>
                    <a:pt x="54" y="229"/>
                  </a:lnTo>
                  <a:lnTo>
                    <a:pt x="51" y="234"/>
                  </a:lnTo>
                  <a:lnTo>
                    <a:pt x="48" y="236"/>
                  </a:lnTo>
                  <a:lnTo>
                    <a:pt x="42" y="235"/>
                  </a:lnTo>
                  <a:lnTo>
                    <a:pt x="36" y="232"/>
                  </a:lnTo>
                  <a:lnTo>
                    <a:pt x="29" y="231"/>
                  </a:lnTo>
                  <a:lnTo>
                    <a:pt x="24" y="231"/>
                  </a:lnTo>
                  <a:lnTo>
                    <a:pt x="20" y="236"/>
                  </a:lnTo>
                  <a:lnTo>
                    <a:pt x="18" y="242"/>
                  </a:lnTo>
                  <a:lnTo>
                    <a:pt x="13" y="246"/>
                  </a:lnTo>
                  <a:lnTo>
                    <a:pt x="11" y="251"/>
                  </a:lnTo>
                  <a:lnTo>
                    <a:pt x="9" y="256"/>
                  </a:lnTo>
                  <a:lnTo>
                    <a:pt x="8" y="268"/>
                  </a:lnTo>
                  <a:lnTo>
                    <a:pt x="4" y="272"/>
                  </a:lnTo>
                  <a:lnTo>
                    <a:pt x="2" y="278"/>
                  </a:lnTo>
                  <a:lnTo>
                    <a:pt x="0" y="282"/>
                  </a:lnTo>
                  <a:lnTo>
                    <a:pt x="6" y="290"/>
                  </a:lnTo>
                  <a:lnTo>
                    <a:pt x="11" y="294"/>
                  </a:lnTo>
                  <a:lnTo>
                    <a:pt x="17" y="296"/>
                  </a:lnTo>
                  <a:lnTo>
                    <a:pt x="17" y="300"/>
                  </a:lnTo>
                  <a:lnTo>
                    <a:pt x="17" y="306"/>
                  </a:lnTo>
                  <a:lnTo>
                    <a:pt x="12" y="310"/>
                  </a:lnTo>
                  <a:lnTo>
                    <a:pt x="9" y="314"/>
                  </a:lnTo>
                  <a:lnTo>
                    <a:pt x="5" y="318"/>
                  </a:lnTo>
                  <a:lnTo>
                    <a:pt x="3" y="324"/>
                  </a:lnTo>
                  <a:lnTo>
                    <a:pt x="4" y="328"/>
                  </a:lnTo>
                  <a:lnTo>
                    <a:pt x="5" y="332"/>
                  </a:lnTo>
                  <a:lnTo>
                    <a:pt x="9" y="335"/>
                  </a:lnTo>
                  <a:lnTo>
                    <a:pt x="14" y="338"/>
                  </a:lnTo>
                  <a:lnTo>
                    <a:pt x="20" y="340"/>
                  </a:lnTo>
                  <a:lnTo>
                    <a:pt x="27" y="343"/>
                  </a:lnTo>
                  <a:lnTo>
                    <a:pt x="34" y="346"/>
                  </a:lnTo>
                  <a:lnTo>
                    <a:pt x="37" y="348"/>
                  </a:lnTo>
                  <a:lnTo>
                    <a:pt x="43" y="350"/>
                  </a:lnTo>
                  <a:lnTo>
                    <a:pt x="48" y="350"/>
                  </a:lnTo>
                  <a:lnTo>
                    <a:pt x="51" y="349"/>
                  </a:lnTo>
                  <a:lnTo>
                    <a:pt x="56" y="347"/>
                  </a:lnTo>
                  <a:lnTo>
                    <a:pt x="58" y="347"/>
                  </a:lnTo>
                  <a:lnTo>
                    <a:pt x="64" y="347"/>
                  </a:lnTo>
                  <a:lnTo>
                    <a:pt x="69" y="347"/>
                  </a:lnTo>
                  <a:lnTo>
                    <a:pt x="73" y="347"/>
                  </a:lnTo>
                  <a:lnTo>
                    <a:pt x="76" y="346"/>
                  </a:lnTo>
                  <a:lnTo>
                    <a:pt x="82" y="341"/>
                  </a:lnTo>
                  <a:lnTo>
                    <a:pt x="85" y="338"/>
                  </a:lnTo>
                  <a:lnTo>
                    <a:pt x="93" y="336"/>
                  </a:lnTo>
                  <a:lnTo>
                    <a:pt x="98" y="339"/>
                  </a:lnTo>
                  <a:lnTo>
                    <a:pt x="102" y="340"/>
                  </a:lnTo>
                  <a:lnTo>
                    <a:pt x="105" y="343"/>
                  </a:lnTo>
                  <a:lnTo>
                    <a:pt x="110" y="346"/>
                  </a:lnTo>
                  <a:lnTo>
                    <a:pt x="115" y="347"/>
                  </a:lnTo>
                  <a:lnTo>
                    <a:pt x="122" y="346"/>
                  </a:lnTo>
                  <a:lnTo>
                    <a:pt x="125" y="343"/>
                  </a:lnTo>
                  <a:lnTo>
                    <a:pt x="130" y="341"/>
                  </a:lnTo>
                  <a:lnTo>
                    <a:pt x="137" y="340"/>
                  </a:lnTo>
                  <a:lnTo>
                    <a:pt x="142" y="340"/>
                  </a:lnTo>
                  <a:lnTo>
                    <a:pt x="147" y="341"/>
                  </a:lnTo>
                  <a:lnTo>
                    <a:pt x="150" y="341"/>
                  </a:lnTo>
                  <a:lnTo>
                    <a:pt x="153" y="336"/>
                  </a:lnTo>
                  <a:lnTo>
                    <a:pt x="160" y="335"/>
                  </a:lnTo>
                  <a:lnTo>
                    <a:pt x="166" y="339"/>
                  </a:lnTo>
                  <a:lnTo>
                    <a:pt x="171" y="346"/>
                  </a:lnTo>
                  <a:lnTo>
                    <a:pt x="173" y="352"/>
                  </a:lnTo>
                  <a:lnTo>
                    <a:pt x="172" y="359"/>
                  </a:lnTo>
                  <a:lnTo>
                    <a:pt x="172" y="371"/>
                  </a:lnTo>
                  <a:lnTo>
                    <a:pt x="174" y="381"/>
                  </a:lnTo>
                  <a:lnTo>
                    <a:pt x="181" y="384"/>
                  </a:lnTo>
                  <a:lnTo>
                    <a:pt x="188" y="389"/>
                  </a:lnTo>
                  <a:lnTo>
                    <a:pt x="196" y="394"/>
                  </a:lnTo>
                  <a:lnTo>
                    <a:pt x="202" y="398"/>
                  </a:lnTo>
                  <a:lnTo>
                    <a:pt x="213" y="404"/>
                  </a:lnTo>
                  <a:lnTo>
                    <a:pt x="222" y="407"/>
                  </a:lnTo>
                  <a:lnTo>
                    <a:pt x="230" y="410"/>
                  </a:lnTo>
                  <a:lnTo>
                    <a:pt x="235" y="413"/>
                  </a:lnTo>
                  <a:lnTo>
                    <a:pt x="245" y="418"/>
                  </a:lnTo>
                  <a:lnTo>
                    <a:pt x="254" y="418"/>
                  </a:lnTo>
                  <a:lnTo>
                    <a:pt x="261" y="416"/>
                  </a:lnTo>
                  <a:lnTo>
                    <a:pt x="272" y="415"/>
                  </a:lnTo>
                  <a:lnTo>
                    <a:pt x="285" y="419"/>
                  </a:lnTo>
                  <a:lnTo>
                    <a:pt x="299" y="420"/>
                  </a:lnTo>
                  <a:lnTo>
                    <a:pt x="307" y="420"/>
                  </a:lnTo>
                  <a:lnTo>
                    <a:pt x="312" y="419"/>
                  </a:lnTo>
                  <a:lnTo>
                    <a:pt x="316" y="419"/>
                  </a:lnTo>
                  <a:lnTo>
                    <a:pt x="321" y="419"/>
                  </a:lnTo>
                  <a:lnTo>
                    <a:pt x="329" y="420"/>
                  </a:lnTo>
                  <a:lnTo>
                    <a:pt x="336" y="422"/>
                  </a:lnTo>
                  <a:lnTo>
                    <a:pt x="340" y="424"/>
                  </a:lnTo>
                  <a:lnTo>
                    <a:pt x="347" y="424"/>
                  </a:lnTo>
                  <a:lnTo>
                    <a:pt x="350" y="426"/>
                  </a:lnTo>
                  <a:lnTo>
                    <a:pt x="354" y="430"/>
                  </a:lnTo>
                  <a:lnTo>
                    <a:pt x="357" y="437"/>
                  </a:lnTo>
                  <a:lnTo>
                    <a:pt x="356" y="444"/>
                  </a:lnTo>
                  <a:lnTo>
                    <a:pt x="356" y="448"/>
                  </a:lnTo>
                  <a:lnTo>
                    <a:pt x="350" y="451"/>
                  </a:lnTo>
                  <a:lnTo>
                    <a:pt x="346" y="455"/>
                  </a:lnTo>
                  <a:lnTo>
                    <a:pt x="340" y="461"/>
                  </a:lnTo>
                  <a:lnTo>
                    <a:pt x="336" y="467"/>
                  </a:lnTo>
                  <a:lnTo>
                    <a:pt x="333" y="478"/>
                  </a:lnTo>
                  <a:lnTo>
                    <a:pt x="332" y="483"/>
                  </a:lnTo>
                  <a:lnTo>
                    <a:pt x="334" y="487"/>
                  </a:lnTo>
                  <a:lnTo>
                    <a:pt x="338" y="491"/>
                  </a:lnTo>
                  <a:lnTo>
                    <a:pt x="339" y="495"/>
                  </a:lnTo>
                  <a:lnTo>
                    <a:pt x="339" y="500"/>
                  </a:lnTo>
                  <a:lnTo>
                    <a:pt x="339" y="506"/>
                  </a:lnTo>
                  <a:lnTo>
                    <a:pt x="340" y="510"/>
                  </a:lnTo>
                  <a:lnTo>
                    <a:pt x="342" y="512"/>
                  </a:lnTo>
                  <a:lnTo>
                    <a:pt x="347" y="512"/>
                  </a:lnTo>
                  <a:lnTo>
                    <a:pt x="354" y="511"/>
                  </a:lnTo>
                  <a:lnTo>
                    <a:pt x="360" y="509"/>
                  </a:lnTo>
                  <a:lnTo>
                    <a:pt x="363" y="506"/>
                  </a:lnTo>
                  <a:lnTo>
                    <a:pt x="368" y="507"/>
                  </a:lnTo>
                  <a:lnTo>
                    <a:pt x="373" y="509"/>
                  </a:lnTo>
                  <a:lnTo>
                    <a:pt x="382" y="511"/>
                  </a:lnTo>
                  <a:lnTo>
                    <a:pt x="389" y="514"/>
                  </a:lnTo>
                  <a:lnTo>
                    <a:pt x="398" y="518"/>
                  </a:lnTo>
                  <a:lnTo>
                    <a:pt x="414" y="524"/>
                  </a:lnTo>
                  <a:lnTo>
                    <a:pt x="427" y="526"/>
                  </a:lnTo>
                  <a:lnTo>
                    <a:pt x="436" y="531"/>
                  </a:lnTo>
                  <a:lnTo>
                    <a:pt x="446" y="534"/>
                  </a:lnTo>
                  <a:lnTo>
                    <a:pt x="452" y="539"/>
                  </a:lnTo>
                  <a:lnTo>
                    <a:pt x="452" y="543"/>
                  </a:lnTo>
                  <a:lnTo>
                    <a:pt x="450" y="548"/>
                  </a:lnTo>
                  <a:lnTo>
                    <a:pt x="445" y="550"/>
                  </a:lnTo>
                  <a:lnTo>
                    <a:pt x="442" y="552"/>
                  </a:lnTo>
                  <a:lnTo>
                    <a:pt x="440" y="558"/>
                  </a:lnTo>
                  <a:lnTo>
                    <a:pt x="442" y="562"/>
                  </a:lnTo>
                  <a:lnTo>
                    <a:pt x="444" y="566"/>
                  </a:lnTo>
                  <a:lnTo>
                    <a:pt x="440" y="570"/>
                  </a:lnTo>
                  <a:lnTo>
                    <a:pt x="434" y="573"/>
                  </a:lnTo>
                  <a:lnTo>
                    <a:pt x="433" y="575"/>
                  </a:lnTo>
                  <a:lnTo>
                    <a:pt x="433" y="584"/>
                  </a:lnTo>
                  <a:lnTo>
                    <a:pt x="429" y="591"/>
                  </a:lnTo>
                  <a:lnTo>
                    <a:pt x="426" y="597"/>
                  </a:lnTo>
                  <a:lnTo>
                    <a:pt x="421" y="602"/>
                  </a:lnTo>
                  <a:lnTo>
                    <a:pt x="417" y="606"/>
                  </a:lnTo>
                  <a:lnTo>
                    <a:pt x="412" y="611"/>
                  </a:lnTo>
                  <a:lnTo>
                    <a:pt x="412" y="615"/>
                  </a:lnTo>
                  <a:lnTo>
                    <a:pt x="409" y="621"/>
                  </a:lnTo>
                  <a:lnTo>
                    <a:pt x="403" y="624"/>
                  </a:lnTo>
                  <a:lnTo>
                    <a:pt x="396" y="627"/>
                  </a:lnTo>
                  <a:lnTo>
                    <a:pt x="392" y="626"/>
                  </a:lnTo>
                  <a:lnTo>
                    <a:pt x="385" y="628"/>
                  </a:lnTo>
                  <a:lnTo>
                    <a:pt x="378" y="629"/>
                  </a:lnTo>
                  <a:lnTo>
                    <a:pt x="363" y="630"/>
                  </a:lnTo>
                  <a:lnTo>
                    <a:pt x="347" y="635"/>
                  </a:lnTo>
                  <a:lnTo>
                    <a:pt x="341" y="640"/>
                  </a:lnTo>
                  <a:lnTo>
                    <a:pt x="340" y="647"/>
                  </a:lnTo>
                  <a:lnTo>
                    <a:pt x="338" y="653"/>
                  </a:lnTo>
                  <a:lnTo>
                    <a:pt x="332" y="655"/>
                  </a:lnTo>
                  <a:lnTo>
                    <a:pt x="330" y="660"/>
                  </a:lnTo>
                  <a:lnTo>
                    <a:pt x="329" y="666"/>
                  </a:lnTo>
                  <a:lnTo>
                    <a:pt x="330" y="672"/>
                  </a:lnTo>
                  <a:lnTo>
                    <a:pt x="329" y="678"/>
                  </a:lnTo>
                  <a:lnTo>
                    <a:pt x="323" y="680"/>
                  </a:lnTo>
                  <a:lnTo>
                    <a:pt x="318" y="686"/>
                  </a:lnTo>
                  <a:lnTo>
                    <a:pt x="317" y="688"/>
                  </a:lnTo>
                  <a:lnTo>
                    <a:pt x="313" y="687"/>
                  </a:lnTo>
                  <a:lnTo>
                    <a:pt x="305" y="687"/>
                  </a:lnTo>
                  <a:lnTo>
                    <a:pt x="296" y="688"/>
                  </a:lnTo>
                  <a:lnTo>
                    <a:pt x="289" y="690"/>
                  </a:lnTo>
                  <a:lnTo>
                    <a:pt x="280" y="690"/>
                  </a:lnTo>
                  <a:lnTo>
                    <a:pt x="268" y="691"/>
                  </a:lnTo>
                  <a:lnTo>
                    <a:pt x="262" y="696"/>
                  </a:lnTo>
                  <a:lnTo>
                    <a:pt x="259" y="708"/>
                  </a:lnTo>
                  <a:lnTo>
                    <a:pt x="259" y="724"/>
                  </a:lnTo>
                  <a:lnTo>
                    <a:pt x="257" y="732"/>
                  </a:lnTo>
                  <a:lnTo>
                    <a:pt x="254" y="740"/>
                  </a:lnTo>
                  <a:lnTo>
                    <a:pt x="256" y="749"/>
                  </a:lnTo>
                  <a:lnTo>
                    <a:pt x="259" y="757"/>
                  </a:lnTo>
                  <a:lnTo>
                    <a:pt x="269" y="763"/>
                  </a:lnTo>
                  <a:lnTo>
                    <a:pt x="280" y="778"/>
                  </a:lnTo>
                  <a:lnTo>
                    <a:pt x="284" y="786"/>
                  </a:lnTo>
                  <a:lnTo>
                    <a:pt x="283" y="804"/>
                  </a:lnTo>
                  <a:lnTo>
                    <a:pt x="283" y="811"/>
                  </a:lnTo>
                  <a:lnTo>
                    <a:pt x="285" y="818"/>
                  </a:lnTo>
                  <a:lnTo>
                    <a:pt x="286" y="824"/>
                  </a:lnTo>
                  <a:lnTo>
                    <a:pt x="288" y="831"/>
                  </a:lnTo>
                  <a:lnTo>
                    <a:pt x="289" y="838"/>
                  </a:lnTo>
                  <a:lnTo>
                    <a:pt x="291" y="846"/>
                  </a:lnTo>
                  <a:lnTo>
                    <a:pt x="296" y="859"/>
                  </a:lnTo>
                  <a:lnTo>
                    <a:pt x="300" y="867"/>
                  </a:lnTo>
                  <a:lnTo>
                    <a:pt x="305" y="871"/>
                  </a:lnTo>
                  <a:lnTo>
                    <a:pt x="309" y="878"/>
                  </a:lnTo>
                  <a:lnTo>
                    <a:pt x="309" y="885"/>
                  </a:lnTo>
                  <a:lnTo>
                    <a:pt x="307" y="890"/>
                  </a:lnTo>
                  <a:lnTo>
                    <a:pt x="304" y="895"/>
                  </a:lnTo>
                  <a:lnTo>
                    <a:pt x="300" y="901"/>
                  </a:lnTo>
                  <a:lnTo>
                    <a:pt x="300" y="907"/>
                  </a:lnTo>
                  <a:lnTo>
                    <a:pt x="301" y="915"/>
                  </a:lnTo>
                  <a:lnTo>
                    <a:pt x="306" y="919"/>
                  </a:lnTo>
                  <a:lnTo>
                    <a:pt x="309" y="925"/>
                  </a:lnTo>
                  <a:lnTo>
                    <a:pt x="310" y="941"/>
                  </a:lnTo>
                  <a:lnTo>
                    <a:pt x="312" y="947"/>
                  </a:lnTo>
                  <a:lnTo>
                    <a:pt x="315" y="958"/>
                  </a:lnTo>
                  <a:lnTo>
                    <a:pt x="318" y="965"/>
                  </a:lnTo>
                  <a:lnTo>
                    <a:pt x="320" y="972"/>
                  </a:lnTo>
                  <a:lnTo>
                    <a:pt x="320" y="984"/>
                  </a:lnTo>
                  <a:lnTo>
                    <a:pt x="314" y="991"/>
                  </a:lnTo>
                  <a:lnTo>
                    <a:pt x="310" y="997"/>
                  </a:lnTo>
                  <a:lnTo>
                    <a:pt x="307" y="1006"/>
                  </a:lnTo>
                  <a:lnTo>
                    <a:pt x="306" y="1013"/>
                  </a:lnTo>
                  <a:lnTo>
                    <a:pt x="307" y="1023"/>
                  </a:lnTo>
                  <a:lnTo>
                    <a:pt x="313" y="1032"/>
                  </a:lnTo>
                  <a:lnTo>
                    <a:pt x="317" y="1037"/>
                  </a:lnTo>
                  <a:lnTo>
                    <a:pt x="321" y="1045"/>
                  </a:lnTo>
                  <a:lnTo>
                    <a:pt x="322" y="1051"/>
                  </a:lnTo>
                  <a:lnTo>
                    <a:pt x="322" y="1061"/>
                  </a:lnTo>
                  <a:lnTo>
                    <a:pt x="321" y="1069"/>
                  </a:lnTo>
                  <a:lnTo>
                    <a:pt x="317" y="1076"/>
                  </a:lnTo>
                  <a:lnTo>
                    <a:pt x="317" y="1083"/>
                  </a:lnTo>
                  <a:lnTo>
                    <a:pt x="318" y="1088"/>
                  </a:lnTo>
                  <a:lnTo>
                    <a:pt x="321" y="1094"/>
                  </a:lnTo>
                  <a:lnTo>
                    <a:pt x="325" y="1099"/>
                  </a:lnTo>
                  <a:lnTo>
                    <a:pt x="331" y="1100"/>
                  </a:lnTo>
                  <a:lnTo>
                    <a:pt x="338" y="1101"/>
                  </a:lnTo>
                  <a:lnTo>
                    <a:pt x="342" y="1101"/>
                  </a:lnTo>
                  <a:lnTo>
                    <a:pt x="348" y="1103"/>
                  </a:lnTo>
                  <a:lnTo>
                    <a:pt x="355" y="1108"/>
                  </a:lnTo>
                  <a:lnTo>
                    <a:pt x="363" y="1117"/>
                  </a:lnTo>
                  <a:lnTo>
                    <a:pt x="366" y="1124"/>
                  </a:lnTo>
                  <a:lnTo>
                    <a:pt x="371" y="1127"/>
                  </a:lnTo>
                  <a:lnTo>
                    <a:pt x="373" y="1124"/>
                  </a:lnTo>
                  <a:lnTo>
                    <a:pt x="388" y="1122"/>
                  </a:lnTo>
                  <a:lnTo>
                    <a:pt x="395" y="1122"/>
                  </a:lnTo>
                  <a:lnTo>
                    <a:pt x="404" y="1123"/>
                  </a:lnTo>
                  <a:lnTo>
                    <a:pt x="414" y="1127"/>
                  </a:lnTo>
                  <a:lnTo>
                    <a:pt x="419" y="1131"/>
                  </a:lnTo>
                  <a:lnTo>
                    <a:pt x="424" y="1135"/>
                  </a:lnTo>
                  <a:lnTo>
                    <a:pt x="429" y="1139"/>
                  </a:lnTo>
                  <a:lnTo>
                    <a:pt x="434" y="1139"/>
                  </a:lnTo>
                  <a:lnTo>
                    <a:pt x="438" y="1140"/>
                  </a:lnTo>
                  <a:lnTo>
                    <a:pt x="444" y="1141"/>
                  </a:lnTo>
                  <a:lnTo>
                    <a:pt x="460" y="1147"/>
                  </a:lnTo>
                  <a:lnTo>
                    <a:pt x="474" y="1158"/>
                  </a:lnTo>
                  <a:lnTo>
                    <a:pt x="488" y="1170"/>
                  </a:lnTo>
                  <a:lnTo>
                    <a:pt x="493" y="1173"/>
                  </a:lnTo>
                  <a:lnTo>
                    <a:pt x="497" y="1176"/>
                  </a:lnTo>
                  <a:lnTo>
                    <a:pt x="504" y="1181"/>
                  </a:lnTo>
                  <a:lnTo>
                    <a:pt x="510" y="1187"/>
                  </a:lnTo>
                  <a:lnTo>
                    <a:pt x="515" y="1188"/>
                  </a:lnTo>
                  <a:lnTo>
                    <a:pt x="521" y="1187"/>
                  </a:lnTo>
                  <a:lnTo>
                    <a:pt x="525" y="1187"/>
                  </a:lnTo>
                  <a:lnTo>
                    <a:pt x="530" y="1187"/>
                  </a:lnTo>
                  <a:lnTo>
                    <a:pt x="534" y="1186"/>
                  </a:lnTo>
                  <a:lnTo>
                    <a:pt x="537" y="1186"/>
                  </a:lnTo>
                  <a:lnTo>
                    <a:pt x="542" y="1184"/>
                  </a:lnTo>
                  <a:lnTo>
                    <a:pt x="548" y="1187"/>
                  </a:lnTo>
                  <a:lnTo>
                    <a:pt x="555" y="1191"/>
                  </a:lnTo>
                  <a:lnTo>
                    <a:pt x="561" y="1194"/>
                  </a:lnTo>
                  <a:lnTo>
                    <a:pt x="565" y="1192"/>
                  </a:lnTo>
                  <a:lnTo>
                    <a:pt x="571" y="1192"/>
                  </a:lnTo>
                  <a:lnTo>
                    <a:pt x="578" y="1190"/>
                  </a:lnTo>
                  <a:lnTo>
                    <a:pt x="582" y="1190"/>
                  </a:lnTo>
                  <a:lnTo>
                    <a:pt x="587" y="1190"/>
                  </a:lnTo>
                  <a:lnTo>
                    <a:pt x="590" y="1187"/>
                  </a:lnTo>
                  <a:lnTo>
                    <a:pt x="590" y="1183"/>
                  </a:lnTo>
                  <a:lnTo>
                    <a:pt x="593" y="1176"/>
                  </a:lnTo>
                  <a:lnTo>
                    <a:pt x="597" y="1172"/>
                  </a:lnTo>
                  <a:lnTo>
                    <a:pt x="602" y="1170"/>
                  </a:lnTo>
                  <a:lnTo>
                    <a:pt x="606" y="1170"/>
                  </a:lnTo>
                  <a:lnTo>
                    <a:pt x="608" y="1174"/>
                  </a:lnTo>
                  <a:lnTo>
                    <a:pt x="604" y="1181"/>
                  </a:lnTo>
                  <a:lnTo>
                    <a:pt x="597" y="1194"/>
                  </a:lnTo>
                  <a:lnTo>
                    <a:pt x="597" y="1206"/>
                  </a:lnTo>
                  <a:lnTo>
                    <a:pt x="600" y="1212"/>
                  </a:lnTo>
                  <a:lnTo>
                    <a:pt x="601" y="1218"/>
                  </a:lnTo>
                  <a:lnTo>
                    <a:pt x="596" y="1224"/>
                  </a:lnTo>
                  <a:lnTo>
                    <a:pt x="595" y="1231"/>
                  </a:lnTo>
                  <a:lnTo>
                    <a:pt x="596" y="1237"/>
                  </a:lnTo>
                  <a:lnTo>
                    <a:pt x="601" y="1245"/>
                  </a:lnTo>
                  <a:lnTo>
                    <a:pt x="601" y="1250"/>
                  </a:lnTo>
                  <a:lnTo>
                    <a:pt x="601" y="1255"/>
                  </a:lnTo>
                  <a:lnTo>
                    <a:pt x="601" y="1261"/>
                  </a:lnTo>
                  <a:lnTo>
                    <a:pt x="602" y="1263"/>
                  </a:lnTo>
                  <a:lnTo>
                    <a:pt x="605" y="1267"/>
                  </a:lnTo>
                  <a:lnTo>
                    <a:pt x="610" y="1267"/>
                  </a:lnTo>
                  <a:lnTo>
                    <a:pt x="616" y="1267"/>
                  </a:lnTo>
                  <a:lnTo>
                    <a:pt x="622" y="1267"/>
                  </a:lnTo>
                  <a:lnTo>
                    <a:pt x="628" y="1267"/>
                  </a:lnTo>
                  <a:lnTo>
                    <a:pt x="633" y="1267"/>
                  </a:lnTo>
                  <a:lnTo>
                    <a:pt x="636" y="1264"/>
                  </a:lnTo>
                  <a:lnTo>
                    <a:pt x="637" y="1262"/>
                  </a:lnTo>
                  <a:lnTo>
                    <a:pt x="641" y="1262"/>
                  </a:lnTo>
                  <a:lnTo>
                    <a:pt x="645" y="1263"/>
                  </a:lnTo>
                  <a:lnTo>
                    <a:pt x="651" y="1264"/>
                  </a:lnTo>
                  <a:lnTo>
                    <a:pt x="658" y="1267"/>
                  </a:lnTo>
                  <a:lnTo>
                    <a:pt x="662" y="1268"/>
                  </a:lnTo>
                  <a:lnTo>
                    <a:pt x="672" y="1270"/>
                  </a:lnTo>
                  <a:lnTo>
                    <a:pt x="676" y="1271"/>
                  </a:lnTo>
                  <a:lnTo>
                    <a:pt x="681" y="1272"/>
                  </a:lnTo>
                  <a:lnTo>
                    <a:pt x="685" y="1272"/>
                  </a:lnTo>
                  <a:lnTo>
                    <a:pt x="691" y="1271"/>
                  </a:lnTo>
                  <a:lnTo>
                    <a:pt x="696" y="1270"/>
                  </a:lnTo>
                  <a:lnTo>
                    <a:pt x="701" y="1269"/>
                  </a:lnTo>
                  <a:lnTo>
                    <a:pt x="706" y="1269"/>
                  </a:lnTo>
                  <a:lnTo>
                    <a:pt x="713" y="1270"/>
                  </a:lnTo>
                  <a:lnTo>
                    <a:pt x="718" y="1271"/>
                  </a:lnTo>
                  <a:lnTo>
                    <a:pt x="723" y="1275"/>
                  </a:lnTo>
                  <a:lnTo>
                    <a:pt x="725" y="1279"/>
                  </a:lnTo>
                  <a:lnTo>
                    <a:pt x="730" y="1283"/>
                  </a:lnTo>
                  <a:lnTo>
                    <a:pt x="733" y="1284"/>
                  </a:lnTo>
                  <a:lnTo>
                    <a:pt x="739" y="1285"/>
                  </a:lnTo>
                  <a:lnTo>
                    <a:pt x="745" y="1287"/>
                  </a:lnTo>
                  <a:lnTo>
                    <a:pt x="754" y="1293"/>
                  </a:lnTo>
                  <a:lnTo>
                    <a:pt x="768" y="1298"/>
                  </a:lnTo>
                  <a:lnTo>
                    <a:pt x="773" y="1299"/>
                  </a:lnTo>
                  <a:lnTo>
                    <a:pt x="778" y="1303"/>
                  </a:lnTo>
                  <a:lnTo>
                    <a:pt x="785" y="1308"/>
                  </a:lnTo>
                  <a:lnTo>
                    <a:pt x="789" y="1310"/>
                  </a:lnTo>
                  <a:lnTo>
                    <a:pt x="792" y="1310"/>
                  </a:lnTo>
                  <a:lnTo>
                    <a:pt x="796" y="1310"/>
                  </a:lnTo>
                  <a:lnTo>
                    <a:pt x="800" y="1310"/>
                  </a:lnTo>
                  <a:lnTo>
                    <a:pt x="806" y="1311"/>
                  </a:lnTo>
                  <a:lnTo>
                    <a:pt x="812" y="1312"/>
                  </a:lnTo>
                  <a:lnTo>
                    <a:pt x="814" y="1314"/>
                  </a:lnTo>
                  <a:lnTo>
                    <a:pt x="818" y="1312"/>
                  </a:lnTo>
                  <a:lnTo>
                    <a:pt x="820" y="1309"/>
                  </a:lnTo>
                  <a:lnTo>
                    <a:pt x="824" y="1307"/>
                  </a:lnTo>
                  <a:lnTo>
                    <a:pt x="827" y="1307"/>
                  </a:lnTo>
                  <a:lnTo>
                    <a:pt x="832" y="1309"/>
                  </a:lnTo>
                  <a:lnTo>
                    <a:pt x="834" y="1311"/>
                  </a:lnTo>
                  <a:lnTo>
                    <a:pt x="838" y="1312"/>
                  </a:lnTo>
                  <a:lnTo>
                    <a:pt x="842" y="1314"/>
                  </a:lnTo>
                  <a:lnTo>
                    <a:pt x="846" y="1314"/>
                  </a:lnTo>
                  <a:lnTo>
                    <a:pt x="851" y="1312"/>
                  </a:lnTo>
                  <a:lnTo>
                    <a:pt x="854" y="1310"/>
                  </a:lnTo>
                  <a:lnTo>
                    <a:pt x="858" y="1307"/>
                  </a:lnTo>
                  <a:lnTo>
                    <a:pt x="861" y="1303"/>
                  </a:lnTo>
                  <a:lnTo>
                    <a:pt x="866" y="1300"/>
                  </a:lnTo>
                  <a:lnTo>
                    <a:pt x="869" y="1299"/>
                  </a:lnTo>
                  <a:lnTo>
                    <a:pt x="874" y="1293"/>
                  </a:lnTo>
                  <a:lnTo>
                    <a:pt x="877" y="1288"/>
                  </a:lnTo>
                  <a:lnTo>
                    <a:pt x="881" y="1285"/>
                  </a:lnTo>
                  <a:lnTo>
                    <a:pt x="884" y="1283"/>
                  </a:lnTo>
                  <a:lnTo>
                    <a:pt x="888" y="1280"/>
                  </a:lnTo>
                  <a:lnTo>
                    <a:pt x="891" y="1277"/>
                  </a:lnTo>
                  <a:lnTo>
                    <a:pt x="894" y="1272"/>
                  </a:lnTo>
                  <a:lnTo>
                    <a:pt x="899" y="1270"/>
                  </a:lnTo>
                  <a:lnTo>
                    <a:pt x="902" y="1268"/>
                  </a:lnTo>
                  <a:lnTo>
                    <a:pt x="906" y="1264"/>
                  </a:lnTo>
                  <a:lnTo>
                    <a:pt x="910" y="1261"/>
                  </a:lnTo>
                  <a:lnTo>
                    <a:pt x="916" y="1255"/>
                  </a:lnTo>
                  <a:lnTo>
                    <a:pt x="923" y="1248"/>
                  </a:lnTo>
                  <a:lnTo>
                    <a:pt x="928" y="1243"/>
                  </a:lnTo>
                  <a:lnTo>
                    <a:pt x="929" y="1237"/>
                  </a:lnTo>
                  <a:lnTo>
                    <a:pt x="932" y="1236"/>
                  </a:lnTo>
                  <a:lnTo>
                    <a:pt x="936" y="1236"/>
                  </a:lnTo>
                  <a:lnTo>
                    <a:pt x="939" y="1237"/>
                  </a:lnTo>
                  <a:lnTo>
                    <a:pt x="941" y="1238"/>
                  </a:lnTo>
                  <a:lnTo>
                    <a:pt x="944" y="1237"/>
                  </a:lnTo>
                  <a:lnTo>
                    <a:pt x="947" y="1236"/>
                  </a:lnTo>
                  <a:lnTo>
                    <a:pt x="947" y="1232"/>
                  </a:lnTo>
                  <a:lnTo>
                    <a:pt x="946" y="1229"/>
                  </a:lnTo>
                  <a:lnTo>
                    <a:pt x="946" y="1226"/>
                  </a:lnTo>
                  <a:lnTo>
                    <a:pt x="944" y="1223"/>
                  </a:lnTo>
                  <a:lnTo>
                    <a:pt x="941" y="1222"/>
                  </a:lnTo>
                  <a:lnTo>
                    <a:pt x="939" y="1220"/>
                  </a:lnTo>
                  <a:lnTo>
                    <a:pt x="938" y="1218"/>
                  </a:lnTo>
                  <a:lnTo>
                    <a:pt x="938" y="1213"/>
                  </a:lnTo>
                  <a:lnTo>
                    <a:pt x="939" y="1207"/>
                  </a:lnTo>
                  <a:lnTo>
                    <a:pt x="941" y="1203"/>
                  </a:lnTo>
                  <a:lnTo>
                    <a:pt x="945" y="1197"/>
                  </a:lnTo>
                  <a:lnTo>
                    <a:pt x="944" y="1194"/>
                  </a:lnTo>
                  <a:lnTo>
                    <a:pt x="944" y="1189"/>
                  </a:lnTo>
                  <a:lnTo>
                    <a:pt x="942" y="1184"/>
                  </a:lnTo>
                  <a:lnTo>
                    <a:pt x="940" y="1182"/>
                  </a:lnTo>
                  <a:lnTo>
                    <a:pt x="937" y="1179"/>
                  </a:lnTo>
                  <a:lnTo>
                    <a:pt x="933" y="1175"/>
                  </a:lnTo>
                  <a:lnTo>
                    <a:pt x="928" y="1170"/>
                  </a:lnTo>
                  <a:lnTo>
                    <a:pt x="923" y="1167"/>
                  </a:lnTo>
                  <a:lnTo>
                    <a:pt x="916" y="1159"/>
                  </a:lnTo>
                  <a:lnTo>
                    <a:pt x="916" y="1156"/>
                  </a:lnTo>
                  <a:lnTo>
                    <a:pt x="918" y="1151"/>
                  </a:lnTo>
                  <a:lnTo>
                    <a:pt x="918" y="1149"/>
                  </a:lnTo>
                  <a:lnTo>
                    <a:pt x="922" y="1147"/>
                  </a:lnTo>
                  <a:lnTo>
                    <a:pt x="929" y="1146"/>
                  </a:lnTo>
                  <a:lnTo>
                    <a:pt x="931" y="1146"/>
                  </a:lnTo>
                  <a:lnTo>
                    <a:pt x="934" y="1146"/>
                  </a:lnTo>
                  <a:lnTo>
                    <a:pt x="939" y="1146"/>
                  </a:lnTo>
                  <a:lnTo>
                    <a:pt x="945" y="1149"/>
                  </a:lnTo>
                  <a:lnTo>
                    <a:pt x="949" y="1152"/>
                  </a:lnTo>
                  <a:lnTo>
                    <a:pt x="952" y="1155"/>
                  </a:lnTo>
                  <a:lnTo>
                    <a:pt x="953" y="1156"/>
                  </a:lnTo>
                  <a:lnTo>
                    <a:pt x="955" y="1157"/>
                  </a:lnTo>
                  <a:lnTo>
                    <a:pt x="958" y="1157"/>
                  </a:lnTo>
                  <a:lnTo>
                    <a:pt x="961" y="1156"/>
                  </a:lnTo>
                  <a:lnTo>
                    <a:pt x="962" y="1155"/>
                  </a:lnTo>
                  <a:lnTo>
                    <a:pt x="965" y="1154"/>
                  </a:lnTo>
                  <a:lnTo>
                    <a:pt x="969" y="1152"/>
                  </a:lnTo>
                  <a:lnTo>
                    <a:pt x="971" y="1152"/>
                  </a:lnTo>
                  <a:lnTo>
                    <a:pt x="978" y="1148"/>
                  </a:lnTo>
                  <a:lnTo>
                    <a:pt x="985" y="1142"/>
                  </a:lnTo>
                  <a:lnTo>
                    <a:pt x="995" y="1132"/>
                  </a:lnTo>
                  <a:lnTo>
                    <a:pt x="1000" y="1125"/>
                  </a:lnTo>
                  <a:lnTo>
                    <a:pt x="1001" y="1124"/>
                  </a:lnTo>
                  <a:lnTo>
                    <a:pt x="1002" y="1122"/>
                  </a:lnTo>
                  <a:lnTo>
                    <a:pt x="1005" y="1119"/>
                  </a:lnTo>
                  <a:lnTo>
                    <a:pt x="1011" y="1116"/>
                  </a:lnTo>
                  <a:lnTo>
                    <a:pt x="1012" y="1116"/>
                  </a:lnTo>
                  <a:lnTo>
                    <a:pt x="1016" y="1115"/>
                  </a:lnTo>
                  <a:lnTo>
                    <a:pt x="1020" y="1115"/>
                  </a:lnTo>
                  <a:lnTo>
                    <a:pt x="1021" y="1112"/>
                  </a:lnTo>
                  <a:lnTo>
                    <a:pt x="1022" y="1112"/>
                  </a:lnTo>
                  <a:lnTo>
                    <a:pt x="1025" y="1112"/>
                  </a:lnTo>
                  <a:lnTo>
                    <a:pt x="1027" y="1114"/>
                  </a:lnTo>
                  <a:lnTo>
                    <a:pt x="1030" y="1114"/>
                  </a:lnTo>
                  <a:lnTo>
                    <a:pt x="1034" y="1112"/>
                  </a:lnTo>
                  <a:lnTo>
                    <a:pt x="1035" y="1111"/>
                  </a:lnTo>
                  <a:lnTo>
                    <a:pt x="1038" y="1110"/>
                  </a:lnTo>
                  <a:lnTo>
                    <a:pt x="1042" y="1109"/>
                  </a:lnTo>
                  <a:lnTo>
                    <a:pt x="1044" y="1108"/>
                  </a:lnTo>
                  <a:lnTo>
                    <a:pt x="1046" y="1107"/>
                  </a:lnTo>
                  <a:lnTo>
                    <a:pt x="1048" y="1104"/>
                  </a:lnTo>
                  <a:lnTo>
                    <a:pt x="1049" y="1102"/>
                  </a:lnTo>
                  <a:lnTo>
                    <a:pt x="1049" y="1100"/>
                  </a:lnTo>
                  <a:lnTo>
                    <a:pt x="1048" y="1098"/>
                  </a:lnTo>
                  <a:lnTo>
                    <a:pt x="1050" y="1093"/>
                  </a:lnTo>
                  <a:lnTo>
                    <a:pt x="1051" y="1091"/>
                  </a:lnTo>
                  <a:lnTo>
                    <a:pt x="1052" y="1088"/>
                  </a:lnTo>
                  <a:lnTo>
                    <a:pt x="1053" y="1087"/>
                  </a:lnTo>
                  <a:lnTo>
                    <a:pt x="1056" y="1086"/>
                  </a:lnTo>
                  <a:lnTo>
                    <a:pt x="1057" y="1084"/>
                  </a:lnTo>
                  <a:lnTo>
                    <a:pt x="1059" y="1083"/>
                  </a:lnTo>
                  <a:lnTo>
                    <a:pt x="1064" y="1082"/>
                  </a:lnTo>
                  <a:lnTo>
                    <a:pt x="1066" y="1079"/>
                  </a:lnTo>
                  <a:lnTo>
                    <a:pt x="1068" y="1078"/>
                  </a:lnTo>
                  <a:lnTo>
                    <a:pt x="1070" y="1078"/>
                  </a:lnTo>
                  <a:lnTo>
                    <a:pt x="1075" y="1074"/>
                  </a:lnTo>
                  <a:lnTo>
                    <a:pt x="1076" y="1072"/>
                  </a:lnTo>
                  <a:lnTo>
                    <a:pt x="1077" y="1070"/>
                  </a:lnTo>
                  <a:lnTo>
                    <a:pt x="1078" y="1069"/>
                  </a:lnTo>
                  <a:lnTo>
                    <a:pt x="1081" y="1069"/>
                  </a:lnTo>
                  <a:lnTo>
                    <a:pt x="1083" y="1068"/>
                  </a:lnTo>
                  <a:lnTo>
                    <a:pt x="1086" y="1068"/>
                  </a:lnTo>
                  <a:lnTo>
                    <a:pt x="1090" y="1069"/>
                  </a:lnTo>
                  <a:lnTo>
                    <a:pt x="1091" y="1069"/>
                  </a:lnTo>
                  <a:lnTo>
                    <a:pt x="1094" y="1070"/>
                  </a:lnTo>
                  <a:lnTo>
                    <a:pt x="1098" y="1070"/>
                  </a:lnTo>
                  <a:lnTo>
                    <a:pt x="1101" y="1070"/>
                  </a:lnTo>
                  <a:lnTo>
                    <a:pt x="1105" y="1069"/>
                  </a:lnTo>
                  <a:lnTo>
                    <a:pt x="1107" y="1067"/>
                  </a:lnTo>
                  <a:lnTo>
                    <a:pt x="1109" y="1066"/>
                  </a:lnTo>
                  <a:lnTo>
                    <a:pt x="1112" y="1064"/>
                  </a:lnTo>
                  <a:lnTo>
                    <a:pt x="1114" y="1063"/>
                  </a:lnTo>
                  <a:lnTo>
                    <a:pt x="1117" y="1063"/>
                  </a:lnTo>
                  <a:lnTo>
                    <a:pt x="1122" y="1063"/>
                  </a:lnTo>
                  <a:lnTo>
                    <a:pt x="1125" y="1062"/>
                  </a:lnTo>
                  <a:lnTo>
                    <a:pt x="1130" y="1062"/>
                  </a:lnTo>
                  <a:lnTo>
                    <a:pt x="1131" y="1063"/>
                  </a:lnTo>
                  <a:lnTo>
                    <a:pt x="1133" y="1066"/>
                  </a:lnTo>
                  <a:lnTo>
                    <a:pt x="1136" y="1068"/>
                  </a:lnTo>
                  <a:lnTo>
                    <a:pt x="1139" y="1070"/>
                  </a:lnTo>
                  <a:lnTo>
                    <a:pt x="1141" y="1072"/>
                  </a:lnTo>
                  <a:lnTo>
                    <a:pt x="1146" y="1075"/>
                  </a:lnTo>
                  <a:lnTo>
                    <a:pt x="1148" y="1075"/>
                  </a:lnTo>
                  <a:lnTo>
                    <a:pt x="1152" y="1074"/>
                  </a:lnTo>
                  <a:lnTo>
                    <a:pt x="1155" y="1072"/>
                  </a:lnTo>
                  <a:lnTo>
                    <a:pt x="1156" y="1071"/>
                  </a:lnTo>
                  <a:lnTo>
                    <a:pt x="1160" y="1071"/>
                  </a:lnTo>
                  <a:lnTo>
                    <a:pt x="1163" y="1071"/>
                  </a:lnTo>
                  <a:lnTo>
                    <a:pt x="1168" y="1071"/>
                  </a:lnTo>
                  <a:lnTo>
                    <a:pt x="1172" y="1069"/>
                  </a:lnTo>
                  <a:lnTo>
                    <a:pt x="1176" y="1064"/>
                  </a:lnTo>
                  <a:lnTo>
                    <a:pt x="1179" y="1062"/>
                  </a:lnTo>
                  <a:lnTo>
                    <a:pt x="1179" y="1061"/>
                  </a:lnTo>
                  <a:lnTo>
                    <a:pt x="1181" y="1059"/>
                  </a:lnTo>
                  <a:lnTo>
                    <a:pt x="1181" y="1056"/>
                  </a:lnTo>
                  <a:lnTo>
                    <a:pt x="1182" y="1054"/>
                  </a:lnTo>
                  <a:lnTo>
                    <a:pt x="1185" y="1053"/>
                  </a:lnTo>
                  <a:lnTo>
                    <a:pt x="1186" y="1051"/>
                  </a:lnTo>
                  <a:lnTo>
                    <a:pt x="1189" y="1051"/>
                  </a:lnTo>
                  <a:lnTo>
                    <a:pt x="1193" y="1052"/>
                  </a:lnTo>
                  <a:lnTo>
                    <a:pt x="1195" y="1052"/>
                  </a:lnTo>
                  <a:lnTo>
                    <a:pt x="1198" y="1052"/>
                  </a:lnTo>
                  <a:lnTo>
                    <a:pt x="1201" y="1052"/>
                  </a:lnTo>
                  <a:lnTo>
                    <a:pt x="1202" y="1053"/>
                  </a:lnTo>
                  <a:lnTo>
                    <a:pt x="1201" y="1055"/>
                  </a:lnTo>
                  <a:lnTo>
                    <a:pt x="1200" y="1056"/>
                  </a:lnTo>
                  <a:lnTo>
                    <a:pt x="1196" y="1059"/>
                  </a:lnTo>
                  <a:lnTo>
                    <a:pt x="1195" y="1061"/>
                  </a:lnTo>
                  <a:lnTo>
                    <a:pt x="1193" y="1076"/>
                  </a:lnTo>
                  <a:lnTo>
                    <a:pt x="1197" y="1080"/>
                  </a:lnTo>
                  <a:lnTo>
                    <a:pt x="1198" y="1082"/>
                  </a:lnTo>
                  <a:lnTo>
                    <a:pt x="1202" y="1083"/>
                  </a:lnTo>
                  <a:lnTo>
                    <a:pt x="1203" y="1084"/>
                  </a:lnTo>
                  <a:lnTo>
                    <a:pt x="1206" y="1086"/>
                  </a:lnTo>
                  <a:lnTo>
                    <a:pt x="1210" y="1091"/>
                  </a:lnTo>
                  <a:lnTo>
                    <a:pt x="1213" y="1093"/>
                  </a:lnTo>
                  <a:lnTo>
                    <a:pt x="1216" y="1095"/>
                  </a:lnTo>
                  <a:lnTo>
                    <a:pt x="1217" y="1098"/>
                  </a:lnTo>
                  <a:lnTo>
                    <a:pt x="1218" y="1100"/>
                  </a:lnTo>
                  <a:lnTo>
                    <a:pt x="1219" y="1103"/>
                  </a:lnTo>
                  <a:lnTo>
                    <a:pt x="1224" y="1109"/>
                  </a:lnTo>
                  <a:lnTo>
                    <a:pt x="1227" y="1111"/>
                  </a:lnTo>
                  <a:lnTo>
                    <a:pt x="1230" y="1114"/>
                  </a:lnTo>
                  <a:lnTo>
                    <a:pt x="1234" y="1115"/>
                  </a:lnTo>
                  <a:lnTo>
                    <a:pt x="1236" y="1117"/>
                  </a:lnTo>
                  <a:lnTo>
                    <a:pt x="1241" y="1118"/>
                  </a:lnTo>
                  <a:lnTo>
                    <a:pt x="1245" y="1119"/>
                  </a:lnTo>
                  <a:lnTo>
                    <a:pt x="1249" y="1120"/>
                  </a:lnTo>
                  <a:lnTo>
                    <a:pt x="1252" y="1122"/>
                  </a:lnTo>
                  <a:lnTo>
                    <a:pt x="1256" y="1124"/>
                  </a:lnTo>
                  <a:lnTo>
                    <a:pt x="1259" y="1126"/>
                  </a:lnTo>
                  <a:lnTo>
                    <a:pt x="1265" y="1128"/>
                  </a:lnTo>
                  <a:lnTo>
                    <a:pt x="1267" y="1131"/>
                  </a:lnTo>
                  <a:lnTo>
                    <a:pt x="1270" y="1133"/>
                  </a:lnTo>
                  <a:lnTo>
                    <a:pt x="1273" y="1132"/>
                  </a:lnTo>
                  <a:lnTo>
                    <a:pt x="1276" y="1130"/>
                  </a:lnTo>
                  <a:lnTo>
                    <a:pt x="1278" y="1127"/>
                  </a:lnTo>
                  <a:lnTo>
                    <a:pt x="1284" y="1128"/>
                  </a:lnTo>
                  <a:lnTo>
                    <a:pt x="1288" y="1131"/>
                  </a:lnTo>
                  <a:lnTo>
                    <a:pt x="1288" y="1134"/>
                  </a:lnTo>
                  <a:lnTo>
                    <a:pt x="1292" y="1140"/>
                  </a:lnTo>
                  <a:lnTo>
                    <a:pt x="1292" y="1142"/>
                  </a:lnTo>
                  <a:lnTo>
                    <a:pt x="1292" y="1147"/>
                  </a:lnTo>
                  <a:lnTo>
                    <a:pt x="1294" y="1148"/>
                  </a:lnTo>
                  <a:lnTo>
                    <a:pt x="1297" y="1146"/>
                  </a:lnTo>
                  <a:lnTo>
                    <a:pt x="1300" y="1144"/>
                  </a:lnTo>
                  <a:lnTo>
                    <a:pt x="1304" y="1146"/>
                  </a:lnTo>
                  <a:lnTo>
                    <a:pt x="1307" y="1148"/>
                  </a:lnTo>
                  <a:lnTo>
                    <a:pt x="1309" y="1149"/>
                  </a:lnTo>
                  <a:lnTo>
                    <a:pt x="1313" y="1151"/>
                  </a:lnTo>
                  <a:lnTo>
                    <a:pt x="1315" y="1154"/>
                  </a:lnTo>
                  <a:lnTo>
                    <a:pt x="1315" y="1156"/>
                  </a:lnTo>
                  <a:lnTo>
                    <a:pt x="1316" y="1158"/>
                  </a:lnTo>
                  <a:lnTo>
                    <a:pt x="1320" y="1160"/>
                  </a:lnTo>
                  <a:lnTo>
                    <a:pt x="1324" y="1162"/>
                  </a:lnTo>
                  <a:lnTo>
                    <a:pt x="1334" y="1164"/>
                  </a:lnTo>
                  <a:lnTo>
                    <a:pt x="1337" y="1166"/>
                  </a:lnTo>
                  <a:lnTo>
                    <a:pt x="1339" y="1171"/>
                  </a:lnTo>
                  <a:lnTo>
                    <a:pt x="1342" y="1173"/>
                  </a:lnTo>
                  <a:lnTo>
                    <a:pt x="1346" y="1174"/>
                  </a:lnTo>
                  <a:lnTo>
                    <a:pt x="1350" y="1170"/>
                  </a:lnTo>
                  <a:lnTo>
                    <a:pt x="1352" y="1165"/>
                  </a:lnTo>
                  <a:lnTo>
                    <a:pt x="1352" y="1160"/>
                  </a:lnTo>
                  <a:lnTo>
                    <a:pt x="1361" y="1156"/>
                  </a:lnTo>
                  <a:lnTo>
                    <a:pt x="1364" y="1157"/>
                  </a:lnTo>
                  <a:lnTo>
                    <a:pt x="1369" y="1158"/>
                  </a:lnTo>
                  <a:lnTo>
                    <a:pt x="1377" y="1158"/>
                  </a:lnTo>
                  <a:lnTo>
                    <a:pt x="1381" y="1156"/>
                  </a:lnTo>
                  <a:lnTo>
                    <a:pt x="1385" y="1152"/>
                  </a:lnTo>
                  <a:lnTo>
                    <a:pt x="1390" y="1152"/>
                  </a:lnTo>
                  <a:lnTo>
                    <a:pt x="1393" y="1154"/>
                  </a:lnTo>
                  <a:lnTo>
                    <a:pt x="1395" y="1155"/>
                  </a:lnTo>
                  <a:lnTo>
                    <a:pt x="1398" y="1151"/>
                  </a:lnTo>
                  <a:lnTo>
                    <a:pt x="1401" y="1149"/>
                  </a:lnTo>
                  <a:lnTo>
                    <a:pt x="1405" y="1147"/>
                  </a:lnTo>
                  <a:lnTo>
                    <a:pt x="1411" y="1143"/>
                  </a:lnTo>
                  <a:lnTo>
                    <a:pt x="1412" y="1140"/>
                  </a:lnTo>
                  <a:lnTo>
                    <a:pt x="1416" y="1138"/>
                  </a:lnTo>
                  <a:lnTo>
                    <a:pt x="1421" y="1139"/>
                  </a:lnTo>
                  <a:lnTo>
                    <a:pt x="1426" y="1138"/>
                  </a:lnTo>
                  <a:lnTo>
                    <a:pt x="1429" y="1135"/>
                  </a:lnTo>
                  <a:lnTo>
                    <a:pt x="1434" y="1132"/>
                  </a:lnTo>
                  <a:lnTo>
                    <a:pt x="1437" y="1128"/>
                  </a:lnTo>
                  <a:lnTo>
                    <a:pt x="1442" y="1128"/>
                  </a:lnTo>
                  <a:lnTo>
                    <a:pt x="1445" y="1130"/>
                  </a:lnTo>
                  <a:lnTo>
                    <a:pt x="1450" y="1132"/>
                  </a:lnTo>
                  <a:lnTo>
                    <a:pt x="1457" y="1135"/>
                  </a:lnTo>
                  <a:lnTo>
                    <a:pt x="1465" y="1140"/>
                  </a:lnTo>
                  <a:lnTo>
                    <a:pt x="1468" y="1144"/>
                  </a:lnTo>
                  <a:lnTo>
                    <a:pt x="1468" y="1147"/>
                  </a:lnTo>
                  <a:lnTo>
                    <a:pt x="1467" y="1151"/>
                  </a:lnTo>
                  <a:lnTo>
                    <a:pt x="1465" y="1155"/>
                  </a:lnTo>
                  <a:lnTo>
                    <a:pt x="1466" y="1159"/>
                  </a:lnTo>
                  <a:lnTo>
                    <a:pt x="1466" y="1162"/>
                  </a:lnTo>
                  <a:lnTo>
                    <a:pt x="1469" y="1164"/>
                  </a:lnTo>
                  <a:lnTo>
                    <a:pt x="1474" y="1165"/>
                  </a:lnTo>
                  <a:lnTo>
                    <a:pt x="1481" y="1166"/>
                  </a:lnTo>
                  <a:lnTo>
                    <a:pt x="1483" y="1167"/>
                  </a:lnTo>
                  <a:lnTo>
                    <a:pt x="1486" y="1170"/>
                  </a:lnTo>
                  <a:lnTo>
                    <a:pt x="1486" y="1174"/>
                  </a:lnTo>
                  <a:lnTo>
                    <a:pt x="1491" y="1176"/>
                  </a:lnTo>
                  <a:lnTo>
                    <a:pt x="1492" y="1180"/>
                  </a:lnTo>
                  <a:lnTo>
                    <a:pt x="1494" y="1182"/>
                  </a:lnTo>
                  <a:lnTo>
                    <a:pt x="1498" y="1184"/>
                  </a:lnTo>
                  <a:lnTo>
                    <a:pt x="1504" y="1187"/>
                  </a:lnTo>
                  <a:lnTo>
                    <a:pt x="1504" y="1189"/>
                  </a:lnTo>
                  <a:lnTo>
                    <a:pt x="1505" y="1192"/>
                  </a:lnTo>
                  <a:lnTo>
                    <a:pt x="1502" y="1197"/>
                  </a:lnTo>
                  <a:lnTo>
                    <a:pt x="1501" y="1203"/>
                  </a:lnTo>
                  <a:lnTo>
                    <a:pt x="1502" y="1210"/>
                  </a:lnTo>
                  <a:lnTo>
                    <a:pt x="1507" y="1213"/>
                  </a:lnTo>
                  <a:lnTo>
                    <a:pt x="1510" y="1215"/>
                  </a:lnTo>
                  <a:lnTo>
                    <a:pt x="1518" y="1221"/>
                  </a:lnTo>
                  <a:lnTo>
                    <a:pt x="1523" y="1224"/>
                  </a:lnTo>
                  <a:lnTo>
                    <a:pt x="1530" y="1226"/>
                  </a:lnTo>
                  <a:lnTo>
                    <a:pt x="1533" y="1223"/>
                  </a:lnTo>
                  <a:lnTo>
                    <a:pt x="1537" y="1221"/>
                  </a:lnTo>
                  <a:lnTo>
                    <a:pt x="1540" y="1222"/>
                  </a:lnTo>
                  <a:lnTo>
                    <a:pt x="1545" y="1223"/>
                  </a:lnTo>
                  <a:lnTo>
                    <a:pt x="1552" y="1223"/>
                  </a:lnTo>
                  <a:lnTo>
                    <a:pt x="1555" y="1221"/>
                  </a:lnTo>
                  <a:lnTo>
                    <a:pt x="1558" y="1218"/>
                  </a:lnTo>
                  <a:lnTo>
                    <a:pt x="1566" y="1214"/>
                  </a:lnTo>
                  <a:lnTo>
                    <a:pt x="1568" y="1211"/>
                  </a:lnTo>
                  <a:lnTo>
                    <a:pt x="1571" y="1211"/>
                  </a:lnTo>
                  <a:lnTo>
                    <a:pt x="1574" y="1212"/>
                  </a:lnTo>
                  <a:lnTo>
                    <a:pt x="1578" y="1213"/>
                  </a:lnTo>
                  <a:lnTo>
                    <a:pt x="1585" y="1215"/>
                  </a:lnTo>
                  <a:lnTo>
                    <a:pt x="1590" y="1215"/>
                  </a:lnTo>
                  <a:lnTo>
                    <a:pt x="1597" y="1214"/>
                  </a:lnTo>
                  <a:lnTo>
                    <a:pt x="1601" y="1212"/>
                  </a:lnTo>
                  <a:lnTo>
                    <a:pt x="1606" y="1210"/>
                  </a:lnTo>
                  <a:lnTo>
                    <a:pt x="1613" y="1210"/>
                  </a:lnTo>
                  <a:lnTo>
                    <a:pt x="1618" y="1208"/>
                  </a:lnTo>
                  <a:lnTo>
                    <a:pt x="1619" y="1206"/>
                  </a:lnTo>
                  <a:lnTo>
                    <a:pt x="1619" y="1202"/>
                  </a:lnTo>
                  <a:lnTo>
                    <a:pt x="1622" y="1198"/>
                  </a:lnTo>
                  <a:lnTo>
                    <a:pt x="1626" y="1198"/>
                  </a:lnTo>
                  <a:lnTo>
                    <a:pt x="1630" y="1197"/>
                  </a:lnTo>
                  <a:lnTo>
                    <a:pt x="1633" y="1197"/>
                  </a:lnTo>
                  <a:lnTo>
                    <a:pt x="1634" y="1203"/>
                  </a:lnTo>
                  <a:lnTo>
                    <a:pt x="1636" y="1208"/>
                  </a:lnTo>
                  <a:lnTo>
                    <a:pt x="1636" y="1212"/>
                  </a:lnTo>
                  <a:lnTo>
                    <a:pt x="1638" y="1227"/>
                  </a:lnTo>
                  <a:lnTo>
                    <a:pt x="1638" y="1229"/>
                  </a:lnTo>
                  <a:lnTo>
                    <a:pt x="1636" y="1232"/>
                  </a:lnTo>
                  <a:lnTo>
                    <a:pt x="1633" y="1234"/>
                  </a:lnTo>
                  <a:lnTo>
                    <a:pt x="1627" y="1235"/>
                  </a:lnTo>
                  <a:lnTo>
                    <a:pt x="1624" y="1237"/>
                  </a:lnTo>
                  <a:lnTo>
                    <a:pt x="1619" y="1243"/>
                  </a:lnTo>
                  <a:lnTo>
                    <a:pt x="1617" y="1246"/>
                  </a:lnTo>
                  <a:lnTo>
                    <a:pt x="1613" y="1248"/>
                  </a:lnTo>
                  <a:lnTo>
                    <a:pt x="1613" y="1254"/>
                  </a:lnTo>
                  <a:lnTo>
                    <a:pt x="1610" y="1259"/>
                  </a:lnTo>
                  <a:lnTo>
                    <a:pt x="1609" y="1263"/>
                  </a:lnTo>
                  <a:lnTo>
                    <a:pt x="1609" y="1266"/>
                  </a:lnTo>
                  <a:lnTo>
                    <a:pt x="1609" y="1269"/>
                  </a:lnTo>
                  <a:lnTo>
                    <a:pt x="1611" y="1276"/>
                  </a:lnTo>
                  <a:lnTo>
                    <a:pt x="1613" y="1279"/>
                  </a:lnTo>
                  <a:lnTo>
                    <a:pt x="1617" y="1279"/>
                  </a:lnTo>
                  <a:lnTo>
                    <a:pt x="1618" y="1275"/>
                  </a:lnTo>
                  <a:lnTo>
                    <a:pt x="1620" y="1272"/>
                  </a:lnTo>
                  <a:lnTo>
                    <a:pt x="1622" y="1272"/>
                  </a:lnTo>
                  <a:lnTo>
                    <a:pt x="1627" y="1269"/>
                  </a:lnTo>
                  <a:lnTo>
                    <a:pt x="1630" y="1263"/>
                  </a:lnTo>
                  <a:lnTo>
                    <a:pt x="1634" y="1261"/>
                  </a:lnTo>
                  <a:lnTo>
                    <a:pt x="1640" y="1258"/>
                  </a:lnTo>
                  <a:lnTo>
                    <a:pt x="1638" y="1254"/>
                  </a:lnTo>
                  <a:lnTo>
                    <a:pt x="1637" y="1248"/>
                  </a:lnTo>
                  <a:lnTo>
                    <a:pt x="1638" y="1243"/>
                  </a:lnTo>
                  <a:lnTo>
                    <a:pt x="1644" y="1240"/>
                  </a:lnTo>
                  <a:lnTo>
                    <a:pt x="1649" y="1239"/>
                  </a:lnTo>
                  <a:lnTo>
                    <a:pt x="1660" y="1234"/>
                  </a:lnTo>
                  <a:lnTo>
                    <a:pt x="1667" y="1231"/>
                  </a:lnTo>
                  <a:lnTo>
                    <a:pt x="1672" y="1229"/>
                  </a:lnTo>
                  <a:lnTo>
                    <a:pt x="1678" y="1231"/>
                  </a:lnTo>
                  <a:lnTo>
                    <a:pt x="1685" y="1232"/>
                  </a:lnTo>
                  <a:lnTo>
                    <a:pt x="1691" y="1232"/>
                  </a:lnTo>
                  <a:lnTo>
                    <a:pt x="1694" y="1229"/>
                  </a:lnTo>
                  <a:lnTo>
                    <a:pt x="1700" y="1223"/>
                  </a:lnTo>
                  <a:lnTo>
                    <a:pt x="1702" y="1219"/>
                  </a:lnTo>
                  <a:lnTo>
                    <a:pt x="1708" y="1218"/>
                  </a:lnTo>
                  <a:lnTo>
                    <a:pt x="1715" y="1216"/>
                  </a:lnTo>
                  <a:lnTo>
                    <a:pt x="1721" y="1215"/>
                  </a:lnTo>
                  <a:lnTo>
                    <a:pt x="1725" y="1213"/>
                  </a:lnTo>
                  <a:lnTo>
                    <a:pt x="1728" y="1210"/>
                  </a:lnTo>
                  <a:lnTo>
                    <a:pt x="1731" y="1211"/>
                  </a:lnTo>
                  <a:lnTo>
                    <a:pt x="1733" y="1212"/>
                  </a:lnTo>
                  <a:lnTo>
                    <a:pt x="1736" y="1215"/>
                  </a:lnTo>
                  <a:lnTo>
                    <a:pt x="1737" y="1218"/>
                  </a:lnTo>
                  <a:lnTo>
                    <a:pt x="1738" y="1220"/>
                  </a:lnTo>
                  <a:lnTo>
                    <a:pt x="1738" y="1229"/>
                  </a:lnTo>
                  <a:lnTo>
                    <a:pt x="1736" y="1234"/>
                  </a:lnTo>
                  <a:lnTo>
                    <a:pt x="1736" y="1237"/>
                  </a:lnTo>
                  <a:lnTo>
                    <a:pt x="1733" y="1239"/>
                  </a:lnTo>
                  <a:lnTo>
                    <a:pt x="1733" y="1245"/>
                  </a:lnTo>
                  <a:lnTo>
                    <a:pt x="1734" y="1248"/>
                  </a:lnTo>
                  <a:lnTo>
                    <a:pt x="1738" y="1259"/>
                  </a:lnTo>
                  <a:lnTo>
                    <a:pt x="1740" y="1264"/>
                  </a:lnTo>
                  <a:lnTo>
                    <a:pt x="1742" y="1271"/>
                  </a:lnTo>
                  <a:lnTo>
                    <a:pt x="1742" y="1274"/>
                  </a:lnTo>
                  <a:lnTo>
                    <a:pt x="1746" y="1276"/>
                  </a:lnTo>
                  <a:lnTo>
                    <a:pt x="1749" y="1277"/>
                  </a:lnTo>
                  <a:lnTo>
                    <a:pt x="1754" y="1279"/>
                  </a:lnTo>
                  <a:lnTo>
                    <a:pt x="1757" y="1280"/>
                  </a:lnTo>
                  <a:lnTo>
                    <a:pt x="1763" y="1287"/>
                  </a:lnTo>
                  <a:lnTo>
                    <a:pt x="1766" y="1288"/>
                  </a:lnTo>
                  <a:lnTo>
                    <a:pt x="1771" y="1291"/>
                  </a:lnTo>
                  <a:lnTo>
                    <a:pt x="1776" y="1293"/>
                  </a:lnTo>
                  <a:lnTo>
                    <a:pt x="1780" y="1295"/>
                  </a:lnTo>
                  <a:lnTo>
                    <a:pt x="1785" y="1298"/>
                  </a:lnTo>
                  <a:lnTo>
                    <a:pt x="1788" y="1302"/>
                  </a:lnTo>
                  <a:lnTo>
                    <a:pt x="1790" y="1306"/>
                  </a:lnTo>
                  <a:lnTo>
                    <a:pt x="1794" y="1306"/>
                  </a:lnTo>
                  <a:lnTo>
                    <a:pt x="1797" y="1303"/>
                  </a:lnTo>
                  <a:lnTo>
                    <a:pt x="1800" y="1299"/>
                  </a:lnTo>
                  <a:lnTo>
                    <a:pt x="1802" y="1295"/>
                  </a:lnTo>
                  <a:lnTo>
                    <a:pt x="1804" y="1294"/>
                  </a:lnTo>
                  <a:lnTo>
                    <a:pt x="1809" y="1293"/>
                  </a:lnTo>
                  <a:lnTo>
                    <a:pt x="1812" y="1293"/>
                  </a:lnTo>
                  <a:lnTo>
                    <a:pt x="1816" y="1294"/>
                  </a:lnTo>
                  <a:lnTo>
                    <a:pt x="1821" y="1295"/>
                  </a:lnTo>
                  <a:lnTo>
                    <a:pt x="1824" y="1295"/>
                  </a:lnTo>
                  <a:lnTo>
                    <a:pt x="1826" y="1293"/>
                  </a:lnTo>
                  <a:lnTo>
                    <a:pt x="1828" y="1290"/>
                  </a:lnTo>
                  <a:lnTo>
                    <a:pt x="1833" y="1285"/>
                  </a:lnTo>
                  <a:lnTo>
                    <a:pt x="1837" y="1284"/>
                  </a:lnTo>
                  <a:lnTo>
                    <a:pt x="1840" y="1280"/>
                  </a:lnTo>
                  <a:lnTo>
                    <a:pt x="1840" y="1277"/>
                  </a:lnTo>
                  <a:lnTo>
                    <a:pt x="1840" y="1275"/>
                  </a:lnTo>
                  <a:lnTo>
                    <a:pt x="1840" y="1271"/>
                  </a:lnTo>
                  <a:lnTo>
                    <a:pt x="1841" y="1267"/>
                  </a:lnTo>
                  <a:lnTo>
                    <a:pt x="1844" y="1266"/>
                  </a:lnTo>
                  <a:lnTo>
                    <a:pt x="1849" y="1264"/>
                  </a:lnTo>
                  <a:lnTo>
                    <a:pt x="1857" y="1264"/>
                  </a:lnTo>
                  <a:lnTo>
                    <a:pt x="1859" y="1264"/>
                  </a:lnTo>
                  <a:lnTo>
                    <a:pt x="1861" y="1262"/>
                  </a:lnTo>
                  <a:lnTo>
                    <a:pt x="1865" y="1259"/>
                  </a:lnTo>
                  <a:lnTo>
                    <a:pt x="1866" y="1255"/>
                  </a:lnTo>
                  <a:lnTo>
                    <a:pt x="1868" y="1253"/>
                  </a:lnTo>
                  <a:lnTo>
                    <a:pt x="1870" y="1251"/>
                  </a:lnTo>
                  <a:lnTo>
                    <a:pt x="1874" y="1248"/>
                  </a:lnTo>
                  <a:lnTo>
                    <a:pt x="1877" y="1246"/>
                  </a:lnTo>
                  <a:lnTo>
                    <a:pt x="1881" y="1244"/>
                  </a:lnTo>
                  <a:lnTo>
                    <a:pt x="1881" y="1240"/>
                  </a:lnTo>
                  <a:lnTo>
                    <a:pt x="1882" y="1237"/>
                  </a:lnTo>
                  <a:lnTo>
                    <a:pt x="1886" y="1236"/>
                  </a:lnTo>
                  <a:lnTo>
                    <a:pt x="1890" y="1237"/>
                  </a:lnTo>
                  <a:lnTo>
                    <a:pt x="1893" y="1237"/>
                  </a:lnTo>
                  <a:lnTo>
                    <a:pt x="1898" y="1242"/>
                  </a:lnTo>
                  <a:lnTo>
                    <a:pt x="1901" y="1245"/>
                  </a:lnTo>
                  <a:lnTo>
                    <a:pt x="1905" y="1251"/>
                  </a:lnTo>
                  <a:lnTo>
                    <a:pt x="1906" y="1254"/>
                  </a:lnTo>
                  <a:lnTo>
                    <a:pt x="1909" y="1255"/>
                  </a:lnTo>
                  <a:lnTo>
                    <a:pt x="1914" y="1254"/>
                  </a:lnTo>
                  <a:lnTo>
                    <a:pt x="1915" y="1254"/>
                  </a:lnTo>
                  <a:lnTo>
                    <a:pt x="1920" y="1252"/>
                  </a:lnTo>
                  <a:lnTo>
                    <a:pt x="1921" y="1250"/>
                  </a:lnTo>
                  <a:lnTo>
                    <a:pt x="1923" y="1246"/>
                  </a:lnTo>
                  <a:lnTo>
                    <a:pt x="1926" y="1242"/>
                  </a:lnTo>
                  <a:lnTo>
                    <a:pt x="1929" y="1239"/>
                  </a:lnTo>
                  <a:lnTo>
                    <a:pt x="1933" y="1237"/>
                  </a:lnTo>
                  <a:lnTo>
                    <a:pt x="1937" y="1236"/>
                  </a:lnTo>
                  <a:lnTo>
                    <a:pt x="1944" y="1231"/>
                  </a:lnTo>
                  <a:lnTo>
                    <a:pt x="1946" y="1227"/>
                  </a:lnTo>
                  <a:lnTo>
                    <a:pt x="1948" y="1222"/>
                  </a:lnTo>
                  <a:lnTo>
                    <a:pt x="1952" y="1218"/>
                  </a:lnTo>
                  <a:lnTo>
                    <a:pt x="1953" y="1214"/>
                  </a:lnTo>
                  <a:lnTo>
                    <a:pt x="1955" y="1211"/>
                  </a:lnTo>
                  <a:lnTo>
                    <a:pt x="1957" y="1206"/>
                  </a:lnTo>
                  <a:lnTo>
                    <a:pt x="1962" y="1203"/>
                  </a:lnTo>
                  <a:lnTo>
                    <a:pt x="1964" y="1200"/>
                  </a:lnTo>
                  <a:lnTo>
                    <a:pt x="1966" y="1198"/>
                  </a:lnTo>
                  <a:lnTo>
                    <a:pt x="1968" y="1196"/>
                  </a:lnTo>
                  <a:lnTo>
                    <a:pt x="1968" y="1194"/>
                  </a:lnTo>
                  <a:lnTo>
                    <a:pt x="1963" y="1189"/>
                  </a:lnTo>
                  <a:lnTo>
                    <a:pt x="1957" y="1186"/>
                  </a:lnTo>
                  <a:lnTo>
                    <a:pt x="1955" y="1183"/>
                  </a:lnTo>
                  <a:lnTo>
                    <a:pt x="1953" y="1180"/>
                  </a:lnTo>
                  <a:lnTo>
                    <a:pt x="1949" y="1178"/>
                  </a:lnTo>
                  <a:lnTo>
                    <a:pt x="1946" y="1175"/>
                  </a:lnTo>
                  <a:lnTo>
                    <a:pt x="1945" y="1173"/>
                  </a:lnTo>
                  <a:lnTo>
                    <a:pt x="1942" y="1170"/>
                  </a:lnTo>
                  <a:lnTo>
                    <a:pt x="1939" y="1165"/>
                  </a:lnTo>
                  <a:lnTo>
                    <a:pt x="1934" y="1159"/>
                  </a:lnTo>
                  <a:lnTo>
                    <a:pt x="1932" y="1155"/>
                  </a:lnTo>
                  <a:lnTo>
                    <a:pt x="1930" y="1152"/>
                  </a:lnTo>
                  <a:lnTo>
                    <a:pt x="1928" y="1149"/>
                  </a:lnTo>
                  <a:lnTo>
                    <a:pt x="1924" y="1147"/>
                  </a:lnTo>
                  <a:lnTo>
                    <a:pt x="1921" y="1144"/>
                  </a:lnTo>
                  <a:lnTo>
                    <a:pt x="1917" y="1142"/>
                  </a:lnTo>
                  <a:lnTo>
                    <a:pt x="1913" y="1140"/>
                  </a:lnTo>
                  <a:lnTo>
                    <a:pt x="1910" y="1139"/>
                  </a:lnTo>
                  <a:lnTo>
                    <a:pt x="1908" y="1136"/>
                  </a:lnTo>
                  <a:lnTo>
                    <a:pt x="1907" y="1134"/>
                  </a:lnTo>
                  <a:lnTo>
                    <a:pt x="1901" y="1132"/>
                  </a:lnTo>
                  <a:lnTo>
                    <a:pt x="1898" y="1128"/>
                  </a:lnTo>
                  <a:lnTo>
                    <a:pt x="1896" y="1109"/>
                  </a:lnTo>
                  <a:close/>
                </a:path>
              </a:pathLst>
            </a:custGeom>
            <a:solidFill>
              <a:srgbClr val="C00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21" name="TN"/>
            <p:cNvSpPr>
              <a:spLocks/>
            </p:cNvSpPr>
            <p:nvPr/>
          </p:nvSpPr>
          <p:spPr bwMode="auto">
            <a:xfrm>
              <a:off x="6221933" y="4440744"/>
              <a:ext cx="450945" cy="587549"/>
            </a:xfrm>
            <a:custGeom>
              <a:avLst/>
              <a:gdLst>
                <a:gd name="T0" fmla="*/ 81 w 1122"/>
                <a:gd name="T1" fmla="*/ 611 h 1515"/>
                <a:gd name="T2" fmla="*/ 121 w 1122"/>
                <a:gd name="T3" fmla="*/ 641 h 1515"/>
                <a:gd name="T4" fmla="*/ 143 w 1122"/>
                <a:gd name="T5" fmla="*/ 686 h 1515"/>
                <a:gd name="T6" fmla="*/ 131 w 1122"/>
                <a:gd name="T7" fmla="*/ 730 h 1515"/>
                <a:gd name="T8" fmla="*/ 175 w 1122"/>
                <a:gd name="T9" fmla="*/ 785 h 1515"/>
                <a:gd name="T10" fmla="*/ 159 w 1122"/>
                <a:gd name="T11" fmla="*/ 875 h 1515"/>
                <a:gd name="T12" fmla="*/ 230 w 1122"/>
                <a:gd name="T13" fmla="*/ 892 h 1515"/>
                <a:gd name="T14" fmla="*/ 275 w 1122"/>
                <a:gd name="T15" fmla="*/ 938 h 1515"/>
                <a:gd name="T16" fmla="*/ 270 w 1122"/>
                <a:gd name="T17" fmla="*/ 1035 h 1515"/>
                <a:gd name="T18" fmla="*/ 303 w 1122"/>
                <a:gd name="T19" fmla="*/ 1086 h 1515"/>
                <a:gd name="T20" fmla="*/ 294 w 1122"/>
                <a:gd name="T21" fmla="*/ 1152 h 1515"/>
                <a:gd name="T22" fmla="*/ 253 w 1122"/>
                <a:gd name="T23" fmla="*/ 1242 h 1515"/>
                <a:gd name="T24" fmla="*/ 261 w 1122"/>
                <a:gd name="T25" fmla="*/ 1319 h 1515"/>
                <a:gd name="T26" fmla="*/ 265 w 1122"/>
                <a:gd name="T27" fmla="*/ 1391 h 1515"/>
                <a:gd name="T28" fmla="*/ 258 w 1122"/>
                <a:gd name="T29" fmla="*/ 1480 h 1515"/>
                <a:gd name="T30" fmla="*/ 362 w 1122"/>
                <a:gd name="T31" fmla="*/ 1510 h 1515"/>
                <a:gd name="T32" fmla="*/ 494 w 1122"/>
                <a:gd name="T33" fmla="*/ 1438 h 1515"/>
                <a:gd name="T34" fmla="*/ 533 w 1122"/>
                <a:gd name="T35" fmla="*/ 1320 h 1515"/>
                <a:gd name="T36" fmla="*/ 639 w 1122"/>
                <a:gd name="T37" fmla="*/ 1223 h 1515"/>
                <a:gd name="T38" fmla="*/ 797 w 1122"/>
                <a:gd name="T39" fmla="*/ 1183 h 1515"/>
                <a:gd name="T40" fmla="*/ 786 w 1122"/>
                <a:gd name="T41" fmla="*/ 1020 h 1515"/>
                <a:gd name="T42" fmla="*/ 830 w 1122"/>
                <a:gd name="T43" fmla="*/ 923 h 1515"/>
                <a:gd name="T44" fmla="*/ 893 w 1122"/>
                <a:gd name="T45" fmla="*/ 895 h 1515"/>
                <a:gd name="T46" fmla="*/ 927 w 1122"/>
                <a:gd name="T47" fmla="*/ 889 h 1515"/>
                <a:gd name="T48" fmla="*/ 957 w 1122"/>
                <a:gd name="T49" fmla="*/ 905 h 1515"/>
                <a:gd name="T50" fmla="*/ 935 w 1122"/>
                <a:gd name="T51" fmla="*/ 888 h 1515"/>
                <a:gd name="T52" fmla="*/ 991 w 1122"/>
                <a:gd name="T53" fmla="*/ 907 h 1515"/>
                <a:gd name="T54" fmla="*/ 984 w 1122"/>
                <a:gd name="T55" fmla="*/ 754 h 1515"/>
                <a:gd name="T56" fmla="*/ 950 w 1122"/>
                <a:gd name="T57" fmla="*/ 718 h 1515"/>
                <a:gd name="T58" fmla="*/ 989 w 1122"/>
                <a:gd name="T59" fmla="*/ 705 h 1515"/>
                <a:gd name="T60" fmla="*/ 979 w 1122"/>
                <a:gd name="T61" fmla="*/ 606 h 1515"/>
                <a:gd name="T62" fmla="*/ 967 w 1122"/>
                <a:gd name="T63" fmla="*/ 568 h 1515"/>
                <a:gd name="T64" fmla="*/ 971 w 1122"/>
                <a:gd name="T65" fmla="*/ 502 h 1515"/>
                <a:gd name="T66" fmla="*/ 955 w 1122"/>
                <a:gd name="T67" fmla="*/ 468 h 1515"/>
                <a:gd name="T68" fmla="*/ 926 w 1122"/>
                <a:gd name="T69" fmla="*/ 472 h 1515"/>
                <a:gd name="T70" fmla="*/ 946 w 1122"/>
                <a:gd name="T71" fmla="*/ 438 h 1515"/>
                <a:gd name="T72" fmla="*/ 926 w 1122"/>
                <a:gd name="T73" fmla="*/ 419 h 1515"/>
                <a:gd name="T74" fmla="*/ 966 w 1122"/>
                <a:gd name="T75" fmla="*/ 416 h 1515"/>
                <a:gd name="T76" fmla="*/ 1030 w 1122"/>
                <a:gd name="T77" fmla="*/ 369 h 1515"/>
                <a:gd name="T78" fmla="*/ 1061 w 1122"/>
                <a:gd name="T79" fmla="*/ 298 h 1515"/>
                <a:gd name="T80" fmla="*/ 1081 w 1122"/>
                <a:gd name="T81" fmla="*/ 270 h 1515"/>
                <a:gd name="T82" fmla="*/ 1097 w 1122"/>
                <a:gd name="T83" fmla="*/ 198 h 1515"/>
                <a:gd name="T84" fmla="*/ 1113 w 1122"/>
                <a:gd name="T85" fmla="*/ 119 h 1515"/>
                <a:gd name="T86" fmla="*/ 1103 w 1122"/>
                <a:gd name="T87" fmla="*/ 19 h 1515"/>
                <a:gd name="T88" fmla="*/ 1038 w 1122"/>
                <a:gd name="T89" fmla="*/ 8 h 1515"/>
                <a:gd name="T90" fmla="*/ 967 w 1122"/>
                <a:gd name="T91" fmla="*/ 70 h 1515"/>
                <a:gd name="T92" fmla="*/ 920 w 1122"/>
                <a:gd name="T93" fmla="*/ 81 h 1515"/>
                <a:gd name="T94" fmla="*/ 879 w 1122"/>
                <a:gd name="T95" fmla="*/ 80 h 1515"/>
                <a:gd name="T96" fmla="*/ 837 w 1122"/>
                <a:gd name="T97" fmla="*/ 115 h 1515"/>
                <a:gd name="T98" fmla="*/ 751 w 1122"/>
                <a:gd name="T99" fmla="*/ 144 h 1515"/>
                <a:gd name="T100" fmla="*/ 655 w 1122"/>
                <a:gd name="T101" fmla="*/ 152 h 1515"/>
                <a:gd name="T102" fmla="*/ 595 w 1122"/>
                <a:gd name="T103" fmla="*/ 250 h 1515"/>
                <a:gd name="T104" fmla="*/ 541 w 1122"/>
                <a:gd name="T105" fmla="*/ 225 h 1515"/>
                <a:gd name="T106" fmla="*/ 474 w 1122"/>
                <a:gd name="T107" fmla="*/ 202 h 1515"/>
                <a:gd name="T108" fmla="*/ 392 w 1122"/>
                <a:gd name="T109" fmla="*/ 233 h 1515"/>
                <a:gd name="T110" fmla="*/ 371 w 1122"/>
                <a:gd name="T111" fmla="*/ 294 h 1515"/>
                <a:gd name="T112" fmla="*/ 338 w 1122"/>
                <a:gd name="T113" fmla="*/ 375 h 1515"/>
                <a:gd name="T114" fmla="*/ 409 w 1122"/>
                <a:gd name="T115" fmla="*/ 417 h 1515"/>
                <a:gd name="T116" fmla="*/ 321 w 1122"/>
                <a:gd name="T117" fmla="*/ 486 h 1515"/>
                <a:gd name="T118" fmla="*/ 240 w 1122"/>
                <a:gd name="T119" fmla="*/ 490 h 1515"/>
                <a:gd name="T120" fmla="*/ 165 w 1122"/>
                <a:gd name="T121" fmla="*/ 516 h 1515"/>
                <a:gd name="T122" fmla="*/ 85 w 1122"/>
                <a:gd name="T123" fmla="*/ 527 h 1515"/>
                <a:gd name="T124" fmla="*/ 15 w 1122"/>
                <a:gd name="T125" fmla="*/ 551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22" h="1515">
                  <a:moveTo>
                    <a:pt x="0" y="568"/>
                  </a:moveTo>
                  <a:lnTo>
                    <a:pt x="0" y="570"/>
                  </a:lnTo>
                  <a:lnTo>
                    <a:pt x="2" y="574"/>
                  </a:lnTo>
                  <a:lnTo>
                    <a:pt x="3" y="576"/>
                  </a:lnTo>
                  <a:lnTo>
                    <a:pt x="6" y="577"/>
                  </a:lnTo>
                  <a:lnTo>
                    <a:pt x="8" y="577"/>
                  </a:lnTo>
                  <a:lnTo>
                    <a:pt x="10" y="577"/>
                  </a:lnTo>
                  <a:lnTo>
                    <a:pt x="14" y="577"/>
                  </a:lnTo>
                  <a:lnTo>
                    <a:pt x="17" y="577"/>
                  </a:lnTo>
                  <a:lnTo>
                    <a:pt x="19" y="577"/>
                  </a:lnTo>
                  <a:lnTo>
                    <a:pt x="26" y="576"/>
                  </a:lnTo>
                  <a:lnTo>
                    <a:pt x="30" y="577"/>
                  </a:lnTo>
                  <a:lnTo>
                    <a:pt x="32" y="578"/>
                  </a:lnTo>
                  <a:lnTo>
                    <a:pt x="35" y="579"/>
                  </a:lnTo>
                  <a:lnTo>
                    <a:pt x="39" y="585"/>
                  </a:lnTo>
                  <a:lnTo>
                    <a:pt x="40" y="586"/>
                  </a:lnTo>
                  <a:lnTo>
                    <a:pt x="42" y="587"/>
                  </a:lnTo>
                  <a:lnTo>
                    <a:pt x="45" y="588"/>
                  </a:lnTo>
                  <a:lnTo>
                    <a:pt x="47" y="590"/>
                  </a:lnTo>
                  <a:lnTo>
                    <a:pt x="49" y="590"/>
                  </a:lnTo>
                  <a:lnTo>
                    <a:pt x="51" y="591"/>
                  </a:lnTo>
                  <a:lnTo>
                    <a:pt x="55" y="593"/>
                  </a:lnTo>
                  <a:lnTo>
                    <a:pt x="58" y="594"/>
                  </a:lnTo>
                  <a:lnTo>
                    <a:pt x="61" y="596"/>
                  </a:lnTo>
                  <a:lnTo>
                    <a:pt x="62" y="599"/>
                  </a:lnTo>
                  <a:lnTo>
                    <a:pt x="66" y="602"/>
                  </a:lnTo>
                  <a:lnTo>
                    <a:pt x="69" y="603"/>
                  </a:lnTo>
                  <a:lnTo>
                    <a:pt x="73" y="604"/>
                  </a:lnTo>
                  <a:lnTo>
                    <a:pt x="75" y="604"/>
                  </a:lnTo>
                  <a:lnTo>
                    <a:pt x="78" y="606"/>
                  </a:lnTo>
                  <a:lnTo>
                    <a:pt x="80" y="608"/>
                  </a:lnTo>
                  <a:lnTo>
                    <a:pt x="81" y="611"/>
                  </a:lnTo>
                  <a:lnTo>
                    <a:pt x="81" y="614"/>
                  </a:lnTo>
                  <a:lnTo>
                    <a:pt x="79" y="617"/>
                  </a:lnTo>
                  <a:lnTo>
                    <a:pt x="77" y="620"/>
                  </a:lnTo>
                  <a:lnTo>
                    <a:pt x="75" y="622"/>
                  </a:lnTo>
                  <a:lnTo>
                    <a:pt x="73" y="624"/>
                  </a:lnTo>
                  <a:lnTo>
                    <a:pt x="70" y="628"/>
                  </a:lnTo>
                  <a:lnTo>
                    <a:pt x="67" y="631"/>
                  </a:lnTo>
                  <a:lnTo>
                    <a:pt x="65" y="632"/>
                  </a:lnTo>
                  <a:lnTo>
                    <a:pt x="63" y="634"/>
                  </a:lnTo>
                  <a:lnTo>
                    <a:pt x="61" y="635"/>
                  </a:lnTo>
                  <a:lnTo>
                    <a:pt x="57" y="638"/>
                  </a:lnTo>
                  <a:lnTo>
                    <a:pt x="56" y="641"/>
                  </a:lnTo>
                  <a:lnTo>
                    <a:pt x="55" y="642"/>
                  </a:lnTo>
                  <a:lnTo>
                    <a:pt x="55" y="644"/>
                  </a:lnTo>
                  <a:lnTo>
                    <a:pt x="55" y="647"/>
                  </a:lnTo>
                  <a:lnTo>
                    <a:pt x="57" y="648"/>
                  </a:lnTo>
                  <a:lnTo>
                    <a:pt x="59" y="648"/>
                  </a:lnTo>
                  <a:lnTo>
                    <a:pt x="63" y="647"/>
                  </a:lnTo>
                  <a:lnTo>
                    <a:pt x="65" y="646"/>
                  </a:lnTo>
                  <a:lnTo>
                    <a:pt x="69" y="644"/>
                  </a:lnTo>
                  <a:lnTo>
                    <a:pt x="73" y="644"/>
                  </a:lnTo>
                  <a:lnTo>
                    <a:pt x="79" y="644"/>
                  </a:lnTo>
                  <a:lnTo>
                    <a:pt x="83" y="646"/>
                  </a:lnTo>
                  <a:lnTo>
                    <a:pt x="87" y="646"/>
                  </a:lnTo>
                  <a:lnTo>
                    <a:pt x="91" y="647"/>
                  </a:lnTo>
                  <a:lnTo>
                    <a:pt x="96" y="647"/>
                  </a:lnTo>
                  <a:lnTo>
                    <a:pt x="101" y="647"/>
                  </a:lnTo>
                  <a:lnTo>
                    <a:pt x="105" y="646"/>
                  </a:lnTo>
                  <a:lnTo>
                    <a:pt x="110" y="646"/>
                  </a:lnTo>
                  <a:lnTo>
                    <a:pt x="114" y="644"/>
                  </a:lnTo>
                  <a:lnTo>
                    <a:pt x="117" y="643"/>
                  </a:lnTo>
                  <a:lnTo>
                    <a:pt x="121" y="641"/>
                  </a:lnTo>
                  <a:lnTo>
                    <a:pt x="125" y="639"/>
                  </a:lnTo>
                  <a:lnTo>
                    <a:pt x="127" y="638"/>
                  </a:lnTo>
                  <a:lnTo>
                    <a:pt x="129" y="638"/>
                  </a:lnTo>
                  <a:lnTo>
                    <a:pt x="131" y="639"/>
                  </a:lnTo>
                  <a:lnTo>
                    <a:pt x="133" y="641"/>
                  </a:lnTo>
                  <a:lnTo>
                    <a:pt x="131" y="643"/>
                  </a:lnTo>
                  <a:lnTo>
                    <a:pt x="130" y="644"/>
                  </a:lnTo>
                  <a:lnTo>
                    <a:pt x="127" y="646"/>
                  </a:lnTo>
                  <a:lnTo>
                    <a:pt x="125" y="648"/>
                  </a:lnTo>
                  <a:lnTo>
                    <a:pt x="122" y="649"/>
                  </a:lnTo>
                  <a:lnTo>
                    <a:pt x="120" y="651"/>
                  </a:lnTo>
                  <a:lnTo>
                    <a:pt x="119" y="654"/>
                  </a:lnTo>
                  <a:lnTo>
                    <a:pt x="119" y="655"/>
                  </a:lnTo>
                  <a:lnTo>
                    <a:pt x="120" y="656"/>
                  </a:lnTo>
                  <a:lnTo>
                    <a:pt x="121" y="657"/>
                  </a:lnTo>
                  <a:lnTo>
                    <a:pt x="125" y="657"/>
                  </a:lnTo>
                  <a:lnTo>
                    <a:pt x="126" y="659"/>
                  </a:lnTo>
                  <a:lnTo>
                    <a:pt x="129" y="659"/>
                  </a:lnTo>
                  <a:lnTo>
                    <a:pt x="131" y="659"/>
                  </a:lnTo>
                  <a:lnTo>
                    <a:pt x="135" y="660"/>
                  </a:lnTo>
                  <a:lnTo>
                    <a:pt x="137" y="662"/>
                  </a:lnTo>
                  <a:lnTo>
                    <a:pt x="138" y="663"/>
                  </a:lnTo>
                  <a:lnTo>
                    <a:pt x="138" y="665"/>
                  </a:lnTo>
                  <a:lnTo>
                    <a:pt x="137" y="668"/>
                  </a:lnTo>
                  <a:lnTo>
                    <a:pt x="137" y="671"/>
                  </a:lnTo>
                  <a:lnTo>
                    <a:pt x="136" y="674"/>
                  </a:lnTo>
                  <a:lnTo>
                    <a:pt x="136" y="678"/>
                  </a:lnTo>
                  <a:lnTo>
                    <a:pt x="137" y="679"/>
                  </a:lnTo>
                  <a:lnTo>
                    <a:pt x="137" y="681"/>
                  </a:lnTo>
                  <a:lnTo>
                    <a:pt x="138" y="683"/>
                  </a:lnTo>
                  <a:lnTo>
                    <a:pt x="141" y="684"/>
                  </a:lnTo>
                  <a:lnTo>
                    <a:pt x="143" y="686"/>
                  </a:lnTo>
                  <a:lnTo>
                    <a:pt x="144" y="686"/>
                  </a:lnTo>
                  <a:lnTo>
                    <a:pt x="144" y="688"/>
                  </a:lnTo>
                  <a:lnTo>
                    <a:pt x="145" y="689"/>
                  </a:lnTo>
                  <a:lnTo>
                    <a:pt x="144" y="691"/>
                  </a:lnTo>
                  <a:lnTo>
                    <a:pt x="142" y="692"/>
                  </a:lnTo>
                  <a:lnTo>
                    <a:pt x="139" y="691"/>
                  </a:lnTo>
                  <a:lnTo>
                    <a:pt x="137" y="691"/>
                  </a:lnTo>
                  <a:lnTo>
                    <a:pt x="134" y="690"/>
                  </a:lnTo>
                  <a:lnTo>
                    <a:pt x="130" y="690"/>
                  </a:lnTo>
                  <a:lnTo>
                    <a:pt x="128" y="690"/>
                  </a:lnTo>
                  <a:lnTo>
                    <a:pt x="127" y="692"/>
                  </a:lnTo>
                  <a:lnTo>
                    <a:pt x="125" y="695"/>
                  </a:lnTo>
                  <a:lnTo>
                    <a:pt x="120" y="702"/>
                  </a:lnTo>
                  <a:lnTo>
                    <a:pt x="119" y="705"/>
                  </a:lnTo>
                  <a:lnTo>
                    <a:pt x="118" y="707"/>
                  </a:lnTo>
                  <a:lnTo>
                    <a:pt x="118" y="708"/>
                  </a:lnTo>
                  <a:lnTo>
                    <a:pt x="115" y="710"/>
                  </a:lnTo>
                  <a:lnTo>
                    <a:pt x="113" y="712"/>
                  </a:lnTo>
                  <a:lnTo>
                    <a:pt x="112" y="713"/>
                  </a:lnTo>
                  <a:lnTo>
                    <a:pt x="112" y="716"/>
                  </a:lnTo>
                  <a:lnTo>
                    <a:pt x="112" y="719"/>
                  </a:lnTo>
                  <a:lnTo>
                    <a:pt x="112" y="720"/>
                  </a:lnTo>
                  <a:lnTo>
                    <a:pt x="113" y="722"/>
                  </a:lnTo>
                  <a:lnTo>
                    <a:pt x="114" y="723"/>
                  </a:lnTo>
                  <a:lnTo>
                    <a:pt x="115" y="726"/>
                  </a:lnTo>
                  <a:lnTo>
                    <a:pt x="118" y="727"/>
                  </a:lnTo>
                  <a:lnTo>
                    <a:pt x="119" y="728"/>
                  </a:lnTo>
                  <a:lnTo>
                    <a:pt x="120" y="728"/>
                  </a:lnTo>
                  <a:lnTo>
                    <a:pt x="122" y="729"/>
                  </a:lnTo>
                  <a:lnTo>
                    <a:pt x="126" y="730"/>
                  </a:lnTo>
                  <a:lnTo>
                    <a:pt x="129" y="730"/>
                  </a:lnTo>
                  <a:lnTo>
                    <a:pt x="131" y="730"/>
                  </a:lnTo>
                  <a:lnTo>
                    <a:pt x="136" y="730"/>
                  </a:lnTo>
                  <a:lnTo>
                    <a:pt x="139" y="730"/>
                  </a:lnTo>
                  <a:lnTo>
                    <a:pt x="143" y="730"/>
                  </a:lnTo>
                  <a:lnTo>
                    <a:pt x="149" y="731"/>
                  </a:lnTo>
                  <a:lnTo>
                    <a:pt x="151" y="732"/>
                  </a:lnTo>
                  <a:lnTo>
                    <a:pt x="152" y="734"/>
                  </a:lnTo>
                  <a:lnTo>
                    <a:pt x="153" y="736"/>
                  </a:lnTo>
                  <a:lnTo>
                    <a:pt x="154" y="737"/>
                  </a:lnTo>
                  <a:lnTo>
                    <a:pt x="154" y="740"/>
                  </a:lnTo>
                  <a:lnTo>
                    <a:pt x="153" y="742"/>
                  </a:lnTo>
                  <a:lnTo>
                    <a:pt x="153" y="744"/>
                  </a:lnTo>
                  <a:lnTo>
                    <a:pt x="154" y="746"/>
                  </a:lnTo>
                  <a:lnTo>
                    <a:pt x="155" y="748"/>
                  </a:lnTo>
                  <a:lnTo>
                    <a:pt x="158" y="751"/>
                  </a:lnTo>
                  <a:lnTo>
                    <a:pt x="159" y="752"/>
                  </a:lnTo>
                  <a:lnTo>
                    <a:pt x="161" y="753"/>
                  </a:lnTo>
                  <a:lnTo>
                    <a:pt x="162" y="754"/>
                  </a:lnTo>
                  <a:lnTo>
                    <a:pt x="163" y="754"/>
                  </a:lnTo>
                  <a:lnTo>
                    <a:pt x="166" y="756"/>
                  </a:lnTo>
                  <a:lnTo>
                    <a:pt x="167" y="758"/>
                  </a:lnTo>
                  <a:lnTo>
                    <a:pt x="170" y="759"/>
                  </a:lnTo>
                  <a:lnTo>
                    <a:pt x="174" y="760"/>
                  </a:lnTo>
                  <a:lnTo>
                    <a:pt x="176" y="760"/>
                  </a:lnTo>
                  <a:lnTo>
                    <a:pt x="177" y="761"/>
                  </a:lnTo>
                  <a:lnTo>
                    <a:pt x="178" y="764"/>
                  </a:lnTo>
                  <a:lnTo>
                    <a:pt x="177" y="767"/>
                  </a:lnTo>
                  <a:lnTo>
                    <a:pt x="177" y="768"/>
                  </a:lnTo>
                  <a:lnTo>
                    <a:pt x="176" y="771"/>
                  </a:lnTo>
                  <a:lnTo>
                    <a:pt x="176" y="775"/>
                  </a:lnTo>
                  <a:lnTo>
                    <a:pt x="175" y="777"/>
                  </a:lnTo>
                  <a:lnTo>
                    <a:pt x="175" y="780"/>
                  </a:lnTo>
                  <a:lnTo>
                    <a:pt x="175" y="785"/>
                  </a:lnTo>
                  <a:lnTo>
                    <a:pt x="175" y="790"/>
                  </a:lnTo>
                  <a:lnTo>
                    <a:pt x="175" y="793"/>
                  </a:lnTo>
                  <a:lnTo>
                    <a:pt x="174" y="795"/>
                  </a:lnTo>
                  <a:lnTo>
                    <a:pt x="174" y="799"/>
                  </a:lnTo>
                  <a:lnTo>
                    <a:pt x="174" y="800"/>
                  </a:lnTo>
                  <a:lnTo>
                    <a:pt x="173" y="802"/>
                  </a:lnTo>
                  <a:lnTo>
                    <a:pt x="171" y="802"/>
                  </a:lnTo>
                  <a:lnTo>
                    <a:pt x="170" y="804"/>
                  </a:lnTo>
                  <a:lnTo>
                    <a:pt x="168" y="806"/>
                  </a:lnTo>
                  <a:lnTo>
                    <a:pt x="166" y="807"/>
                  </a:lnTo>
                  <a:lnTo>
                    <a:pt x="162" y="809"/>
                  </a:lnTo>
                  <a:lnTo>
                    <a:pt x="160" y="811"/>
                  </a:lnTo>
                  <a:lnTo>
                    <a:pt x="157" y="814"/>
                  </a:lnTo>
                  <a:lnTo>
                    <a:pt x="154" y="815"/>
                  </a:lnTo>
                  <a:lnTo>
                    <a:pt x="154" y="818"/>
                  </a:lnTo>
                  <a:lnTo>
                    <a:pt x="153" y="822"/>
                  </a:lnTo>
                  <a:lnTo>
                    <a:pt x="153" y="825"/>
                  </a:lnTo>
                  <a:lnTo>
                    <a:pt x="154" y="831"/>
                  </a:lnTo>
                  <a:lnTo>
                    <a:pt x="155" y="833"/>
                  </a:lnTo>
                  <a:lnTo>
                    <a:pt x="157" y="836"/>
                  </a:lnTo>
                  <a:lnTo>
                    <a:pt x="157" y="840"/>
                  </a:lnTo>
                  <a:lnTo>
                    <a:pt x="154" y="846"/>
                  </a:lnTo>
                  <a:lnTo>
                    <a:pt x="153" y="849"/>
                  </a:lnTo>
                  <a:lnTo>
                    <a:pt x="152" y="851"/>
                  </a:lnTo>
                  <a:lnTo>
                    <a:pt x="151" y="855"/>
                  </a:lnTo>
                  <a:lnTo>
                    <a:pt x="151" y="858"/>
                  </a:lnTo>
                  <a:lnTo>
                    <a:pt x="151" y="862"/>
                  </a:lnTo>
                  <a:lnTo>
                    <a:pt x="153" y="865"/>
                  </a:lnTo>
                  <a:lnTo>
                    <a:pt x="155" y="867"/>
                  </a:lnTo>
                  <a:lnTo>
                    <a:pt x="158" y="871"/>
                  </a:lnTo>
                  <a:lnTo>
                    <a:pt x="158" y="873"/>
                  </a:lnTo>
                  <a:lnTo>
                    <a:pt x="159" y="875"/>
                  </a:lnTo>
                  <a:lnTo>
                    <a:pt x="160" y="876"/>
                  </a:lnTo>
                  <a:lnTo>
                    <a:pt x="161" y="879"/>
                  </a:lnTo>
                  <a:lnTo>
                    <a:pt x="163" y="880"/>
                  </a:lnTo>
                  <a:lnTo>
                    <a:pt x="166" y="881"/>
                  </a:lnTo>
                  <a:lnTo>
                    <a:pt x="167" y="882"/>
                  </a:lnTo>
                  <a:lnTo>
                    <a:pt x="168" y="884"/>
                  </a:lnTo>
                  <a:lnTo>
                    <a:pt x="167" y="887"/>
                  </a:lnTo>
                  <a:lnTo>
                    <a:pt x="167" y="888"/>
                  </a:lnTo>
                  <a:lnTo>
                    <a:pt x="166" y="890"/>
                  </a:lnTo>
                  <a:lnTo>
                    <a:pt x="166" y="894"/>
                  </a:lnTo>
                  <a:lnTo>
                    <a:pt x="167" y="896"/>
                  </a:lnTo>
                  <a:lnTo>
                    <a:pt x="167" y="899"/>
                  </a:lnTo>
                  <a:lnTo>
                    <a:pt x="168" y="902"/>
                  </a:lnTo>
                  <a:lnTo>
                    <a:pt x="170" y="904"/>
                  </a:lnTo>
                  <a:lnTo>
                    <a:pt x="173" y="905"/>
                  </a:lnTo>
                  <a:lnTo>
                    <a:pt x="174" y="907"/>
                  </a:lnTo>
                  <a:lnTo>
                    <a:pt x="176" y="908"/>
                  </a:lnTo>
                  <a:lnTo>
                    <a:pt x="178" y="911"/>
                  </a:lnTo>
                  <a:lnTo>
                    <a:pt x="181" y="912"/>
                  </a:lnTo>
                  <a:lnTo>
                    <a:pt x="185" y="914"/>
                  </a:lnTo>
                  <a:lnTo>
                    <a:pt x="187" y="914"/>
                  </a:lnTo>
                  <a:lnTo>
                    <a:pt x="192" y="915"/>
                  </a:lnTo>
                  <a:lnTo>
                    <a:pt x="197" y="915"/>
                  </a:lnTo>
                  <a:lnTo>
                    <a:pt x="201" y="915"/>
                  </a:lnTo>
                  <a:lnTo>
                    <a:pt x="205" y="915"/>
                  </a:lnTo>
                  <a:lnTo>
                    <a:pt x="207" y="913"/>
                  </a:lnTo>
                  <a:lnTo>
                    <a:pt x="215" y="906"/>
                  </a:lnTo>
                  <a:lnTo>
                    <a:pt x="221" y="899"/>
                  </a:lnTo>
                  <a:lnTo>
                    <a:pt x="223" y="898"/>
                  </a:lnTo>
                  <a:lnTo>
                    <a:pt x="225" y="896"/>
                  </a:lnTo>
                  <a:lnTo>
                    <a:pt x="227" y="894"/>
                  </a:lnTo>
                  <a:lnTo>
                    <a:pt x="230" y="892"/>
                  </a:lnTo>
                  <a:lnTo>
                    <a:pt x="234" y="892"/>
                  </a:lnTo>
                  <a:lnTo>
                    <a:pt x="238" y="891"/>
                  </a:lnTo>
                  <a:lnTo>
                    <a:pt x="241" y="888"/>
                  </a:lnTo>
                  <a:lnTo>
                    <a:pt x="245" y="888"/>
                  </a:lnTo>
                  <a:lnTo>
                    <a:pt x="250" y="886"/>
                  </a:lnTo>
                  <a:lnTo>
                    <a:pt x="251" y="884"/>
                  </a:lnTo>
                  <a:lnTo>
                    <a:pt x="254" y="884"/>
                  </a:lnTo>
                  <a:lnTo>
                    <a:pt x="256" y="883"/>
                  </a:lnTo>
                  <a:lnTo>
                    <a:pt x="261" y="884"/>
                  </a:lnTo>
                  <a:lnTo>
                    <a:pt x="264" y="887"/>
                  </a:lnTo>
                  <a:lnTo>
                    <a:pt x="266" y="887"/>
                  </a:lnTo>
                  <a:lnTo>
                    <a:pt x="266" y="889"/>
                  </a:lnTo>
                  <a:lnTo>
                    <a:pt x="269" y="895"/>
                  </a:lnTo>
                  <a:lnTo>
                    <a:pt x="270" y="897"/>
                  </a:lnTo>
                  <a:lnTo>
                    <a:pt x="271" y="899"/>
                  </a:lnTo>
                  <a:lnTo>
                    <a:pt x="272" y="903"/>
                  </a:lnTo>
                  <a:lnTo>
                    <a:pt x="273" y="905"/>
                  </a:lnTo>
                  <a:lnTo>
                    <a:pt x="274" y="906"/>
                  </a:lnTo>
                  <a:lnTo>
                    <a:pt x="275" y="907"/>
                  </a:lnTo>
                  <a:lnTo>
                    <a:pt x="275" y="911"/>
                  </a:lnTo>
                  <a:lnTo>
                    <a:pt x="277" y="913"/>
                  </a:lnTo>
                  <a:lnTo>
                    <a:pt x="278" y="914"/>
                  </a:lnTo>
                  <a:lnTo>
                    <a:pt x="280" y="916"/>
                  </a:lnTo>
                  <a:lnTo>
                    <a:pt x="280" y="919"/>
                  </a:lnTo>
                  <a:lnTo>
                    <a:pt x="281" y="922"/>
                  </a:lnTo>
                  <a:lnTo>
                    <a:pt x="281" y="923"/>
                  </a:lnTo>
                  <a:lnTo>
                    <a:pt x="281" y="926"/>
                  </a:lnTo>
                  <a:lnTo>
                    <a:pt x="281" y="927"/>
                  </a:lnTo>
                  <a:lnTo>
                    <a:pt x="280" y="931"/>
                  </a:lnTo>
                  <a:lnTo>
                    <a:pt x="278" y="934"/>
                  </a:lnTo>
                  <a:lnTo>
                    <a:pt x="277" y="936"/>
                  </a:lnTo>
                  <a:lnTo>
                    <a:pt x="275" y="938"/>
                  </a:lnTo>
                  <a:lnTo>
                    <a:pt x="273" y="942"/>
                  </a:lnTo>
                  <a:lnTo>
                    <a:pt x="270" y="945"/>
                  </a:lnTo>
                  <a:lnTo>
                    <a:pt x="266" y="946"/>
                  </a:lnTo>
                  <a:lnTo>
                    <a:pt x="263" y="948"/>
                  </a:lnTo>
                  <a:lnTo>
                    <a:pt x="261" y="951"/>
                  </a:lnTo>
                  <a:lnTo>
                    <a:pt x="259" y="953"/>
                  </a:lnTo>
                  <a:lnTo>
                    <a:pt x="259" y="955"/>
                  </a:lnTo>
                  <a:lnTo>
                    <a:pt x="261" y="958"/>
                  </a:lnTo>
                  <a:lnTo>
                    <a:pt x="261" y="960"/>
                  </a:lnTo>
                  <a:lnTo>
                    <a:pt x="265" y="963"/>
                  </a:lnTo>
                  <a:lnTo>
                    <a:pt x="267" y="964"/>
                  </a:lnTo>
                  <a:lnTo>
                    <a:pt x="271" y="967"/>
                  </a:lnTo>
                  <a:lnTo>
                    <a:pt x="273" y="969"/>
                  </a:lnTo>
                  <a:lnTo>
                    <a:pt x="275" y="972"/>
                  </a:lnTo>
                  <a:lnTo>
                    <a:pt x="278" y="975"/>
                  </a:lnTo>
                  <a:lnTo>
                    <a:pt x="280" y="977"/>
                  </a:lnTo>
                  <a:lnTo>
                    <a:pt x="280" y="982"/>
                  </a:lnTo>
                  <a:lnTo>
                    <a:pt x="279" y="985"/>
                  </a:lnTo>
                  <a:lnTo>
                    <a:pt x="278" y="990"/>
                  </a:lnTo>
                  <a:lnTo>
                    <a:pt x="275" y="993"/>
                  </a:lnTo>
                  <a:lnTo>
                    <a:pt x="273" y="995"/>
                  </a:lnTo>
                  <a:lnTo>
                    <a:pt x="272" y="999"/>
                  </a:lnTo>
                  <a:lnTo>
                    <a:pt x="270" y="1001"/>
                  </a:lnTo>
                  <a:lnTo>
                    <a:pt x="270" y="1004"/>
                  </a:lnTo>
                  <a:lnTo>
                    <a:pt x="267" y="1009"/>
                  </a:lnTo>
                  <a:lnTo>
                    <a:pt x="266" y="1012"/>
                  </a:lnTo>
                  <a:lnTo>
                    <a:pt x="266" y="1015"/>
                  </a:lnTo>
                  <a:lnTo>
                    <a:pt x="265" y="1020"/>
                  </a:lnTo>
                  <a:lnTo>
                    <a:pt x="266" y="1026"/>
                  </a:lnTo>
                  <a:lnTo>
                    <a:pt x="269" y="1028"/>
                  </a:lnTo>
                  <a:lnTo>
                    <a:pt x="270" y="1033"/>
                  </a:lnTo>
                  <a:lnTo>
                    <a:pt x="270" y="1035"/>
                  </a:lnTo>
                  <a:lnTo>
                    <a:pt x="269" y="1042"/>
                  </a:lnTo>
                  <a:lnTo>
                    <a:pt x="269" y="1044"/>
                  </a:lnTo>
                  <a:lnTo>
                    <a:pt x="266" y="1049"/>
                  </a:lnTo>
                  <a:lnTo>
                    <a:pt x="265" y="1054"/>
                  </a:lnTo>
                  <a:lnTo>
                    <a:pt x="263" y="1060"/>
                  </a:lnTo>
                  <a:lnTo>
                    <a:pt x="261" y="1066"/>
                  </a:lnTo>
                  <a:lnTo>
                    <a:pt x="259" y="1068"/>
                  </a:lnTo>
                  <a:lnTo>
                    <a:pt x="256" y="1076"/>
                  </a:lnTo>
                  <a:lnTo>
                    <a:pt x="254" y="1081"/>
                  </a:lnTo>
                  <a:lnTo>
                    <a:pt x="256" y="1084"/>
                  </a:lnTo>
                  <a:lnTo>
                    <a:pt x="259" y="1086"/>
                  </a:lnTo>
                  <a:lnTo>
                    <a:pt x="263" y="1088"/>
                  </a:lnTo>
                  <a:lnTo>
                    <a:pt x="267" y="1091"/>
                  </a:lnTo>
                  <a:lnTo>
                    <a:pt x="270" y="1092"/>
                  </a:lnTo>
                  <a:lnTo>
                    <a:pt x="271" y="1094"/>
                  </a:lnTo>
                  <a:lnTo>
                    <a:pt x="274" y="1096"/>
                  </a:lnTo>
                  <a:lnTo>
                    <a:pt x="278" y="1096"/>
                  </a:lnTo>
                  <a:lnTo>
                    <a:pt x="280" y="1095"/>
                  </a:lnTo>
                  <a:lnTo>
                    <a:pt x="283" y="1092"/>
                  </a:lnTo>
                  <a:lnTo>
                    <a:pt x="283" y="1089"/>
                  </a:lnTo>
                  <a:lnTo>
                    <a:pt x="286" y="1088"/>
                  </a:lnTo>
                  <a:lnTo>
                    <a:pt x="287" y="1086"/>
                  </a:lnTo>
                  <a:lnTo>
                    <a:pt x="289" y="1082"/>
                  </a:lnTo>
                  <a:lnTo>
                    <a:pt x="293" y="1083"/>
                  </a:lnTo>
                  <a:lnTo>
                    <a:pt x="294" y="1086"/>
                  </a:lnTo>
                  <a:lnTo>
                    <a:pt x="294" y="1089"/>
                  </a:lnTo>
                  <a:lnTo>
                    <a:pt x="295" y="1090"/>
                  </a:lnTo>
                  <a:lnTo>
                    <a:pt x="295" y="1091"/>
                  </a:lnTo>
                  <a:lnTo>
                    <a:pt x="296" y="1091"/>
                  </a:lnTo>
                  <a:lnTo>
                    <a:pt x="299" y="1089"/>
                  </a:lnTo>
                  <a:lnTo>
                    <a:pt x="302" y="1088"/>
                  </a:lnTo>
                  <a:lnTo>
                    <a:pt x="303" y="1086"/>
                  </a:lnTo>
                  <a:lnTo>
                    <a:pt x="306" y="1086"/>
                  </a:lnTo>
                  <a:lnTo>
                    <a:pt x="309" y="1087"/>
                  </a:lnTo>
                  <a:lnTo>
                    <a:pt x="309" y="1089"/>
                  </a:lnTo>
                  <a:lnTo>
                    <a:pt x="309" y="1091"/>
                  </a:lnTo>
                  <a:lnTo>
                    <a:pt x="307" y="1092"/>
                  </a:lnTo>
                  <a:lnTo>
                    <a:pt x="307" y="1094"/>
                  </a:lnTo>
                  <a:lnTo>
                    <a:pt x="310" y="1095"/>
                  </a:lnTo>
                  <a:lnTo>
                    <a:pt x="311" y="1096"/>
                  </a:lnTo>
                  <a:lnTo>
                    <a:pt x="311" y="1098"/>
                  </a:lnTo>
                  <a:lnTo>
                    <a:pt x="309" y="1099"/>
                  </a:lnTo>
                  <a:lnTo>
                    <a:pt x="307" y="1102"/>
                  </a:lnTo>
                  <a:lnTo>
                    <a:pt x="306" y="1104"/>
                  </a:lnTo>
                  <a:lnTo>
                    <a:pt x="306" y="1107"/>
                  </a:lnTo>
                  <a:lnTo>
                    <a:pt x="309" y="1110"/>
                  </a:lnTo>
                  <a:lnTo>
                    <a:pt x="311" y="1110"/>
                  </a:lnTo>
                  <a:lnTo>
                    <a:pt x="313" y="1110"/>
                  </a:lnTo>
                  <a:lnTo>
                    <a:pt x="317" y="1111"/>
                  </a:lnTo>
                  <a:lnTo>
                    <a:pt x="317" y="1113"/>
                  </a:lnTo>
                  <a:lnTo>
                    <a:pt x="318" y="1115"/>
                  </a:lnTo>
                  <a:lnTo>
                    <a:pt x="317" y="1119"/>
                  </a:lnTo>
                  <a:lnTo>
                    <a:pt x="315" y="1122"/>
                  </a:lnTo>
                  <a:lnTo>
                    <a:pt x="313" y="1124"/>
                  </a:lnTo>
                  <a:lnTo>
                    <a:pt x="312" y="1127"/>
                  </a:lnTo>
                  <a:lnTo>
                    <a:pt x="310" y="1129"/>
                  </a:lnTo>
                  <a:lnTo>
                    <a:pt x="307" y="1130"/>
                  </a:lnTo>
                  <a:lnTo>
                    <a:pt x="306" y="1134"/>
                  </a:lnTo>
                  <a:lnTo>
                    <a:pt x="304" y="1137"/>
                  </a:lnTo>
                  <a:lnTo>
                    <a:pt x="302" y="1139"/>
                  </a:lnTo>
                  <a:lnTo>
                    <a:pt x="299" y="1142"/>
                  </a:lnTo>
                  <a:lnTo>
                    <a:pt x="298" y="1145"/>
                  </a:lnTo>
                  <a:lnTo>
                    <a:pt x="297" y="1147"/>
                  </a:lnTo>
                  <a:lnTo>
                    <a:pt x="294" y="1152"/>
                  </a:lnTo>
                  <a:lnTo>
                    <a:pt x="294" y="1155"/>
                  </a:lnTo>
                  <a:lnTo>
                    <a:pt x="291" y="1160"/>
                  </a:lnTo>
                  <a:lnTo>
                    <a:pt x="290" y="1164"/>
                  </a:lnTo>
                  <a:lnTo>
                    <a:pt x="289" y="1168"/>
                  </a:lnTo>
                  <a:lnTo>
                    <a:pt x="287" y="1172"/>
                  </a:lnTo>
                  <a:lnTo>
                    <a:pt x="286" y="1175"/>
                  </a:lnTo>
                  <a:lnTo>
                    <a:pt x="286" y="1179"/>
                  </a:lnTo>
                  <a:lnTo>
                    <a:pt x="285" y="1186"/>
                  </a:lnTo>
                  <a:lnTo>
                    <a:pt x="283" y="1187"/>
                  </a:lnTo>
                  <a:lnTo>
                    <a:pt x="281" y="1191"/>
                  </a:lnTo>
                  <a:lnTo>
                    <a:pt x="281" y="1193"/>
                  </a:lnTo>
                  <a:lnTo>
                    <a:pt x="279" y="1195"/>
                  </a:lnTo>
                  <a:lnTo>
                    <a:pt x="279" y="1199"/>
                  </a:lnTo>
                  <a:lnTo>
                    <a:pt x="279" y="1202"/>
                  </a:lnTo>
                  <a:lnTo>
                    <a:pt x="279" y="1207"/>
                  </a:lnTo>
                  <a:lnTo>
                    <a:pt x="279" y="1209"/>
                  </a:lnTo>
                  <a:lnTo>
                    <a:pt x="278" y="1212"/>
                  </a:lnTo>
                  <a:lnTo>
                    <a:pt x="277" y="1215"/>
                  </a:lnTo>
                  <a:lnTo>
                    <a:pt x="277" y="1219"/>
                  </a:lnTo>
                  <a:lnTo>
                    <a:pt x="272" y="1222"/>
                  </a:lnTo>
                  <a:lnTo>
                    <a:pt x="271" y="1223"/>
                  </a:lnTo>
                  <a:lnTo>
                    <a:pt x="270" y="1223"/>
                  </a:lnTo>
                  <a:lnTo>
                    <a:pt x="265" y="1226"/>
                  </a:lnTo>
                  <a:lnTo>
                    <a:pt x="264" y="1228"/>
                  </a:lnTo>
                  <a:lnTo>
                    <a:pt x="264" y="1230"/>
                  </a:lnTo>
                  <a:lnTo>
                    <a:pt x="263" y="1233"/>
                  </a:lnTo>
                  <a:lnTo>
                    <a:pt x="262" y="1235"/>
                  </a:lnTo>
                  <a:lnTo>
                    <a:pt x="261" y="1238"/>
                  </a:lnTo>
                  <a:lnTo>
                    <a:pt x="259" y="1240"/>
                  </a:lnTo>
                  <a:lnTo>
                    <a:pt x="258" y="1241"/>
                  </a:lnTo>
                  <a:lnTo>
                    <a:pt x="256" y="1241"/>
                  </a:lnTo>
                  <a:lnTo>
                    <a:pt x="253" y="1242"/>
                  </a:lnTo>
                  <a:lnTo>
                    <a:pt x="249" y="1243"/>
                  </a:lnTo>
                  <a:lnTo>
                    <a:pt x="247" y="1246"/>
                  </a:lnTo>
                  <a:lnTo>
                    <a:pt x="247" y="1249"/>
                  </a:lnTo>
                  <a:lnTo>
                    <a:pt x="246" y="1251"/>
                  </a:lnTo>
                  <a:lnTo>
                    <a:pt x="246" y="1254"/>
                  </a:lnTo>
                  <a:lnTo>
                    <a:pt x="248" y="1255"/>
                  </a:lnTo>
                  <a:lnTo>
                    <a:pt x="248" y="1257"/>
                  </a:lnTo>
                  <a:lnTo>
                    <a:pt x="251" y="1260"/>
                  </a:lnTo>
                  <a:lnTo>
                    <a:pt x="253" y="1263"/>
                  </a:lnTo>
                  <a:lnTo>
                    <a:pt x="255" y="1266"/>
                  </a:lnTo>
                  <a:lnTo>
                    <a:pt x="257" y="1270"/>
                  </a:lnTo>
                  <a:lnTo>
                    <a:pt x="259" y="1272"/>
                  </a:lnTo>
                  <a:lnTo>
                    <a:pt x="263" y="1275"/>
                  </a:lnTo>
                  <a:lnTo>
                    <a:pt x="265" y="1278"/>
                  </a:lnTo>
                  <a:lnTo>
                    <a:pt x="266" y="1280"/>
                  </a:lnTo>
                  <a:lnTo>
                    <a:pt x="269" y="1283"/>
                  </a:lnTo>
                  <a:lnTo>
                    <a:pt x="270" y="1286"/>
                  </a:lnTo>
                  <a:lnTo>
                    <a:pt x="271" y="1288"/>
                  </a:lnTo>
                  <a:lnTo>
                    <a:pt x="272" y="1291"/>
                  </a:lnTo>
                  <a:lnTo>
                    <a:pt x="274" y="1295"/>
                  </a:lnTo>
                  <a:lnTo>
                    <a:pt x="275" y="1297"/>
                  </a:lnTo>
                  <a:lnTo>
                    <a:pt x="275" y="1299"/>
                  </a:lnTo>
                  <a:lnTo>
                    <a:pt x="275" y="1302"/>
                  </a:lnTo>
                  <a:lnTo>
                    <a:pt x="274" y="1303"/>
                  </a:lnTo>
                  <a:lnTo>
                    <a:pt x="273" y="1305"/>
                  </a:lnTo>
                  <a:lnTo>
                    <a:pt x="272" y="1306"/>
                  </a:lnTo>
                  <a:lnTo>
                    <a:pt x="271" y="1308"/>
                  </a:lnTo>
                  <a:lnTo>
                    <a:pt x="270" y="1311"/>
                  </a:lnTo>
                  <a:lnTo>
                    <a:pt x="265" y="1315"/>
                  </a:lnTo>
                  <a:lnTo>
                    <a:pt x="265" y="1316"/>
                  </a:lnTo>
                  <a:lnTo>
                    <a:pt x="263" y="1318"/>
                  </a:lnTo>
                  <a:lnTo>
                    <a:pt x="261" y="1319"/>
                  </a:lnTo>
                  <a:lnTo>
                    <a:pt x="259" y="1320"/>
                  </a:lnTo>
                  <a:lnTo>
                    <a:pt x="257" y="1321"/>
                  </a:lnTo>
                  <a:lnTo>
                    <a:pt x="256" y="1322"/>
                  </a:lnTo>
                  <a:lnTo>
                    <a:pt x="254" y="1327"/>
                  </a:lnTo>
                  <a:lnTo>
                    <a:pt x="253" y="1330"/>
                  </a:lnTo>
                  <a:lnTo>
                    <a:pt x="254" y="1335"/>
                  </a:lnTo>
                  <a:lnTo>
                    <a:pt x="254" y="1338"/>
                  </a:lnTo>
                  <a:lnTo>
                    <a:pt x="255" y="1340"/>
                  </a:lnTo>
                  <a:lnTo>
                    <a:pt x="256" y="1343"/>
                  </a:lnTo>
                  <a:lnTo>
                    <a:pt x="258" y="1347"/>
                  </a:lnTo>
                  <a:lnTo>
                    <a:pt x="261" y="1348"/>
                  </a:lnTo>
                  <a:lnTo>
                    <a:pt x="264" y="1352"/>
                  </a:lnTo>
                  <a:lnTo>
                    <a:pt x="266" y="1354"/>
                  </a:lnTo>
                  <a:lnTo>
                    <a:pt x="270" y="1358"/>
                  </a:lnTo>
                  <a:lnTo>
                    <a:pt x="272" y="1361"/>
                  </a:lnTo>
                  <a:lnTo>
                    <a:pt x="274" y="1363"/>
                  </a:lnTo>
                  <a:lnTo>
                    <a:pt x="280" y="1370"/>
                  </a:lnTo>
                  <a:lnTo>
                    <a:pt x="281" y="1376"/>
                  </a:lnTo>
                  <a:lnTo>
                    <a:pt x="281" y="1379"/>
                  </a:lnTo>
                  <a:lnTo>
                    <a:pt x="282" y="1382"/>
                  </a:lnTo>
                  <a:lnTo>
                    <a:pt x="282" y="1384"/>
                  </a:lnTo>
                  <a:lnTo>
                    <a:pt x="282" y="1385"/>
                  </a:lnTo>
                  <a:lnTo>
                    <a:pt x="281" y="1387"/>
                  </a:lnTo>
                  <a:lnTo>
                    <a:pt x="280" y="1388"/>
                  </a:lnTo>
                  <a:lnTo>
                    <a:pt x="279" y="1391"/>
                  </a:lnTo>
                  <a:lnTo>
                    <a:pt x="279" y="1392"/>
                  </a:lnTo>
                  <a:lnTo>
                    <a:pt x="278" y="1393"/>
                  </a:lnTo>
                  <a:lnTo>
                    <a:pt x="275" y="1394"/>
                  </a:lnTo>
                  <a:lnTo>
                    <a:pt x="273" y="1394"/>
                  </a:lnTo>
                  <a:lnTo>
                    <a:pt x="270" y="1392"/>
                  </a:lnTo>
                  <a:lnTo>
                    <a:pt x="267" y="1391"/>
                  </a:lnTo>
                  <a:lnTo>
                    <a:pt x="265" y="1391"/>
                  </a:lnTo>
                  <a:lnTo>
                    <a:pt x="264" y="1392"/>
                  </a:lnTo>
                  <a:lnTo>
                    <a:pt x="263" y="1394"/>
                  </a:lnTo>
                  <a:lnTo>
                    <a:pt x="263" y="1396"/>
                  </a:lnTo>
                  <a:lnTo>
                    <a:pt x="263" y="1399"/>
                  </a:lnTo>
                  <a:lnTo>
                    <a:pt x="263" y="1402"/>
                  </a:lnTo>
                  <a:lnTo>
                    <a:pt x="264" y="1406"/>
                  </a:lnTo>
                  <a:lnTo>
                    <a:pt x="263" y="1409"/>
                  </a:lnTo>
                  <a:lnTo>
                    <a:pt x="262" y="1411"/>
                  </a:lnTo>
                  <a:lnTo>
                    <a:pt x="261" y="1414"/>
                  </a:lnTo>
                  <a:lnTo>
                    <a:pt x="259" y="1417"/>
                  </a:lnTo>
                  <a:lnTo>
                    <a:pt x="258" y="1418"/>
                  </a:lnTo>
                  <a:lnTo>
                    <a:pt x="256" y="1419"/>
                  </a:lnTo>
                  <a:lnTo>
                    <a:pt x="254" y="1419"/>
                  </a:lnTo>
                  <a:lnTo>
                    <a:pt x="251" y="1423"/>
                  </a:lnTo>
                  <a:lnTo>
                    <a:pt x="250" y="1424"/>
                  </a:lnTo>
                  <a:lnTo>
                    <a:pt x="248" y="1425"/>
                  </a:lnTo>
                  <a:lnTo>
                    <a:pt x="247" y="1427"/>
                  </a:lnTo>
                  <a:lnTo>
                    <a:pt x="245" y="1428"/>
                  </a:lnTo>
                  <a:lnTo>
                    <a:pt x="243" y="1431"/>
                  </a:lnTo>
                  <a:lnTo>
                    <a:pt x="242" y="1433"/>
                  </a:lnTo>
                  <a:lnTo>
                    <a:pt x="242" y="1438"/>
                  </a:lnTo>
                  <a:lnTo>
                    <a:pt x="241" y="1440"/>
                  </a:lnTo>
                  <a:lnTo>
                    <a:pt x="240" y="1442"/>
                  </a:lnTo>
                  <a:lnTo>
                    <a:pt x="232" y="1462"/>
                  </a:lnTo>
                  <a:lnTo>
                    <a:pt x="237" y="1463"/>
                  </a:lnTo>
                  <a:lnTo>
                    <a:pt x="239" y="1464"/>
                  </a:lnTo>
                  <a:lnTo>
                    <a:pt x="242" y="1466"/>
                  </a:lnTo>
                  <a:lnTo>
                    <a:pt x="246" y="1468"/>
                  </a:lnTo>
                  <a:lnTo>
                    <a:pt x="250" y="1472"/>
                  </a:lnTo>
                  <a:lnTo>
                    <a:pt x="254" y="1475"/>
                  </a:lnTo>
                  <a:lnTo>
                    <a:pt x="256" y="1479"/>
                  </a:lnTo>
                  <a:lnTo>
                    <a:pt x="258" y="1480"/>
                  </a:lnTo>
                  <a:lnTo>
                    <a:pt x="259" y="1481"/>
                  </a:lnTo>
                  <a:lnTo>
                    <a:pt x="264" y="1484"/>
                  </a:lnTo>
                  <a:lnTo>
                    <a:pt x="266" y="1487"/>
                  </a:lnTo>
                  <a:lnTo>
                    <a:pt x="270" y="1488"/>
                  </a:lnTo>
                  <a:lnTo>
                    <a:pt x="273" y="1490"/>
                  </a:lnTo>
                  <a:lnTo>
                    <a:pt x="277" y="1492"/>
                  </a:lnTo>
                  <a:lnTo>
                    <a:pt x="279" y="1494"/>
                  </a:lnTo>
                  <a:lnTo>
                    <a:pt x="280" y="1495"/>
                  </a:lnTo>
                  <a:lnTo>
                    <a:pt x="282" y="1496"/>
                  </a:lnTo>
                  <a:lnTo>
                    <a:pt x="283" y="1496"/>
                  </a:lnTo>
                  <a:lnTo>
                    <a:pt x="286" y="1498"/>
                  </a:lnTo>
                  <a:lnTo>
                    <a:pt x="288" y="1500"/>
                  </a:lnTo>
                  <a:lnTo>
                    <a:pt x="291" y="1500"/>
                  </a:lnTo>
                  <a:lnTo>
                    <a:pt x="297" y="1499"/>
                  </a:lnTo>
                  <a:lnTo>
                    <a:pt x="304" y="1502"/>
                  </a:lnTo>
                  <a:lnTo>
                    <a:pt x="307" y="1503"/>
                  </a:lnTo>
                  <a:lnTo>
                    <a:pt x="310" y="1503"/>
                  </a:lnTo>
                  <a:lnTo>
                    <a:pt x="314" y="1504"/>
                  </a:lnTo>
                  <a:lnTo>
                    <a:pt x="317" y="1505"/>
                  </a:lnTo>
                  <a:lnTo>
                    <a:pt x="320" y="1507"/>
                  </a:lnTo>
                  <a:lnTo>
                    <a:pt x="325" y="1508"/>
                  </a:lnTo>
                  <a:lnTo>
                    <a:pt x="330" y="1510"/>
                  </a:lnTo>
                  <a:lnTo>
                    <a:pt x="337" y="1512"/>
                  </a:lnTo>
                  <a:lnTo>
                    <a:pt x="342" y="1513"/>
                  </a:lnTo>
                  <a:lnTo>
                    <a:pt x="344" y="1514"/>
                  </a:lnTo>
                  <a:lnTo>
                    <a:pt x="349" y="1514"/>
                  </a:lnTo>
                  <a:lnTo>
                    <a:pt x="352" y="1514"/>
                  </a:lnTo>
                  <a:lnTo>
                    <a:pt x="357" y="1515"/>
                  </a:lnTo>
                  <a:lnTo>
                    <a:pt x="358" y="1514"/>
                  </a:lnTo>
                  <a:lnTo>
                    <a:pt x="360" y="1514"/>
                  </a:lnTo>
                  <a:lnTo>
                    <a:pt x="361" y="1513"/>
                  </a:lnTo>
                  <a:lnTo>
                    <a:pt x="362" y="1510"/>
                  </a:lnTo>
                  <a:lnTo>
                    <a:pt x="362" y="1506"/>
                  </a:lnTo>
                  <a:lnTo>
                    <a:pt x="365" y="1503"/>
                  </a:lnTo>
                  <a:lnTo>
                    <a:pt x="367" y="1502"/>
                  </a:lnTo>
                  <a:lnTo>
                    <a:pt x="370" y="1498"/>
                  </a:lnTo>
                  <a:lnTo>
                    <a:pt x="373" y="1497"/>
                  </a:lnTo>
                  <a:lnTo>
                    <a:pt x="376" y="1496"/>
                  </a:lnTo>
                  <a:lnTo>
                    <a:pt x="386" y="1496"/>
                  </a:lnTo>
                  <a:lnTo>
                    <a:pt x="392" y="1496"/>
                  </a:lnTo>
                  <a:lnTo>
                    <a:pt x="397" y="1496"/>
                  </a:lnTo>
                  <a:lnTo>
                    <a:pt x="405" y="1496"/>
                  </a:lnTo>
                  <a:lnTo>
                    <a:pt x="409" y="1491"/>
                  </a:lnTo>
                  <a:lnTo>
                    <a:pt x="415" y="1486"/>
                  </a:lnTo>
                  <a:lnTo>
                    <a:pt x="417" y="1483"/>
                  </a:lnTo>
                  <a:lnTo>
                    <a:pt x="419" y="1480"/>
                  </a:lnTo>
                  <a:lnTo>
                    <a:pt x="421" y="1478"/>
                  </a:lnTo>
                  <a:lnTo>
                    <a:pt x="422" y="1474"/>
                  </a:lnTo>
                  <a:lnTo>
                    <a:pt x="424" y="1472"/>
                  </a:lnTo>
                  <a:lnTo>
                    <a:pt x="426" y="1471"/>
                  </a:lnTo>
                  <a:lnTo>
                    <a:pt x="429" y="1468"/>
                  </a:lnTo>
                  <a:lnTo>
                    <a:pt x="432" y="1467"/>
                  </a:lnTo>
                  <a:lnTo>
                    <a:pt x="435" y="1466"/>
                  </a:lnTo>
                  <a:lnTo>
                    <a:pt x="440" y="1466"/>
                  </a:lnTo>
                  <a:lnTo>
                    <a:pt x="442" y="1465"/>
                  </a:lnTo>
                  <a:lnTo>
                    <a:pt x="453" y="1458"/>
                  </a:lnTo>
                  <a:lnTo>
                    <a:pt x="455" y="1457"/>
                  </a:lnTo>
                  <a:lnTo>
                    <a:pt x="458" y="1455"/>
                  </a:lnTo>
                  <a:lnTo>
                    <a:pt x="463" y="1451"/>
                  </a:lnTo>
                  <a:lnTo>
                    <a:pt x="466" y="1450"/>
                  </a:lnTo>
                  <a:lnTo>
                    <a:pt x="471" y="1444"/>
                  </a:lnTo>
                  <a:lnTo>
                    <a:pt x="483" y="1440"/>
                  </a:lnTo>
                  <a:lnTo>
                    <a:pt x="490" y="1439"/>
                  </a:lnTo>
                  <a:lnTo>
                    <a:pt x="494" y="1438"/>
                  </a:lnTo>
                  <a:lnTo>
                    <a:pt x="496" y="1435"/>
                  </a:lnTo>
                  <a:lnTo>
                    <a:pt x="498" y="1432"/>
                  </a:lnTo>
                  <a:lnTo>
                    <a:pt x="502" y="1427"/>
                  </a:lnTo>
                  <a:lnTo>
                    <a:pt x="503" y="1418"/>
                  </a:lnTo>
                  <a:lnTo>
                    <a:pt x="504" y="1415"/>
                  </a:lnTo>
                  <a:lnTo>
                    <a:pt x="506" y="1411"/>
                  </a:lnTo>
                  <a:lnTo>
                    <a:pt x="509" y="1408"/>
                  </a:lnTo>
                  <a:lnTo>
                    <a:pt x="512" y="1402"/>
                  </a:lnTo>
                  <a:lnTo>
                    <a:pt x="514" y="1400"/>
                  </a:lnTo>
                  <a:lnTo>
                    <a:pt x="515" y="1396"/>
                  </a:lnTo>
                  <a:lnTo>
                    <a:pt x="517" y="1393"/>
                  </a:lnTo>
                  <a:lnTo>
                    <a:pt x="517" y="1390"/>
                  </a:lnTo>
                  <a:lnTo>
                    <a:pt x="517" y="1387"/>
                  </a:lnTo>
                  <a:lnTo>
                    <a:pt x="517" y="1385"/>
                  </a:lnTo>
                  <a:lnTo>
                    <a:pt x="518" y="1382"/>
                  </a:lnTo>
                  <a:lnTo>
                    <a:pt x="519" y="1379"/>
                  </a:lnTo>
                  <a:lnTo>
                    <a:pt x="520" y="1376"/>
                  </a:lnTo>
                  <a:lnTo>
                    <a:pt x="520" y="1374"/>
                  </a:lnTo>
                  <a:lnTo>
                    <a:pt x="518" y="1368"/>
                  </a:lnTo>
                  <a:lnTo>
                    <a:pt x="517" y="1352"/>
                  </a:lnTo>
                  <a:lnTo>
                    <a:pt x="517" y="1348"/>
                  </a:lnTo>
                  <a:lnTo>
                    <a:pt x="517" y="1345"/>
                  </a:lnTo>
                  <a:lnTo>
                    <a:pt x="519" y="1342"/>
                  </a:lnTo>
                  <a:lnTo>
                    <a:pt x="521" y="1338"/>
                  </a:lnTo>
                  <a:lnTo>
                    <a:pt x="525" y="1334"/>
                  </a:lnTo>
                  <a:lnTo>
                    <a:pt x="528" y="1331"/>
                  </a:lnTo>
                  <a:lnTo>
                    <a:pt x="531" y="1330"/>
                  </a:lnTo>
                  <a:lnTo>
                    <a:pt x="535" y="1327"/>
                  </a:lnTo>
                  <a:lnTo>
                    <a:pt x="536" y="1324"/>
                  </a:lnTo>
                  <a:lnTo>
                    <a:pt x="536" y="1321"/>
                  </a:lnTo>
                  <a:lnTo>
                    <a:pt x="535" y="1319"/>
                  </a:lnTo>
                  <a:lnTo>
                    <a:pt x="533" y="1320"/>
                  </a:lnTo>
                  <a:lnTo>
                    <a:pt x="531" y="1322"/>
                  </a:lnTo>
                  <a:lnTo>
                    <a:pt x="529" y="1324"/>
                  </a:lnTo>
                  <a:lnTo>
                    <a:pt x="525" y="1324"/>
                  </a:lnTo>
                  <a:lnTo>
                    <a:pt x="523" y="1323"/>
                  </a:lnTo>
                  <a:lnTo>
                    <a:pt x="523" y="1318"/>
                  </a:lnTo>
                  <a:lnTo>
                    <a:pt x="526" y="1308"/>
                  </a:lnTo>
                  <a:lnTo>
                    <a:pt x="528" y="1295"/>
                  </a:lnTo>
                  <a:lnTo>
                    <a:pt x="530" y="1289"/>
                  </a:lnTo>
                  <a:lnTo>
                    <a:pt x="534" y="1283"/>
                  </a:lnTo>
                  <a:lnTo>
                    <a:pt x="538" y="1274"/>
                  </a:lnTo>
                  <a:lnTo>
                    <a:pt x="543" y="1267"/>
                  </a:lnTo>
                  <a:lnTo>
                    <a:pt x="547" y="1264"/>
                  </a:lnTo>
                  <a:lnTo>
                    <a:pt x="554" y="1255"/>
                  </a:lnTo>
                  <a:lnTo>
                    <a:pt x="559" y="1251"/>
                  </a:lnTo>
                  <a:lnTo>
                    <a:pt x="566" y="1246"/>
                  </a:lnTo>
                  <a:lnTo>
                    <a:pt x="583" y="1230"/>
                  </a:lnTo>
                  <a:lnTo>
                    <a:pt x="593" y="1225"/>
                  </a:lnTo>
                  <a:lnTo>
                    <a:pt x="598" y="1224"/>
                  </a:lnTo>
                  <a:lnTo>
                    <a:pt x="601" y="1223"/>
                  </a:lnTo>
                  <a:lnTo>
                    <a:pt x="606" y="1222"/>
                  </a:lnTo>
                  <a:lnTo>
                    <a:pt x="610" y="1223"/>
                  </a:lnTo>
                  <a:lnTo>
                    <a:pt x="613" y="1224"/>
                  </a:lnTo>
                  <a:lnTo>
                    <a:pt x="615" y="1225"/>
                  </a:lnTo>
                  <a:lnTo>
                    <a:pt x="619" y="1223"/>
                  </a:lnTo>
                  <a:lnTo>
                    <a:pt x="621" y="1222"/>
                  </a:lnTo>
                  <a:lnTo>
                    <a:pt x="624" y="1218"/>
                  </a:lnTo>
                  <a:lnTo>
                    <a:pt x="626" y="1218"/>
                  </a:lnTo>
                  <a:lnTo>
                    <a:pt x="630" y="1219"/>
                  </a:lnTo>
                  <a:lnTo>
                    <a:pt x="632" y="1222"/>
                  </a:lnTo>
                  <a:lnTo>
                    <a:pt x="633" y="1223"/>
                  </a:lnTo>
                  <a:lnTo>
                    <a:pt x="637" y="1223"/>
                  </a:lnTo>
                  <a:lnTo>
                    <a:pt x="639" y="1223"/>
                  </a:lnTo>
                  <a:lnTo>
                    <a:pt x="642" y="1220"/>
                  </a:lnTo>
                  <a:lnTo>
                    <a:pt x="645" y="1216"/>
                  </a:lnTo>
                  <a:lnTo>
                    <a:pt x="647" y="1216"/>
                  </a:lnTo>
                  <a:lnTo>
                    <a:pt x="650" y="1216"/>
                  </a:lnTo>
                  <a:lnTo>
                    <a:pt x="654" y="1215"/>
                  </a:lnTo>
                  <a:lnTo>
                    <a:pt x="658" y="1208"/>
                  </a:lnTo>
                  <a:lnTo>
                    <a:pt x="659" y="1204"/>
                  </a:lnTo>
                  <a:lnTo>
                    <a:pt x="662" y="1202"/>
                  </a:lnTo>
                  <a:lnTo>
                    <a:pt x="666" y="1202"/>
                  </a:lnTo>
                  <a:lnTo>
                    <a:pt x="670" y="1203"/>
                  </a:lnTo>
                  <a:lnTo>
                    <a:pt x="673" y="1204"/>
                  </a:lnTo>
                  <a:lnTo>
                    <a:pt x="675" y="1204"/>
                  </a:lnTo>
                  <a:lnTo>
                    <a:pt x="679" y="1202"/>
                  </a:lnTo>
                  <a:lnTo>
                    <a:pt x="682" y="1198"/>
                  </a:lnTo>
                  <a:lnTo>
                    <a:pt x="690" y="1192"/>
                  </a:lnTo>
                  <a:lnTo>
                    <a:pt x="703" y="1188"/>
                  </a:lnTo>
                  <a:lnTo>
                    <a:pt x="714" y="1187"/>
                  </a:lnTo>
                  <a:lnTo>
                    <a:pt x="726" y="1185"/>
                  </a:lnTo>
                  <a:lnTo>
                    <a:pt x="729" y="1180"/>
                  </a:lnTo>
                  <a:lnTo>
                    <a:pt x="731" y="1178"/>
                  </a:lnTo>
                  <a:lnTo>
                    <a:pt x="736" y="1178"/>
                  </a:lnTo>
                  <a:lnTo>
                    <a:pt x="743" y="1180"/>
                  </a:lnTo>
                  <a:lnTo>
                    <a:pt x="747" y="1180"/>
                  </a:lnTo>
                  <a:lnTo>
                    <a:pt x="751" y="1180"/>
                  </a:lnTo>
                  <a:lnTo>
                    <a:pt x="757" y="1182"/>
                  </a:lnTo>
                  <a:lnTo>
                    <a:pt x="767" y="1183"/>
                  </a:lnTo>
                  <a:lnTo>
                    <a:pt x="773" y="1183"/>
                  </a:lnTo>
                  <a:lnTo>
                    <a:pt x="777" y="1183"/>
                  </a:lnTo>
                  <a:lnTo>
                    <a:pt x="783" y="1183"/>
                  </a:lnTo>
                  <a:lnTo>
                    <a:pt x="786" y="1183"/>
                  </a:lnTo>
                  <a:lnTo>
                    <a:pt x="791" y="1183"/>
                  </a:lnTo>
                  <a:lnTo>
                    <a:pt x="797" y="1183"/>
                  </a:lnTo>
                  <a:lnTo>
                    <a:pt x="801" y="1182"/>
                  </a:lnTo>
                  <a:lnTo>
                    <a:pt x="803" y="1182"/>
                  </a:lnTo>
                  <a:lnTo>
                    <a:pt x="808" y="1180"/>
                  </a:lnTo>
                  <a:lnTo>
                    <a:pt x="810" y="1177"/>
                  </a:lnTo>
                  <a:lnTo>
                    <a:pt x="808" y="1175"/>
                  </a:lnTo>
                  <a:lnTo>
                    <a:pt x="806" y="1174"/>
                  </a:lnTo>
                  <a:lnTo>
                    <a:pt x="799" y="1172"/>
                  </a:lnTo>
                  <a:lnTo>
                    <a:pt x="794" y="1172"/>
                  </a:lnTo>
                  <a:lnTo>
                    <a:pt x="787" y="1172"/>
                  </a:lnTo>
                  <a:lnTo>
                    <a:pt x="779" y="1170"/>
                  </a:lnTo>
                  <a:lnTo>
                    <a:pt x="774" y="1169"/>
                  </a:lnTo>
                  <a:lnTo>
                    <a:pt x="770" y="1166"/>
                  </a:lnTo>
                  <a:lnTo>
                    <a:pt x="755" y="1160"/>
                  </a:lnTo>
                  <a:lnTo>
                    <a:pt x="745" y="1150"/>
                  </a:lnTo>
                  <a:lnTo>
                    <a:pt x="738" y="1142"/>
                  </a:lnTo>
                  <a:lnTo>
                    <a:pt x="731" y="1131"/>
                  </a:lnTo>
                  <a:lnTo>
                    <a:pt x="729" y="1123"/>
                  </a:lnTo>
                  <a:lnTo>
                    <a:pt x="730" y="1116"/>
                  </a:lnTo>
                  <a:lnTo>
                    <a:pt x="731" y="1113"/>
                  </a:lnTo>
                  <a:lnTo>
                    <a:pt x="733" y="1110"/>
                  </a:lnTo>
                  <a:lnTo>
                    <a:pt x="733" y="1102"/>
                  </a:lnTo>
                  <a:lnTo>
                    <a:pt x="733" y="1097"/>
                  </a:lnTo>
                  <a:lnTo>
                    <a:pt x="737" y="1088"/>
                  </a:lnTo>
                  <a:lnTo>
                    <a:pt x="744" y="1073"/>
                  </a:lnTo>
                  <a:lnTo>
                    <a:pt x="746" y="1070"/>
                  </a:lnTo>
                  <a:lnTo>
                    <a:pt x="749" y="1065"/>
                  </a:lnTo>
                  <a:lnTo>
                    <a:pt x="753" y="1059"/>
                  </a:lnTo>
                  <a:lnTo>
                    <a:pt x="762" y="1050"/>
                  </a:lnTo>
                  <a:lnTo>
                    <a:pt x="773" y="1039"/>
                  </a:lnTo>
                  <a:lnTo>
                    <a:pt x="782" y="1028"/>
                  </a:lnTo>
                  <a:lnTo>
                    <a:pt x="785" y="1023"/>
                  </a:lnTo>
                  <a:lnTo>
                    <a:pt x="786" y="1020"/>
                  </a:lnTo>
                  <a:lnTo>
                    <a:pt x="789" y="1017"/>
                  </a:lnTo>
                  <a:lnTo>
                    <a:pt x="789" y="1012"/>
                  </a:lnTo>
                  <a:lnTo>
                    <a:pt x="789" y="1009"/>
                  </a:lnTo>
                  <a:lnTo>
                    <a:pt x="791" y="1007"/>
                  </a:lnTo>
                  <a:lnTo>
                    <a:pt x="793" y="1007"/>
                  </a:lnTo>
                  <a:lnTo>
                    <a:pt x="797" y="1003"/>
                  </a:lnTo>
                  <a:lnTo>
                    <a:pt x="803" y="993"/>
                  </a:lnTo>
                  <a:lnTo>
                    <a:pt x="813" y="983"/>
                  </a:lnTo>
                  <a:lnTo>
                    <a:pt x="821" y="976"/>
                  </a:lnTo>
                  <a:lnTo>
                    <a:pt x="827" y="972"/>
                  </a:lnTo>
                  <a:lnTo>
                    <a:pt x="827" y="969"/>
                  </a:lnTo>
                  <a:lnTo>
                    <a:pt x="824" y="961"/>
                  </a:lnTo>
                  <a:lnTo>
                    <a:pt x="822" y="960"/>
                  </a:lnTo>
                  <a:lnTo>
                    <a:pt x="821" y="956"/>
                  </a:lnTo>
                  <a:lnTo>
                    <a:pt x="819" y="954"/>
                  </a:lnTo>
                  <a:lnTo>
                    <a:pt x="819" y="953"/>
                  </a:lnTo>
                  <a:lnTo>
                    <a:pt x="819" y="951"/>
                  </a:lnTo>
                  <a:lnTo>
                    <a:pt x="819" y="950"/>
                  </a:lnTo>
                  <a:lnTo>
                    <a:pt x="819" y="948"/>
                  </a:lnTo>
                  <a:lnTo>
                    <a:pt x="819" y="943"/>
                  </a:lnTo>
                  <a:lnTo>
                    <a:pt x="821" y="942"/>
                  </a:lnTo>
                  <a:lnTo>
                    <a:pt x="821" y="940"/>
                  </a:lnTo>
                  <a:lnTo>
                    <a:pt x="822" y="939"/>
                  </a:lnTo>
                  <a:lnTo>
                    <a:pt x="822" y="937"/>
                  </a:lnTo>
                  <a:lnTo>
                    <a:pt x="822" y="936"/>
                  </a:lnTo>
                  <a:lnTo>
                    <a:pt x="823" y="934"/>
                  </a:lnTo>
                  <a:lnTo>
                    <a:pt x="823" y="932"/>
                  </a:lnTo>
                  <a:lnTo>
                    <a:pt x="824" y="930"/>
                  </a:lnTo>
                  <a:lnTo>
                    <a:pt x="825" y="929"/>
                  </a:lnTo>
                  <a:lnTo>
                    <a:pt x="826" y="928"/>
                  </a:lnTo>
                  <a:lnTo>
                    <a:pt x="829" y="926"/>
                  </a:lnTo>
                  <a:lnTo>
                    <a:pt x="830" y="923"/>
                  </a:lnTo>
                  <a:lnTo>
                    <a:pt x="831" y="922"/>
                  </a:lnTo>
                  <a:lnTo>
                    <a:pt x="831" y="921"/>
                  </a:lnTo>
                  <a:lnTo>
                    <a:pt x="831" y="920"/>
                  </a:lnTo>
                  <a:lnTo>
                    <a:pt x="832" y="915"/>
                  </a:lnTo>
                  <a:lnTo>
                    <a:pt x="833" y="913"/>
                  </a:lnTo>
                  <a:lnTo>
                    <a:pt x="835" y="912"/>
                  </a:lnTo>
                  <a:lnTo>
                    <a:pt x="837" y="911"/>
                  </a:lnTo>
                  <a:lnTo>
                    <a:pt x="837" y="910"/>
                  </a:lnTo>
                  <a:lnTo>
                    <a:pt x="838" y="908"/>
                  </a:lnTo>
                  <a:lnTo>
                    <a:pt x="840" y="906"/>
                  </a:lnTo>
                  <a:lnTo>
                    <a:pt x="842" y="905"/>
                  </a:lnTo>
                  <a:lnTo>
                    <a:pt x="843" y="904"/>
                  </a:lnTo>
                  <a:lnTo>
                    <a:pt x="846" y="903"/>
                  </a:lnTo>
                  <a:lnTo>
                    <a:pt x="848" y="902"/>
                  </a:lnTo>
                  <a:lnTo>
                    <a:pt x="850" y="900"/>
                  </a:lnTo>
                  <a:lnTo>
                    <a:pt x="851" y="900"/>
                  </a:lnTo>
                  <a:lnTo>
                    <a:pt x="857" y="899"/>
                  </a:lnTo>
                  <a:lnTo>
                    <a:pt x="862" y="897"/>
                  </a:lnTo>
                  <a:lnTo>
                    <a:pt x="866" y="895"/>
                  </a:lnTo>
                  <a:lnTo>
                    <a:pt x="869" y="895"/>
                  </a:lnTo>
                  <a:lnTo>
                    <a:pt x="871" y="895"/>
                  </a:lnTo>
                  <a:lnTo>
                    <a:pt x="872" y="894"/>
                  </a:lnTo>
                  <a:lnTo>
                    <a:pt x="875" y="894"/>
                  </a:lnTo>
                  <a:lnTo>
                    <a:pt x="877" y="894"/>
                  </a:lnTo>
                  <a:lnTo>
                    <a:pt x="879" y="894"/>
                  </a:lnTo>
                  <a:lnTo>
                    <a:pt x="881" y="894"/>
                  </a:lnTo>
                  <a:lnTo>
                    <a:pt x="883" y="894"/>
                  </a:lnTo>
                  <a:lnTo>
                    <a:pt x="886" y="894"/>
                  </a:lnTo>
                  <a:lnTo>
                    <a:pt x="887" y="894"/>
                  </a:lnTo>
                  <a:lnTo>
                    <a:pt x="888" y="894"/>
                  </a:lnTo>
                  <a:lnTo>
                    <a:pt x="890" y="895"/>
                  </a:lnTo>
                  <a:lnTo>
                    <a:pt x="893" y="895"/>
                  </a:lnTo>
                  <a:lnTo>
                    <a:pt x="895" y="895"/>
                  </a:lnTo>
                  <a:lnTo>
                    <a:pt x="896" y="895"/>
                  </a:lnTo>
                  <a:lnTo>
                    <a:pt x="901" y="895"/>
                  </a:lnTo>
                  <a:lnTo>
                    <a:pt x="902" y="894"/>
                  </a:lnTo>
                  <a:lnTo>
                    <a:pt x="903" y="894"/>
                  </a:lnTo>
                  <a:lnTo>
                    <a:pt x="904" y="894"/>
                  </a:lnTo>
                  <a:lnTo>
                    <a:pt x="904" y="892"/>
                  </a:lnTo>
                  <a:lnTo>
                    <a:pt x="904" y="890"/>
                  </a:lnTo>
                  <a:lnTo>
                    <a:pt x="903" y="888"/>
                  </a:lnTo>
                  <a:lnTo>
                    <a:pt x="903" y="887"/>
                  </a:lnTo>
                  <a:lnTo>
                    <a:pt x="903" y="886"/>
                  </a:lnTo>
                  <a:lnTo>
                    <a:pt x="904" y="884"/>
                  </a:lnTo>
                  <a:lnTo>
                    <a:pt x="905" y="884"/>
                  </a:lnTo>
                  <a:lnTo>
                    <a:pt x="905" y="883"/>
                  </a:lnTo>
                  <a:lnTo>
                    <a:pt x="906" y="882"/>
                  </a:lnTo>
                  <a:lnTo>
                    <a:pt x="907" y="882"/>
                  </a:lnTo>
                  <a:lnTo>
                    <a:pt x="907" y="884"/>
                  </a:lnTo>
                  <a:lnTo>
                    <a:pt x="909" y="884"/>
                  </a:lnTo>
                  <a:lnTo>
                    <a:pt x="910" y="886"/>
                  </a:lnTo>
                  <a:lnTo>
                    <a:pt x="911" y="887"/>
                  </a:lnTo>
                  <a:lnTo>
                    <a:pt x="913" y="886"/>
                  </a:lnTo>
                  <a:lnTo>
                    <a:pt x="915" y="886"/>
                  </a:lnTo>
                  <a:lnTo>
                    <a:pt x="917" y="886"/>
                  </a:lnTo>
                  <a:lnTo>
                    <a:pt x="919" y="884"/>
                  </a:lnTo>
                  <a:lnTo>
                    <a:pt x="920" y="884"/>
                  </a:lnTo>
                  <a:lnTo>
                    <a:pt x="921" y="884"/>
                  </a:lnTo>
                  <a:lnTo>
                    <a:pt x="922" y="884"/>
                  </a:lnTo>
                  <a:lnTo>
                    <a:pt x="923" y="886"/>
                  </a:lnTo>
                  <a:lnTo>
                    <a:pt x="925" y="886"/>
                  </a:lnTo>
                  <a:lnTo>
                    <a:pt x="926" y="887"/>
                  </a:lnTo>
                  <a:lnTo>
                    <a:pt x="926" y="888"/>
                  </a:lnTo>
                  <a:lnTo>
                    <a:pt x="927" y="889"/>
                  </a:lnTo>
                  <a:lnTo>
                    <a:pt x="926" y="890"/>
                  </a:lnTo>
                  <a:lnTo>
                    <a:pt x="925" y="891"/>
                  </a:lnTo>
                  <a:lnTo>
                    <a:pt x="923" y="891"/>
                  </a:lnTo>
                  <a:lnTo>
                    <a:pt x="920" y="892"/>
                  </a:lnTo>
                  <a:lnTo>
                    <a:pt x="918" y="891"/>
                  </a:lnTo>
                  <a:lnTo>
                    <a:pt x="915" y="891"/>
                  </a:lnTo>
                  <a:lnTo>
                    <a:pt x="914" y="890"/>
                  </a:lnTo>
                  <a:lnTo>
                    <a:pt x="913" y="891"/>
                  </a:lnTo>
                  <a:lnTo>
                    <a:pt x="912" y="891"/>
                  </a:lnTo>
                  <a:lnTo>
                    <a:pt x="911" y="892"/>
                  </a:lnTo>
                  <a:lnTo>
                    <a:pt x="911" y="895"/>
                  </a:lnTo>
                  <a:lnTo>
                    <a:pt x="912" y="896"/>
                  </a:lnTo>
                  <a:lnTo>
                    <a:pt x="913" y="896"/>
                  </a:lnTo>
                  <a:lnTo>
                    <a:pt x="914" y="897"/>
                  </a:lnTo>
                  <a:lnTo>
                    <a:pt x="915" y="898"/>
                  </a:lnTo>
                  <a:lnTo>
                    <a:pt x="918" y="899"/>
                  </a:lnTo>
                  <a:lnTo>
                    <a:pt x="920" y="899"/>
                  </a:lnTo>
                  <a:lnTo>
                    <a:pt x="921" y="900"/>
                  </a:lnTo>
                  <a:lnTo>
                    <a:pt x="923" y="900"/>
                  </a:lnTo>
                  <a:lnTo>
                    <a:pt x="926" y="900"/>
                  </a:lnTo>
                  <a:lnTo>
                    <a:pt x="927" y="902"/>
                  </a:lnTo>
                  <a:lnTo>
                    <a:pt x="930" y="903"/>
                  </a:lnTo>
                  <a:lnTo>
                    <a:pt x="934" y="903"/>
                  </a:lnTo>
                  <a:lnTo>
                    <a:pt x="939" y="903"/>
                  </a:lnTo>
                  <a:lnTo>
                    <a:pt x="942" y="903"/>
                  </a:lnTo>
                  <a:lnTo>
                    <a:pt x="944" y="903"/>
                  </a:lnTo>
                  <a:lnTo>
                    <a:pt x="946" y="904"/>
                  </a:lnTo>
                  <a:lnTo>
                    <a:pt x="949" y="904"/>
                  </a:lnTo>
                  <a:lnTo>
                    <a:pt x="950" y="905"/>
                  </a:lnTo>
                  <a:lnTo>
                    <a:pt x="953" y="905"/>
                  </a:lnTo>
                  <a:lnTo>
                    <a:pt x="954" y="905"/>
                  </a:lnTo>
                  <a:lnTo>
                    <a:pt x="957" y="905"/>
                  </a:lnTo>
                  <a:lnTo>
                    <a:pt x="960" y="905"/>
                  </a:lnTo>
                  <a:lnTo>
                    <a:pt x="962" y="906"/>
                  </a:lnTo>
                  <a:lnTo>
                    <a:pt x="963" y="905"/>
                  </a:lnTo>
                  <a:lnTo>
                    <a:pt x="965" y="905"/>
                  </a:lnTo>
                  <a:lnTo>
                    <a:pt x="967" y="905"/>
                  </a:lnTo>
                  <a:lnTo>
                    <a:pt x="967" y="904"/>
                  </a:lnTo>
                  <a:lnTo>
                    <a:pt x="967" y="903"/>
                  </a:lnTo>
                  <a:lnTo>
                    <a:pt x="965" y="903"/>
                  </a:lnTo>
                  <a:lnTo>
                    <a:pt x="962" y="902"/>
                  </a:lnTo>
                  <a:lnTo>
                    <a:pt x="960" y="900"/>
                  </a:lnTo>
                  <a:lnTo>
                    <a:pt x="958" y="899"/>
                  </a:lnTo>
                  <a:lnTo>
                    <a:pt x="957" y="899"/>
                  </a:lnTo>
                  <a:lnTo>
                    <a:pt x="954" y="899"/>
                  </a:lnTo>
                  <a:lnTo>
                    <a:pt x="952" y="899"/>
                  </a:lnTo>
                  <a:lnTo>
                    <a:pt x="949" y="899"/>
                  </a:lnTo>
                  <a:lnTo>
                    <a:pt x="946" y="899"/>
                  </a:lnTo>
                  <a:lnTo>
                    <a:pt x="944" y="898"/>
                  </a:lnTo>
                  <a:lnTo>
                    <a:pt x="944" y="897"/>
                  </a:lnTo>
                  <a:lnTo>
                    <a:pt x="943" y="896"/>
                  </a:lnTo>
                  <a:lnTo>
                    <a:pt x="942" y="896"/>
                  </a:lnTo>
                  <a:lnTo>
                    <a:pt x="941" y="895"/>
                  </a:lnTo>
                  <a:lnTo>
                    <a:pt x="939" y="894"/>
                  </a:lnTo>
                  <a:lnTo>
                    <a:pt x="936" y="892"/>
                  </a:lnTo>
                  <a:lnTo>
                    <a:pt x="934" y="892"/>
                  </a:lnTo>
                  <a:lnTo>
                    <a:pt x="933" y="892"/>
                  </a:lnTo>
                  <a:lnTo>
                    <a:pt x="930" y="891"/>
                  </a:lnTo>
                  <a:lnTo>
                    <a:pt x="930" y="890"/>
                  </a:lnTo>
                  <a:lnTo>
                    <a:pt x="930" y="889"/>
                  </a:lnTo>
                  <a:lnTo>
                    <a:pt x="931" y="888"/>
                  </a:lnTo>
                  <a:lnTo>
                    <a:pt x="933" y="888"/>
                  </a:lnTo>
                  <a:lnTo>
                    <a:pt x="934" y="887"/>
                  </a:lnTo>
                  <a:lnTo>
                    <a:pt x="935" y="888"/>
                  </a:lnTo>
                  <a:lnTo>
                    <a:pt x="936" y="888"/>
                  </a:lnTo>
                  <a:lnTo>
                    <a:pt x="938" y="888"/>
                  </a:lnTo>
                  <a:lnTo>
                    <a:pt x="939" y="889"/>
                  </a:lnTo>
                  <a:lnTo>
                    <a:pt x="942" y="889"/>
                  </a:lnTo>
                  <a:lnTo>
                    <a:pt x="943" y="890"/>
                  </a:lnTo>
                  <a:lnTo>
                    <a:pt x="944" y="891"/>
                  </a:lnTo>
                  <a:lnTo>
                    <a:pt x="946" y="892"/>
                  </a:lnTo>
                  <a:lnTo>
                    <a:pt x="946" y="894"/>
                  </a:lnTo>
                  <a:lnTo>
                    <a:pt x="947" y="894"/>
                  </a:lnTo>
                  <a:lnTo>
                    <a:pt x="950" y="895"/>
                  </a:lnTo>
                  <a:lnTo>
                    <a:pt x="952" y="894"/>
                  </a:lnTo>
                  <a:lnTo>
                    <a:pt x="953" y="892"/>
                  </a:lnTo>
                  <a:lnTo>
                    <a:pt x="954" y="891"/>
                  </a:lnTo>
                  <a:lnTo>
                    <a:pt x="957" y="891"/>
                  </a:lnTo>
                  <a:lnTo>
                    <a:pt x="958" y="891"/>
                  </a:lnTo>
                  <a:lnTo>
                    <a:pt x="959" y="892"/>
                  </a:lnTo>
                  <a:lnTo>
                    <a:pt x="960" y="892"/>
                  </a:lnTo>
                  <a:lnTo>
                    <a:pt x="962" y="894"/>
                  </a:lnTo>
                  <a:lnTo>
                    <a:pt x="963" y="895"/>
                  </a:lnTo>
                  <a:lnTo>
                    <a:pt x="966" y="896"/>
                  </a:lnTo>
                  <a:lnTo>
                    <a:pt x="968" y="898"/>
                  </a:lnTo>
                  <a:lnTo>
                    <a:pt x="971" y="902"/>
                  </a:lnTo>
                  <a:lnTo>
                    <a:pt x="973" y="903"/>
                  </a:lnTo>
                  <a:lnTo>
                    <a:pt x="974" y="904"/>
                  </a:lnTo>
                  <a:lnTo>
                    <a:pt x="976" y="905"/>
                  </a:lnTo>
                  <a:lnTo>
                    <a:pt x="978" y="907"/>
                  </a:lnTo>
                  <a:lnTo>
                    <a:pt x="981" y="908"/>
                  </a:lnTo>
                  <a:lnTo>
                    <a:pt x="983" y="908"/>
                  </a:lnTo>
                  <a:lnTo>
                    <a:pt x="985" y="910"/>
                  </a:lnTo>
                  <a:lnTo>
                    <a:pt x="987" y="908"/>
                  </a:lnTo>
                  <a:lnTo>
                    <a:pt x="989" y="908"/>
                  </a:lnTo>
                  <a:lnTo>
                    <a:pt x="991" y="907"/>
                  </a:lnTo>
                  <a:lnTo>
                    <a:pt x="993" y="906"/>
                  </a:lnTo>
                  <a:lnTo>
                    <a:pt x="994" y="905"/>
                  </a:lnTo>
                  <a:lnTo>
                    <a:pt x="995" y="902"/>
                  </a:lnTo>
                  <a:lnTo>
                    <a:pt x="997" y="900"/>
                  </a:lnTo>
                  <a:lnTo>
                    <a:pt x="998" y="898"/>
                  </a:lnTo>
                  <a:lnTo>
                    <a:pt x="998" y="897"/>
                  </a:lnTo>
                  <a:lnTo>
                    <a:pt x="998" y="895"/>
                  </a:lnTo>
                  <a:lnTo>
                    <a:pt x="998" y="890"/>
                  </a:lnTo>
                  <a:lnTo>
                    <a:pt x="998" y="888"/>
                  </a:lnTo>
                  <a:lnTo>
                    <a:pt x="997" y="886"/>
                  </a:lnTo>
                  <a:lnTo>
                    <a:pt x="997" y="883"/>
                  </a:lnTo>
                  <a:lnTo>
                    <a:pt x="995" y="880"/>
                  </a:lnTo>
                  <a:lnTo>
                    <a:pt x="995" y="873"/>
                  </a:lnTo>
                  <a:lnTo>
                    <a:pt x="994" y="856"/>
                  </a:lnTo>
                  <a:lnTo>
                    <a:pt x="992" y="838"/>
                  </a:lnTo>
                  <a:lnTo>
                    <a:pt x="990" y="818"/>
                  </a:lnTo>
                  <a:lnTo>
                    <a:pt x="990" y="806"/>
                  </a:lnTo>
                  <a:lnTo>
                    <a:pt x="990" y="796"/>
                  </a:lnTo>
                  <a:lnTo>
                    <a:pt x="990" y="795"/>
                  </a:lnTo>
                  <a:lnTo>
                    <a:pt x="990" y="792"/>
                  </a:lnTo>
                  <a:lnTo>
                    <a:pt x="990" y="788"/>
                  </a:lnTo>
                  <a:lnTo>
                    <a:pt x="990" y="785"/>
                  </a:lnTo>
                  <a:lnTo>
                    <a:pt x="990" y="784"/>
                  </a:lnTo>
                  <a:lnTo>
                    <a:pt x="989" y="780"/>
                  </a:lnTo>
                  <a:lnTo>
                    <a:pt x="989" y="778"/>
                  </a:lnTo>
                  <a:lnTo>
                    <a:pt x="990" y="775"/>
                  </a:lnTo>
                  <a:lnTo>
                    <a:pt x="989" y="769"/>
                  </a:lnTo>
                  <a:lnTo>
                    <a:pt x="989" y="767"/>
                  </a:lnTo>
                  <a:lnTo>
                    <a:pt x="989" y="761"/>
                  </a:lnTo>
                  <a:lnTo>
                    <a:pt x="989" y="754"/>
                  </a:lnTo>
                  <a:lnTo>
                    <a:pt x="986" y="754"/>
                  </a:lnTo>
                  <a:lnTo>
                    <a:pt x="984" y="754"/>
                  </a:lnTo>
                  <a:lnTo>
                    <a:pt x="981" y="753"/>
                  </a:lnTo>
                  <a:lnTo>
                    <a:pt x="979" y="753"/>
                  </a:lnTo>
                  <a:lnTo>
                    <a:pt x="977" y="751"/>
                  </a:lnTo>
                  <a:lnTo>
                    <a:pt x="976" y="748"/>
                  </a:lnTo>
                  <a:lnTo>
                    <a:pt x="974" y="747"/>
                  </a:lnTo>
                  <a:lnTo>
                    <a:pt x="971" y="746"/>
                  </a:lnTo>
                  <a:lnTo>
                    <a:pt x="970" y="744"/>
                  </a:lnTo>
                  <a:lnTo>
                    <a:pt x="969" y="742"/>
                  </a:lnTo>
                  <a:lnTo>
                    <a:pt x="968" y="740"/>
                  </a:lnTo>
                  <a:lnTo>
                    <a:pt x="967" y="738"/>
                  </a:lnTo>
                  <a:lnTo>
                    <a:pt x="967" y="737"/>
                  </a:lnTo>
                  <a:lnTo>
                    <a:pt x="966" y="736"/>
                  </a:lnTo>
                  <a:lnTo>
                    <a:pt x="965" y="734"/>
                  </a:lnTo>
                  <a:lnTo>
                    <a:pt x="963" y="731"/>
                  </a:lnTo>
                  <a:lnTo>
                    <a:pt x="961" y="729"/>
                  </a:lnTo>
                  <a:lnTo>
                    <a:pt x="959" y="729"/>
                  </a:lnTo>
                  <a:lnTo>
                    <a:pt x="957" y="728"/>
                  </a:lnTo>
                  <a:lnTo>
                    <a:pt x="955" y="728"/>
                  </a:lnTo>
                  <a:lnTo>
                    <a:pt x="952" y="726"/>
                  </a:lnTo>
                  <a:lnTo>
                    <a:pt x="951" y="726"/>
                  </a:lnTo>
                  <a:lnTo>
                    <a:pt x="949" y="726"/>
                  </a:lnTo>
                  <a:lnTo>
                    <a:pt x="946" y="724"/>
                  </a:lnTo>
                  <a:lnTo>
                    <a:pt x="944" y="724"/>
                  </a:lnTo>
                  <a:lnTo>
                    <a:pt x="942" y="724"/>
                  </a:lnTo>
                  <a:lnTo>
                    <a:pt x="941" y="722"/>
                  </a:lnTo>
                  <a:lnTo>
                    <a:pt x="941" y="721"/>
                  </a:lnTo>
                  <a:lnTo>
                    <a:pt x="943" y="720"/>
                  </a:lnTo>
                  <a:lnTo>
                    <a:pt x="944" y="719"/>
                  </a:lnTo>
                  <a:lnTo>
                    <a:pt x="944" y="716"/>
                  </a:lnTo>
                  <a:lnTo>
                    <a:pt x="945" y="715"/>
                  </a:lnTo>
                  <a:lnTo>
                    <a:pt x="947" y="716"/>
                  </a:lnTo>
                  <a:lnTo>
                    <a:pt x="950" y="718"/>
                  </a:lnTo>
                  <a:lnTo>
                    <a:pt x="952" y="718"/>
                  </a:lnTo>
                  <a:lnTo>
                    <a:pt x="953" y="716"/>
                  </a:lnTo>
                  <a:lnTo>
                    <a:pt x="954" y="712"/>
                  </a:lnTo>
                  <a:lnTo>
                    <a:pt x="954" y="711"/>
                  </a:lnTo>
                  <a:lnTo>
                    <a:pt x="954" y="707"/>
                  </a:lnTo>
                  <a:lnTo>
                    <a:pt x="953" y="705"/>
                  </a:lnTo>
                  <a:lnTo>
                    <a:pt x="953" y="703"/>
                  </a:lnTo>
                  <a:lnTo>
                    <a:pt x="953" y="698"/>
                  </a:lnTo>
                  <a:lnTo>
                    <a:pt x="953" y="696"/>
                  </a:lnTo>
                  <a:lnTo>
                    <a:pt x="954" y="694"/>
                  </a:lnTo>
                  <a:lnTo>
                    <a:pt x="955" y="694"/>
                  </a:lnTo>
                  <a:lnTo>
                    <a:pt x="957" y="694"/>
                  </a:lnTo>
                  <a:lnTo>
                    <a:pt x="959" y="695"/>
                  </a:lnTo>
                  <a:lnTo>
                    <a:pt x="960" y="696"/>
                  </a:lnTo>
                  <a:lnTo>
                    <a:pt x="961" y="698"/>
                  </a:lnTo>
                  <a:lnTo>
                    <a:pt x="962" y="700"/>
                  </a:lnTo>
                  <a:lnTo>
                    <a:pt x="963" y="702"/>
                  </a:lnTo>
                  <a:lnTo>
                    <a:pt x="966" y="703"/>
                  </a:lnTo>
                  <a:lnTo>
                    <a:pt x="967" y="703"/>
                  </a:lnTo>
                  <a:lnTo>
                    <a:pt x="969" y="702"/>
                  </a:lnTo>
                  <a:lnTo>
                    <a:pt x="971" y="700"/>
                  </a:lnTo>
                  <a:lnTo>
                    <a:pt x="973" y="700"/>
                  </a:lnTo>
                  <a:lnTo>
                    <a:pt x="974" y="702"/>
                  </a:lnTo>
                  <a:lnTo>
                    <a:pt x="975" y="703"/>
                  </a:lnTo>
                  <a:lnTo>
                    <a:pt x="976" y="704"/>
                  </a:lnTo>
                  <a:lnTo>
                    <a:pt x="977" y="705"/>
                  </a:lnTo>
                  <a:lnTo>
                    <a:pt x="978" y="706"/>
                  </a:lnTo>
                  <a:lnTo>
                    <a:pt x="981" y="705"/>
                  </a:lnTo>
                  <a:lnTo>
                    <a:pt x="982" y="705"/>
                  </a:lnTo>
                  <a:lnTo>
                    <a:pt x="984" y="704"/>
                  </a:lnTo>
                  <a:lnTo>
                    <a:pt x="987" y="705"/>
                  </a:lnTo>
                  <a:lnTo>
                    <a:pt x="989" y="705"/>
                  </a:lnTo>
                  <a:lnTo>
                    <a:pt x="990" y="705"/>
                  </a:lnTo>
                  <a:lnTo>
                    <a:pt x="992" y="704"/>
                  </a:lnTo>
                  <a:lnTo>
                    <a:pt x="992" y="705"/>
                  </a:lnTo>
                  <a:lnTo>
                    <a:pt x="993" y="702"/>
                  </a:lnTo>
                  <a:lnTo>
                    <a:pt x="995" y="691"/>
                  </a:lnTo>
                  <a:lnTo>
                    <a:pt x="995" y="675"/>
                  </a:lnTo>
                  <a:lnTo>
                    <a:pt x="993" y="663"/>
                  </a:lnTo>
                  <a:lnTo>
                    <a:pt x="992" y="657"/>
                  </a:lnTo>
                  <a:lnTo>
                    <a:pt x="991" y="647"/>
                  </a:lnTo>
                  <a:lnTo>
                    <a:pt x="989" y="635"/>
                  </a:lnTo>
                  <a:lnTo>
                    <a:pt x="986" y="623"/>
                  </a:lnTo>
                  <a:lnTo>
                    <a:pt x="985" y="618"/>
                  </a:lnTo>
                  <a:lnTo>
                    <a:pt x="984" y="616"/>
                  </a:lnTo>
                  <a:lnTo>
                    <a:pt x="983" y="614"/>
                  </a:lnTo>
                  <a:lnTo>
                    <a:pt x="982" y="611"/>
                  </a:lnTo>
                  <a:lnTo>
                    <a:pt x="981" y="610"/>
                  </a:lnTo>
                  <a:lnTo>
                    <a:pt x="979" y="609"/>
                  </a:lnTo>
                  <a:lnTo>
                    <a:pt x="977" y="608"/>
                  </a:lnTo>
                  <a:lnTo>
                    <a:pt x="975" y="608"/>
                  </a:lnTo>
                  <a:lnTo>
                    <a:pt x="974" y="608"/>
                  </a:lnTo>
                  <a:lnTo>
                    <a:pt x="973" y="607"/>
                  </a:lnTo>
                  <a:lnTo>
                    <a:pt x="973" y="606"/>
                  </a:lnTo>
                  <a:lnTo>
                    <a:pt x="973" y="604"/>
                  </a:lnTo>
                  <a:lnTo>
                    <a:pt x="973" y="603"/>
                  </a:lnTo>
                  <a:lnTo>
                    <a:pt x="974" y="603"/>
                  </a:lnTo>
                  <a:lnTo>
                    <a:pt x="975" y="603"/>
                  </a:lnTo>
                  <a:lnTo>
                    <a:pt x="975" y="602"/>
                  </a:lnTo>
                  <a:lnTo>
                    <a:pt x="976" y="602"/>
                  </a:lnTo>
                  <a:lnTo>
                    <a:pt x="977" y="603"/>
                  </a:lnTo>
                  <a:lnTo>
                    <a:pt x="978" y="603"/>
                  </a:lnTo>
                  <a:lnTo>
                    <a:pt x="979" y="604"/>
                  </a:lnTo>
                  <a:lnTo>
                    <a:pt x="979" y="606"/>
                  </a:lnTo>
                  <a:lnTo>
                    <a:pt x="981" y="607"/>
                  </a:lnTo>
                  <a:lnTo>
                    <a:pt x="982" y="607"/>
                  </a:lnTo>
                  <a:lnTo>
                    <a:pt x="982" y="606"/>
                  </a:lnTo>
                  <a:lnTo>
                    <a:pt x="983" y="606"/>
                  </a:lnTo>
                  <a:lnTo>
                    <a:pt x="983" y="604"/>
                  </a:lnTo>
                  <a:lnTo>
                    <a:pt x="983" y="603"/>
                  </a:lnTo>
                  <a:lnTo>
                    <a:pt x="983" y="602"/>
                  </a:lnTo>
                  <a:lnTo>
                    <a:pt x="982" y="600"/>
                  </a:lnTo>
                  <a:lnTo>
                    <a:pt x="981" y="599"/>
                  </a:lnTo>
                  <a:lnTo>
                    <a:pt x="979" y="598"/>
                  </a:lnTo>
                  <a:lnTo>
                    <a:pt x="978" y="596"/>
                  </a:lnTo>
                  <a:lnTo>
                    <a:pt x="978" y="595"/>
                  </a:lnTo>
                  <a:lnTo>
                    <a:pt x="978" y="594"/>
                  </a:lnTo>
                  <a:lnTo>
                    <a:pt x="977" y="592"/>
                  </a:lnTo>
                  <a:lnTo>
                    <a:pt x="976" y="591"/>
                  </a:lnTo>
                  <a:lnTo>
                    <a:pt x="976" y="590"/>
                  </a:lnTo>
                  <a:lnTo>
                    <a:pt x="976" y="588"/>
                  </a:lnTo>
                  <a:lnTo>
                    <a:pt x="977" y="587"/>
                  </a:lnTo>
                  <a:lnTo>
                    <a:pt x="977" y="586"/>
                  </a:lnTo>
                  <a:lnTo>
                    <a:pt x="977" y="585"/>
                  </a:lnTo>
                  <a:lnTo>
                    <a:pt x="976" y="584"/>
                  </a:lnTo>
                  <a:lnTo>
                    <a:pt x="976" y="582"/>
                  </a:lnTo>
                  <a:lnTo>
                    <a:pt x="974" y="580"/>
                  </a:lnTo>
                  <a:lnTo>
                    <a:pt x="973" y="578"/>
                  </a:lnTo>
                  <a:lnTo>
                    <a:pt x="971" y="576"/>
                  </a:lnTo>
                  <a:lnTo>
                    <a:pt x="970" y="575"/>
                  </a:lnTo>
                  <a:lnTo>
                    <a:pt x="970" y="574"/>
                  </a:lnTo>
                  <a:lnTo>
                    <a:pt x="969" y="574"/>
                  </a:lnTo>
                  <a:lnTo>
                    <a:pt x="969" y="571"/>
                  </a:lnTo>
                  <a:lnTo>
                    <a:pt x="968" y="570"/>
                  </a:lnTo>
                  <a:lnTo>
                    <a:pt x="968" y="569"/>
                  </a:lnTo>
                  <a:lnTo>
                    <a:pt x="967" y="568"/>
                  </a:lnTo>
                  <a:lnTo>
                    <a:pt x="967" y="567"/>
                  </a:lnTo>
                  <a:lnTo>
                    <a:pt x="967" y="566"/>
                  </a:lnTo>
                  <a:lnTo>
                    <a:pt x="967" y="564"/>
                  </a:lnTo>
                  <a:lnTo>
                    <a:pt x="967" y="563"/>
                  </a:lnTo>
                  <a:lnTo>
                    <a:pt x="966" y="561"/>
                  </a:lnTo>
                  <a:lnTo>
                    <a:pt x="965" y="560"/>
                  </a:lnTo>
                  <a:lnTo>
                    <a:pt x="963" y="555"/>
                  </a:lnTo>
                  <a:lnTo>
                    <a:pt x="963" y="554"/>
                  </a:lnTo>
                  <a:lnTo>
                    <a:pt x="963" y="552"/>
                  </a:lnTo>
                  <a:lnTo>
                    <a:pt x="963" y="550"/>
                  </a:lnTo>
                  <a:lnTo>
                    <a:pt x="965" y="547"/>
                  </a:lnTo>
                  <a:lnTo>
                    <a:pt x="965" y="545"/>
                  </a:lnTo>
                  <a:lnTo>
                    <a:pt x="963" y="545"/>
                  </a:lnTo>
                  <a:lnTo>
                    <a:pt x="963" y="542"/>
                  </a:lnTo>
                  <a:lnTo>
                    <a:pt x="965" y="540"/>
                  </a:lnTo>
                  <a:lnTo>
                    <a:pt x="965" y="538"/>
                  </a:lnTo>
                  <a:lnTo>
                    <a:pt x="965" y="536"/>
                  </a:lnTo>
                  <a:lnTo>
                    <a:pt x="966" y="535"/>
                  </a:lnTo>
                  <a:lnTo>
                    <a:pt x="966" y="532"/>
                  </a:lnTo>
                  <a:lnTo>
                    <a:pt x="967" y="530"/>
                  </a:lnTo>
                  <a:lnTo>
                    <a:pt x="967" y="528"/>
                  </a:lnTo>
                  <a:lnTo>
                    <a:pt x="968" y="526"/>
                  </a:lnTo>
                  <a:lnTo>
                    <a:pt x="968" y="524"/>
                  </a:lnTo>
                  <a:lnTo>
                    <a:pt x="968" y="522"/>
                  </a:lnTo>
                  <a:lnTo>
                    <a:pt x="968" y="519"/>
                  </a:lnTo>
                  <a:lnTo>
                    <a:pt x="968" y="518"/>
                  </a:lnTo>
                  <a:lnTo>
                    <a:pt x="969" y="516"/>
                  </a:lnTo>
                  <a:lnTo>
                    <a:pt x="969" y="514"/>
                  </a:lnTo>
                  <a:lnTo>
                    <a:pt x="970" y="511"/>
                  </a:lnTo>
                  <a:lnTo>
                    <a:pt x="970" y="508"/>
                  </a:lnTo>
                  <a:lnTo>
                    <a:pt x="970" y="507"/>
                  </a:lnTo>
                  <a:lnTo>
                    <a:pt x="971" y="502"/>
                  </a:lnTo>
                  <a:lnTo>
                    <a:pt x="973" y="498"/>
                  </a:lnTo>
                  <a:lnTo>
                    <a:pt x="974" y="497"/>
                  </a:lnTo>
                  <a:lnTo>
                    <a:pt x="974" y="496"/>
                  </a:lnTo>
                  <a:lnTo>
                    <a:pt x="975" y="494"/>
                  </a:lnTo>
                  <a:lnTo>
                    <a:pt x="976" y="490"/>
                  </a:lnTo>
                  <a:lnTo>
                    <a:pt x="976" y="488"/>
                  </a:lnTo>
                  <a:lnTo>
                    <a:pt x="977" y="486"/>
                  </a:lnTo>
                  <a:lnTo>
                    <a:pt x="977" y="483"/>
                  </a:lnTo>
                  <a:lnTo>
                    <a:pt x="977" y="481"/>
                  </a:lnTo>
                  <a:lnTo>
                    <a:pt x="975" y="479"/>
                  </a:lnTo>
                  <a:lnTo>
                    <a:pt x="974" y="478"/>
                  </a:lnTo>
                  <a:lnTo>
                    <a:pt x="971" y="476"/>
                  </a:lnTo>
                  <a:lnTo>
                    <a:pt x="970" y="475"/>
                  </a:lnTo>
                  <a:lnTo>
                    <a:pt x="967" y="474"/>
                  </a:lnTo>
                  <a:lnTo>
                    <a:pt x="966" y="474"/>
                  </a:lnTo>
                  <a:lnTo>
                    <a:pt x="963" y="475"/>
                  </a:lnTo>
                  <a:lnTo>
                    <a:pt x="961" y="476"/>
                  </a:lnTo>
                  <a:lnTo>
                    <a:pt x="960" y="479"/>
                  </a:lnTo>
                  <a:lnTo>
                    <a:pt x="958" y="480"/>
                  </a:lnTo>
                  <a:lnTo>
                    <a:pt x="957" y="481"/>
                  </a:lnTo>
                  <a:lnTo>
                    <a:pt x="954" y="482"/>
                  </a:lnTo>
                  <a:lnTo>
                    <a:pt x="953" y="482"/>
                  </a:lnTo>
                  <a:lnTo>
                    <a:pt x="952" y="481"/>
                  </a:lnTo>
                  <a:lnTo>
                    <a:pt x="951" y="479"/>
                  </a:lnTo>
                  <a:lnTo>
                    <a:pt x="952" y="476"/>
                  </a:lnTo>
                  <a:lnTo>
                    <a:pt x="953" y="476"/>
                  </a:lnTo>
                  <a:lnTo>
                    <a:pt x="954" y="476"/>
                  </a:lnTo>
                  <a:lnTo>
                    <a:pt x="957" y="475"/>
                  </a:lnTo>
                  <a:lnTo>
                    <a:pt x="958" y="474"/>
                  </a:lnTo>
                  <a:lnTo>
                    <a:pt x="958" y="472"/>
                  </a:lnTo>
                  <a:lnTo>
                    <a:pt x="957" y="470"/>
                  </a:lnTo>
                  <a:lnTo>
                    <a:pt x="955" y="468"/>
                  </a:lnTo>
                  <a:lnTo>
                    <a:pt x="955" y="467"/>
                  </a:lnTo>
                  <a:lnTo>
                    <a:pt x="953" y="466"/>
                  </a:lnTo>
                  <a:lnTo>
                    <a:pt x="951" y="467"/>
                  </a:lnTo>
                  <a:lnTo>
                    <a:pt x="951" y="470"/>
                  </a:lnTo>
                  <a:lnTo>
                    <a:pt x="950" y="471"/>
                  </a:lnTo>
                  <a:lnTo>
                    <a:pt x="949" y="471"/>
                  </a:lnTo>
                  <a:lnTo>
                    <a:pt x="947" y="471"/>
                  </a:lnTo>
                  <a:lnTo>
                    <a:pt x="946" y="470"/>
                  </a:lnTo>
                  <a:lnTo>
                    <a:pt x="945" y="467"/>
                  </a:lnTo>
                  <a:lnTo>
                    <a:pt x="945" y="466"/>
                  </a:lnTo>
                  <a:lnTo>
                    <a:pt x="944" y="464"/>
                  </a:lnTo>
                  <a:lnTo>
                    <a:pt x="943" y="463"/>
                  </a:lnTo>
                  <a:lnTo>
                    <a:pt x="942" y="460"/>
                  </a:lnTo>
                  <a:lnTo>
                    <a:pt x="941" y="459"/>
                  </a:lnTo>
                  <a:lnTo>
                    <a:pt x="938" y="459"/>
                  </a:lnTo>
                  <a:lnTo>
                    <a:pt x="937" y="462"/>
                  </a:lnTo>
                  <a:lnTo>
                    <a:pt x="936" y="462"/>
                  </a:lnTo>
                  <a:lnTo>
                    <a:pt x="933" y="463"/>
                  </a:lnTo>
                  <a:lnTo>
                    <a:pt x="933" y="465"/>
                  </a:lnTo>
                  <a:lnTo>
                    <a:pt x="931" y="467"/>
                  </a:lnTo>
                  <a:lnTo>
                    <a:pt x="933" y="468"/>
                  </a:lnTo>
                  <a:lnTo>
                    <a:pt x="935" y="471"/>
                  </a:lnTo>
                  <a:lnTo>
                    <a:pt x="936" y="472"/>
                  </a:lnTo>
                  <a:lnTo>
                    <a:pt x="936" y="474"/>
                  </a:lnTo>
                  <a:lnTo>
                    <a:pt x="936" y="476"/>
                  </a:lnTo>
                  <a:lnTo>
                    <a:pt x="935" y="480"/>
                  </a:lnTo>
                  <a:lnTo>
                    <a:pt x="934" y="481"/>
                  </a:lnTo>
                  <a:lnTo>
                    <a:pt x="931" y="481"/>
                  </a:lnTo>
                  <a:lnTo>
                    <a:pt x="930" y="479"/>
                  </a:lnTo>
                  <a:lnTo>
                    <a:pt x="929" y="476"/>
                  </a:lnTo>
                  <a:lnTo>
                    <a:pt x="928" y="473"/>
                  </a:lnTo>
                  <a:lnTo>
                    <a:pt x="926" y="472"/>
                  </a:lnTo>
                  <a:lnTo>
                    <a:pt x="926" y="471"/>
                  </a:lnTo>
                  <a:lnTo>
                    <a:pt x="925" y="470"/>
                  </a:lnTo>
                  <a:lnTo>
                    <a:pt x="923" y="468"/>
                  </a:lnTo>
                  <a:lnTo>
                    <a:pt x="922" y="468"/>
                  </a:lnTo>
                  <a:lnTo>
                    <a:pt x="919" y="468"/>
                  </a:lnTo>
                  <a:lnTo>
                    <a:pt x="918" y="467"/>
                  </a:lnTo>
                  <a:lnTo>
                    <a:pt x="917" y="465"/>
                  </a:lnTo>
                  <a:lnTo>
                    <a:pt x="915" y="463"/>
                  </a:lnTo>
                  <a:lnTo>
                    <a:pt x="917" y="460"/>
                  </a:lnTo>
                  <a:lnTo>
                    <a:pt x="917" y="459"/>
                  </a:lnTo>
                  <a:lnTo>
                    <a:pt x="918" y="459"/>
                  </a:lnTo>
                  <a:lnTo>
                    <a:pt x="919" y="459"/>
                  </a:lnTo>
                  <a:lnTo>
                    <a:pt x="922" y="458"/>
                  </a:lnTo>
                  <a:lnTo>
                    <a:pt x="923" y="456"/>
                  </a:lnTo>
                  <a:lnTo>
                    <a:pt x="925" y="455"/>
                  </a:lnTo>
                  <a:lnTo>
                    <a:pt x="927" y="454"/>
                  </a:lnTo>
                  <a:lnTo>
                    <a:pt x="929" y="451"/>
                  </a:lnTo>
                  <a:lnTo>
                    <a:pt x="931" y="450"/>
                  </a:lnTo>
                  <a:lnTo>
                    <a:pt x="934" y="449"/>
                  </a:lnTo>
                  <a:lnTo>
                    <a:pt x="939" y="449"/>
                  </a:lnTo>
                  <a:lnTo>
                    <a:pt x="943" y="449"/>
                  </a:lnTo>
                  <a:lnTo>
                    <a:pt x="944" y="449"/>
                  </a:lnTo>
                  <a:lnTo>
                    <a:pt x="947" y="450"/>
                  </a:lnTo>
                  <a:lnTo>
                    <a:pt x="951" y="449"/>
                  </a:lnTo>
                  <a:lnTo>
                    <a:pt x="952" y="448"/>
                  </a:lnTo>
                  <a:lnTo>
                    <a:pt x="954" y="446"/>
                  </a:lnTo>
                  <a:lnTo>
                    <a:pt x="954" y="443"/>
                  </a:lnTo>
                  <a:lnTo>
                    <a:pt x="954" y="441"/>
                  </a:lnTo>
                  <a:lnTo>
                    <a:pt x="953" y="439"/>
                  </a:lnTo>
                  <a:lnTo>
                    <a:pt x="951" y="436"/>
                  </a:lnTo>
                  <a:lnTo>
                    <a:pt x="949" y="436"/>
                  </a:lnTo>
                  <a:lnTo>
                    <a:pt x="946" y="438"/>
                  </a:lnTo>
                  <a:lnTo>
                    <a:pt x="945" y="441"/>
                  </a:lnTo>
                  <a:lnTo>
                    <a:pt x="943" y="442"/>
                  </a:lnTo>
                  <a:lnTo>
                    <a:pt x="941" y="441"/>
                  </a:lnTo>
                  <a:lnTo>
                    <a:pt x="939" y="438"/>
                  </a:lnTo>
                  <a:lnTo>
                    <a:pt x="939" y="434"/>
                  </a:lnTo>
                  <a:lnTo>
                    <a:pt x="938" y="432"/>
                  </a:lnTo>
                  <a:lnTo>
                    <a:pt x="937" y="431"/>
                  </a:lnTo>
                  <a:lnTo>
                    <a:pt x="935" y="430"/>
                  </a:lnTo>
                  <a:lnTo>
                    <a:pt x="933" y="430"/>
                  </a:lnTo>
                  <a:lnTo>
                    <a:pt x="930" y="432"/>
                  </a:lnTo>
                  <a:lnTo>
                    <a:pt x="929" y="435"/>
                  </a:lnTo>
                  <a:lnTo>
                    <a:pt x="927" y="438"/>
                  </a:lnTo>
                  <a:lnTo>
                    <a:pt x="926" y="440"/>
                  </a:lnTo>
                  <a:lnTo>
                    <a:pt x="923" y="441"/>
                  </a:lnTo>
                  <a:lnTo>
                    <a:pt x="922" y="442"/>
                  </a:lnTo>
                  <a:lnTo>
                    <a:pt x="920" y="442"/>
                  </a:lnTo>
                  <a:lnTo>
                    <a:pt x="918" y="441"/>
                  </a:lnTo>
                  <a:lnTo>
                    <a:pt x="918" y="439"/>
                  </a:lnTo>
                  <a:lnTo>
                    <a:pt x="918" y="435"/>
                  </a:lnTo>
                  <a:lnTo>
                    <a:pt x="919" y="434"/>
                  </a:lnTo>
                  <a:lnTo>
                    <a:pt x="920" y="433"/>
                  </a:lnTo>
                  <a:lnTo>
                    <a:pt x="921" y="431"/>
                  </a:lnTo>
                  <a:lnTo>
                    <a:pt x="921" y="430"/>
                  </a:lnTo>
                  <a:lnTo>
                    <a:pt x="921" y="427"/>
                  </a:lnTo>
                  <a:lnTo>
                    <a:pt x="921" y="426"/>
                  </a:lnTo>
                  <a:lnTo>
                    <a:pt x="920" y="424"/>
                  </a:lnTo>
                  <a:lnTo>
                    <a:pt x="919" y="422"/>
                  </a:lnTo>
                  <a:lnTo>
                    <a:pt x="919" y="420"/>
                  </a:lnTo>
                  <a:lnTo>
                    <a:pt x="920" y="418"/>
                  </a:lnTo>
                  <a:lnTo>
                    <a:pt x="921" y="417"/>
                  </a:lnTo>
                  <a:lnTo>
                    <a:pt x="923" y="418"/>
                  </a:lnTo>
                  <a:lnTo>
                    <a:pt x="926" y="419"/>
                  </a:lnTo>
                  <a:lnTo>
                    <a:pt x="928" y="420"/>
                  </a:lnTo>
                  <a:lnTo>
                    <a:pt x="929" y="422"/>
                  </a:lnTo>
                  <a:lnTo>
                    <a:pt x="931" y="422"/>
                  </a:lnTo>
                  <a:lnTo>
                    <a:pt x="934" y="422"/>
                  </a:lnTo>
                  <a:lnTo>
                    <a:pt x="936" y="420"/>
                  </a:lnTo>
                  <a:lnTo>
                    <a:pt x="936" y="419"/>
                  </a:lnTo>
                  <a:lnTo>
                    <a:pt x="938" y="417"/>
                  </a:lnTo>
                  <a:lnTo>
                    <a:pt x="939" y="417"/>
                  </a:lnTo>
                  <a:lnTo>
                    <a:pt x="941" y="418"/>
                  </a:lnTo>
                  <a:lnTo>
                    <a:pt x="943" y="419"/>
                  </a:lnTo>
                  <a:lnTo>
                    <a:pt x="944" y="420"/>
                  </a:lnTo>
                  <a:lnTo>
                    <a:pt x="944" y="423"/>
                  </a:lnTo>
                  <a:lnTo>
                    <a:pt x="944" y="425"/>
                  </a:lnTo>
                  <a:lnTo>
                    <a:pt x="944" y="426"/>
                  </a:lnTo>
                  <a:lnTo>
                    <a:pt x="944" y="428"/>
                  </a:lnTo>
                  <a:lnTo>
                    <a:pt x="945" y="430"/>
                  </a:lnTo>
                  <a:lnTo>
                    <a:pt x="946" y="432"/>
                  </a:lnTo>
                  <a:lnTo>
                    <a:pt x="949" y="432"/>
                  </a:lnTo>
                  <a:lnTo>
                    <a:pt x="950" y="432"/>
                  </a:lnTo>
                  <a:lnTo>
                    <a:pt x="951" y="432"/>
                  </a:lnTo>
                  <a:lnTo>
                    <a:pt x="952" y="430"/>
                  </a:lnTo>
                  <a:lnTo>
                    <a:pt x="953" y="428"/>
                  </a:lnTo>
                  <a:lnTo>
                    <a:pt x="957" y="426"/>
                  </a:lnTo>
                  <a:lnTo>
                    <a:pt x="958" y="423"/>
                  </a:lnTo>
                  <a:lnTo>
                    <a:pt x="959" y="420"/>
                  </a:lnTo>
                  <a:lnTo>
                    <a:pt x="959" y="418"/>
                  </a:lnTo>
                  <a:lnTo>
                    <a:pt x="960" y="417"/>
                  </a:lnTo>
                  <a:lnTo>
                    <a:pt x="960" y="416"/>
                  </a:lnTo>
                  <a:lnTo>
                    <a:pt x="961" y="416"/>
                  </a:lnTo>
                  <a:lnTo>
                    <a:pt x="963" y="415"/>
                  </a:lnTo>
                  <a:lnTo>
                    <a:pt x="965" y="415"/>
                  </a:lnTo>
                  <a:lnTo>
                    <a:pt x="966" y="416"/>
                  </a:lnTo>
                  <a:lnTo>
                    <a:pt x="967" y="418"/>
                  </a:lnTo>
                  <a:lnTo>
                    <a:pt x="968" y="420"/>
                  </a:lnTo>
                  <a:lnTo>
                    <a:pt x="969" y="423"/>
                  </a:lnTo>
                  <a:lnTo>
                    <a:pt x="970" y="425"/>
                  </a:lnTo>
                  <a:lnTo>
                    <a:pt x="971" y="427"/>
                  </a:lnTo>
                  <a:lnTo>
                    <a:pt x="973" y="430"/>
                  </a:lnTo>
                  <a:lnTo>
                    <a:pt x="974" y="431"/>
                  </a:lnTo>
                  <a:lnTo>
                    <a:pt x="976" y="432"/>
                  </a:lnTo>
                  <a:lnTo>
                    <a:pt x="978" y="433"/>
                  </a:lnTo>
                  <a:lnTo>
                    <a:pt x="979" y="434"/>
                  </a:lnTo>
                  <a:lnTo>
                    <a:pt x="982" y="434"/>
                  </a:lnTo>
                  <a:lnTo>
                    <a:pt x="984" y="434"/>
                  </a:lnTo>
                  <a:lnTo>
                    <a:pt x="985" y="433"/>
                  </a:lnTo>
                  <a:lnTo>
                    <a:pt x="987" y="433"/>
                  </a:lnTo>
                  <a:lnTo>
                    <a:pt x="990" y="428"/>
                  </a:lnTo>
                  <a:lnTo>
                    <a:pt x="992" y="424"/>
                  </a:lnTo>
                  <a:lnTo>
                    <a:pt x="993" y="423"/>
                  </a:lnTo>
                  <a:lnTo>
                    <a:pt x="994" y="420"/>
                  </a:lnTo>
                  <a:lnTo>
                    <a:pt x="994" y="419"/>
                  </a:lnTo>
                  <a:lnTo>
                    <a:pt x="999" y="414"/>
                  </a:lnTo>
                  <a:lnTo>
                    <a:pt x="1008" y="398"/>
                  </a:lnTo>
                  <a:lnTo>
                    <a:pt x="1014" y="391"/>
                  </a:lnTo>
                  <a:lnTo>
                    <a:pt x="1015" y="388"/>
                  </a:lnTo>
                  <a:lnTo>
                    <a:pt x="1016" y="386"/>
                  </a:lnTo>
                  <a:lnTo>
                    <a:pt x="1018" y="384"/>
                  </a:lnTo>
                  <a:lnTo>
                    <a:pt x="1019" y="383"/>
                  </a:lnTo>
                  <a:lnTo>
                    <a:pt x="1021" y="382"/>
                  </a:lnTo>
                  <a:lnTo>
                    <a:pt x="1022" y="379"/>
                  </a:lnTo>
                  <a:lnTo>
                    <a:pt x="1025" y="377"/>
                  </a:lnTo>
                  <a:lnTo>
                    <a:pt x="1027" y="374"/>
                  </a:lnTo>
                  <a:lnTo>
                    <a:pt x="1029" y="370"/>
                  </a:lnTo>
                  <a:lnTo>
                    <a:pt x="1030" y="369"/>
                  </a:lnTo>
                  <a:lnTo>
                    <a:pt x="1031" y="368"/>
                  </a:lnTo>
                  <a:lnTo>
                    <a:pt x="1034" y="361"/>
                  </a:lnTo>
                  <a:lnTo>
                    <a:pt x="1035" y="359"/>
                  </a:lnTo>
                  <a:lnTo>
                    <a:pt x="1037" y="358"/>
                  </a:lnTo>
                  <a:lnTo>
                    <a:pt x="1038" y="355"/>
                  </a:lnTo>
                  <a:lnTo>
                    <a:pt x="1040" y="352"/>
                  </a:lnTo>
                  <a:lnTo>
                    <a:pt x="1040" y="351"/>
                  </a:lnTo>
                  <a:lnTo>
                    <a:pt x="1041" y="350"/>
                  </a:lnTo>
                  <a:lnTo>
                    <a:pt x="1042" y="347"/>
                  </a:lnTo>
                  <a:lnTo>
                    <a:pt x="1045" y="343"/>
                  </a:lnTo>
                  <a:lnTo>
                    <a:pt x="1046" y="342"/>
                  </a:lnTo>
                  <a:lnTo>
                    <a:pt x="1047" y="339"/>
                  </a:lnTo>
                  <a:lnTo>
                    <a:pt x="1051" y="330"/>
                  </a:lnTo>
                  <a:lnTo>
                    <a:pt x="1053" y="329"/>
                  </a:lnTo>
                  <a:lnTo>
                    <a:pt x="1055" y="326"/>
                  </a:lnTo>
                  <a:lnTo>
                    <a:pt x="1057" y="323"/>
                  </a:lnTo>
                  <a:lnTo>
                    <a:pt x="1058" y="320"/>
                  </a:lnTo>
                  <a:lnTo>
                    <a:pt x="1059" y="319"/>
                  </a:lnTo>
                  <a:lnTo>
                    <a:pt x="1061" y="318"/>
                  </a:lnTo>
                  <a:lnTo>
                    <a:pt x="1061" y="316"/>
                  </a:lnTo>
                  <a:lnTo>
                    <a:pt x="1062" y="315"/>
                  </a:lnTo>
                  <a:lnTo>
                    <a:pt x="1063" y="313"/>
                  </a:lnTo>
                  <a:lnTo>
                    <a:pt x="1064" y="312"/>
                  </a:lnTo>
                  <a:lnTo>
                    <a:pt x="1064" y="311"/>
                  </a:lnTo>
                  <a:lnTo>
                    <a:pt x="1065" y="310"/>
                  </a:lnTo>
                  <a:lnTo>
                    <a:pt x="1065" y="308"/>
                  </a:lnTo>
                  <a:lnTo>
                    <a:pt x="1065" y="305"/>
                  </a:lnTo>
                  <a:lnTo>
                    <a:pt x="1065" y="304"/>
                  </a:lnTo>
                  <a:lnTo>
                    <a:pt x="1065" y="303"/>
                  </a:lnTo>
                  <a:lnTo>
                    <a:pt x="1065" y="302"/>
                  </a:lnTo>
                  <a:lnTo>
                    <a:pt x="1062" y="299"/>
                  </a:lnTo>
                  <a:lnTo>
                    <a:pt x="1061" y="298"/>
                  </a:lnTo>
                  <a:lnTo>
                    <a:pt x="1057" y="297"/>
                  </a:lnTo>
                  <a:lnTo>
                    <a:pt x="1055" y="297"/>
                  </a:lnTo>
                  <a:lnTo>
                    <a:pt x="1054" y="296"/>
                  </a:lnTo>
                  <a:lnTo>
                    <a:pt x="1053" y="296"/>
                  </a:lnTo>
                  <a:lnTo>
                    <a:pt x="1051" y="295"/>
                  </a:lnTo>
                  <a:lnTo>
                    <a:pt x="1050" y="294"/>
                  </a:lnTo>
                  <a:lnTo>
                    <a:pt x="1051" y="292"/>
                  </a:lnTo>
                  <a:lnTo>
                    <a:pt x="1051" y="291"/>
                  </a:lnTo>
                  <a:lnTo>
                    <a:pt x="1054" y="291"/>
                  </a:lnTo>
                  <a:lnTo>
                    <a:pt x="1055" y="292"/>
                  </a:lnTo>
                  <a:lnTo>
                    <a:pt x="1056" y="294"/>
                  </a:lnTo>
                  <a:lnTo>
                    <a:pt x="1057" y="294"/>
                  </a:lnTo>
                  <a:lnTo>
                    <a:pt x="1058" y="294"/>
                  </a:lnTo>
                  <a:lnTo>
                    <a:pt x="1059" y="294"/>
                  </a:lnTo>
                  <a:lnTo>
                    <a:pt x="1061" y="295"/>
                  </a:lnTo>
                  <a:lnTo>
                    <a:pt x="1063" y="295"/>
                  </a:lnTo>
                  <a:lnTo>
                    <a:pt x="1064" y="295"/>
                  </a:lnTo>
                  <a:lnTo>
                    <a:pt x="1065" y="296"/>
                  </a:lnTo>
                  <a:lnTo>
                    <a:pt x="1065" y="297"/>
                  </a:lnTo>
                  <a:lnTo>
                    <a:pt x="1066" y="298"/>
                  </a:lnTo>
                  <a:lnTo>
                    <a:pt x="1069" y="298"/>
                  </a:lnTo>
                  <a:lnTo>
                    <a:pt x="1070" y="298"/>
                  </a:lnTo>
                  <a:lnTo>
                    <a:pt x="1071" y="298"/>
                  </a:lnTo>
                  <a:lnTo>
                    <a:pt x="1071" y="297"/>
                  </a:lnTo>
                  <a:lnTo>
                    <a:pt x="1072" y="296"/>
                  </a:lnTo>
                  <a:lnTo>
                    <a:pt x="1074" y="291"/>
                  </a:lnTo>
                  <a:lnTo>
                    <a:pt x="1074" y="288"/>
                  </a:lnTo>
                  <a:lnTo>
                    <a:pt x="1074" y="286"/>
                  </a:lnTo>
                  <a:lnTo>
                    <a:pt x="1075" y="283"/>
                  </a:lnTo>
                  <a:lnTo>
                    <a:pt x="1078" y="280"/>
                  </a:lnTo>
                  <a:lnTo>
                    <a:pt x="1080" y="272"/>
                  </a:lnTo>
                  <a:lnTo>
                    <a:pt x="1081" y="270"/>
                  </a:lnTo>
                  <a:lnTo>
                    <a:pt x="1081" y="268"/>
                  </a:lnTo>
                  <a:lnTo>
                    <a:pt x="1082" y="265"/>
                  </a:lnTo>
                  <a:lnTo>
                    <a:pt x="1082" y="264"/>
                  </a:lnTo>
                  <a:lnTo>
                    <a:pt x="1082" y="262"/>
                  </a:lnTo>
                  <a:lnTo>
                    <a:pt x="1083" y="259"/>
                  </a:lnTo>
                  <a:lnTo>
                    <a:pt x="1083" y="258"/>
                  </a:lnTo>
                  <a:lnTo>
                    <a:pt x="1086" y="254"/>
                  </a:lnTo>
                  <a:lnTo>
                    <a:pt x="1087" y="251"/>
                  </a:lnTo>
                  <a:lnTo>
                    <a:pt x="1087" y="249"/>
                  </a:lnTo>
                  <a:lnTo>
                    <a:pt x="1088" y="244"/>
                  </a:lnTo>
                  <a:lnTo>
                    <a:pt x="1090" y="239"/>
                  </a:lnTo>
                  <a:lnTo>
                    <a:pt x="1090" y="238"/>
                  </a:lnTo>
                  <a:lnTo>
                    <a:pt x="1094" y="231"/>
                  </a:lnTo>
                  <a:lnTo>
                    <a:pt x="1095" y="228"/>
                  </a:lnTo>
                  <a:lnTo>
                    <a:pt x="1095" y="227"/>
                  </a:lnTo>
                  <a:lnTo>
                    <a:pt x="1095" y="225"/>
                  </a:lnTo>
                  <a:lnTo>
                    <a:pt x="1095" y="224"/>
                  </a:lnTo>
                  <a:lnTo>
                    <a:pt x="1097" y="222"/>
                  </a:lnTo>
                  <a:lnTo>
                    <a:pt x="1097" y="220"/>
                  </a:lnTo>
                  <a:lnTo>
                    <a:pt x="1098" y="219"/>
                  </a:lnTo>
                  <a:lnTo>
                    <a:pt x="1099" y="218"/>
                  </a:lnTo>
                  <a:lnTo>
                    <a:pt x="1099" y="217"/>
                  </a:lnTo>
                  <a:lnTo>
                    <a:pt x="1101" y="214"/>
                  </a:lnTo>
                  <a:lnTo>
                    <a:pt x="1099" y="211"/>
                  </a:lnTo>
                  <a:lnTo>
                    <a:pt x="1098" y="209"/>
                  </a:lnTo>
                  <a:lnTo>
                    <a:pt x="1098" y="208"/>
                  </a:lnTo>
                  <a:lnTo>
                    <a:pt x="1098" y="206"/>
                  </a:lnTo>
                  <a:lnTo>
                    <a:pt x="1097" y="203"/>
                  </a:lnTo>
                  <a:lnTo>
                    <a:pt x="1097" y="202"/>
                  </a:lnTo>
                  <a:lnTo>
                    <a:pt x="1098" y="201"/>
                  </a:lnTo>
                  <a:lnTo>
                    <a:pt x="1098" y="200"/>
                  </a:lnTo>
                  <a:lnTo>
                    <a:pt x="1097" y="198"/>
                  </a:lnTo>
                  <a:lnTo>
                    <a:pt x="1097" y="196"/>
                  </a:lnTo>
                  <a:lnTo>
                    <a:pt x="1096" y="195"/>
                  </a:lnTo>
                  <a:lnTo>
                    <a:pt x="1096" y="193"/>
                  </a:lnTo>
                  <a:lnTo>
                    <a:pt x="1097" y="192"/>
                  </a:lnTo>
                  <a:lnTo>
                    <a:pt x="1097" y="191"/>
                  </a:lnTo>
                  <a:lnTo>
                    <a:pt x="1098" y="188"/>
                  </a:lnTo>
                  <a:lnTo>
                    <a:pt x="1098" y="186"/>
                  </a:lnTo>
                  <a:lnTo>
                    <a:pt x="1099" y="179"/>
                  </a:lnTo>
                  <a:lnTo>
                    <a:pt x="1099" y="177"/>
                  </a:lnTo>
                  <a:lnTo>
                    <a:pt x="1101" y="175"/>
                  </a:lnTo>
                  <a:lnTo>
                    <a:pt x="1101" y="172"/>
                  </a:lnTo>
                  <a:lnTo>
                    <a:pt x="1101" y="171"/>
                  </a:lnTo>
                  <a:lnTo>
                    <a:pt x="1103" y="162"/>
                  </a:lnTo>
                  <a:lnTo>
                    <a:pt x="1104" y="159"/>
                  </a:lnTo>
                  <a:lnTo>
                    <a:pt x="1104" y="158"/>
                  </a:lnTo>
                  <a:lnTo>
                    <a:pt x="1105" y="155"/>
                  </a:lnTo>
                  <a:lnTo>
                    <a:pt x="1105" y="153"/>
                  </a:lnTo>
                  <a:lnTo>
                    <a:pt x="1105" y="152"/>
                  </a:lnTo>
                  <a:lnTo>
                    <a:pt x="1105" y="148"/>
                  </a:lnTo>
                  <a:lnTo>
                    <a:pt x="1105" y="147"/>
                  </a:lnTo>
                  <a:lnTo>
                    <a:pt x="1106" y="144"/>
                  </a:lnTo>
                  <a:lnTo>
                    <a:pt x="1109" y="140"/>
                  </a:lnTo>
                  <a:lnTo>
                    <a:pt x="1110" y="138"/>
                  </a:lnTo>
                  <a:lnTo>
                    <a:pt x="1111" y="136"/>
                  </a:lnTo>
                  <a:lnTo>
                    <a:pt x="1112" y="135"/>
                  </a:lnTo>
                  <a:lnTo>
                    <a:pt x="1113" y="134"/>
                  </a:lnTo>
                  <a:lnTo>
                    <a:pt x="1113" y="132"/>
                  </a:lnTo>
                  <a:lnTo>
                    <a:pt x="1113" y="130"/>
                  </a:lnTo>
                  <a:lnTo>
                    <a:pt x="1113" y="128"/>
                  </a:lnTo>
                  <a:lnTo>
                    <a:pt x="1112" y="127"/>
                  </a:lnTo>
                  <a:lnTo>
                    <a:pt x="1112" y="122"/>
                  </a:lnTo>
                  <a:lnTo>
                    <a:pt x="1113" y="119"/>
                  </a:lnTo>
                  <a:lnTo>
                    <a:pt x="1114" y="115"/>
                  </a:lnTo>
                  <a:lnTo>
                    <a:pt x="1115" y="113"/>
                  </a:lnTo>
                  <a:lnTo>
                    <a:pt x="1115" y="111"/>
                  </a:lnTo>
                  <a:lnTo>
                    <a:pt x="1117" y="107"/>
                  </a:lnTo>
                  <a:lnTo>
                    <a:pt x="1118" y="106"/>
                  </a:lnTo>
                  <a:lnTo>
                    <a:pt x="1118" y="102"/>
                  </a:lnTo>
                  <a:lnTo>
                    <a:pt x="1119" y="98"/>
                  </a:lnTo>
                  <a:lnTo>
                    <a:pt x="1119" y="96"/>
                  </a:lnTo>
                  <a:lnTo>
                    <a:pt x="1119" y="94"/>
                  </a:lnTo>
                  <a:lnTo>
                    <a:pt x="1120" y="88"/>
                  </a:lnTo>
                  <a:lnTo>
                    <a:pt x="1120" y="87"/>
                  </a:lnTo>
                  <a:lnTo>
                    <a:pt x="1121" y="83"/>
                  </a:lnTo>
                  <a:lnTo>
                    <a:pt x="1122" y="81"/>
                  </a:lnTo>
                  <a:lnTo>
                    <a:pt x="1122" y="78"/>
                  </a:lnTo>
                  <a:lnTo>
                    <a:pt x="1121" y="72"/>
                  </a:lnTo>
                  <a:lnTo>
                    <a:pt x="1121" y="70"/>
                  </a:lnTo>
                  <a:lnTo>
                    <a:pt x="1121" y="67"/>
                  </a:lnTo>
                  <a:lnTo>
                    <a:pt x="1121" y="65"/>
                  </a:lnTo>
                  <a:lnTo>
                    <a:pt x="1121" y="63"/>
                  </a:lnTo>
                  <a:lnTo>
                    <a:pt x="1121" y="59"/>
                  </a:lnTo>
                  <a:lnTo>
                    <a:pt x="1121" y="57"/>
                  </a:lnTo>
                  <a:lnTo>
                    <a:pt x="1120" y="55"/>
                  </a:lnTo>
                  <a:lnTo>
                    <a:pt x="1120" y="52"/>
                  </a:lnTo>
                  <a:lnTo>
                    <a:pt x="1119" y="42"/>
                  </a:lnTo>
                  <a:lnTo>
                    <a:pt x="1119" y="40"/>
                  </a:lnTo>
                  <a:lnTo>
                    <a:pt x="1119" y="39"/>
                  </a:lnTo>
                  <a:lnTo>
                    <a:pt x="1118" y="36"/>
                  </a:lnTo>
                  <a:lnTo>
                    <a:pt x="1118" y="35"/>
                  </a:lnTo>
                  <a:lnTo>
                    <a:pt x="1114" y="31"/>
                  </a:lnTo>
                  <a:lnTo>
                    <a:pt x="1112" y="28"/>
                  </a:lnTo>
                  <a:lnTo>
                    <a:pt x="1106" y="20"/>
                  </a:lnTo>
                  <a:lnTo>
                    <a:pt x="1103" y="19"/>
                  </a:lnTo>
                  <a:lnTo>
                    <a:pt x="1101" y="22"/>
                  </a:lnTo>
                  <a:lnTo>
                    <a:pt x="1099" y="22"/>
                  </a:lnTo>
                  <a:lnTo>
                    <a:pt x="1097" y="22"/>
                  </a:lnTo>
                  <a:lnTo>
                    <a:pt x="1094" y="22"/>
                  </a:lnTo>
                  <a:lnTo>
                    <a:pt x="1091" y="20"/>
                  </a:lnTo>
                  <a:lnTo>
                    <a:pt x="1089" y="20"/>
                  </a:lnTo>
                  <a:lnTo>
                    <a:pt x="1088" y="19"/>
                  </a:lnTo>
                  <a:lnTo>
                    <a:pt x="1086" y="18"/>
                  </a:lnTo>
                  <a:lnTo>
                    <a:pt x="1082" y="18"/>
                  </a:lnTo>
                  <a:lnTo>
                    <a:pt x="1081" y="18"/>
                  </a:lnTo>
                  <a:lnTo>
                    <a:pt x="1078" y="17"/>
                  </a:lnTo>
                  <a:lnTo>
                    <a:pt x="1075" y="17"/>
                  </a:lnTo>
                  <a:lnTo>
                    <a:pt x="1073" y="16"/>
                  </a:lnTo>
                  <a:lnTo>
                    <a:pt x="1072" y="16"/>
                  </a:lnTo>
                  <a:lnTo>
                    <a:pt x="1070" y="15"/>
                  </a:lnTo>
                  <a:lnTo>
                    <a:pt x="1069" y="14"/>
                  </a:lnTo>
                  <a:lnTo>
                    <a:pt x="1066" y="12"/>
                  </a:lnTo>
                  <a:lnTo>
                    <a:pt x="1065" y="11"/>
                  </a:lnTo>
                  <a:lnTo>
                    <a:pt x="1064" y="11"/>
                  </a:lnTo>
                  <a:lnTo>
                    <a:pt x="1061" y="10"/>
                  </a:lnTo>
                  <a:lnTo>
                    <a:pt x="1058" y="9"/>
                  </a:lnTo>
                  <a:lnTo>
                    <a:pt x="1056" y="7"/>
                  </a:lnTo>
                  <a:lnTo>
                    <a:pt x="1055" y="6"/>
                  </a:lnTo>
                  <a:lnTo>
                    <a:pt x="1053" y="2"/>
                  </a:lnTo>
                  <a:lnTo>
                    <a:pt x="1051" y="1"/>
                  </a:lnTo>
                  <a:lnTo>
                    <a:pt x="1049" y="0"/>
                  </a:lnTo>
                  <a:lnTo>
                    <a:pt x="1048" y="0"/>
                  </a:lnTo>
                  <a:lnTo>
                    <a:pt x="1046" y="0"/>
                  </a:lnTo>
                  <a:lnTo>
                    <a:pt x="1043" y="1"/>
                  </a:lnTo>
                  <a:lnTo>
                    <a:pt x="1040" y="4"/>
                  </a:lnTo>
                  <a:lnTo>
                    <a:pt x="1039" y="6"/>
                  </a:lnTo>
                  <a:lnTo>
                    <a:pt x="1038" y="8"/>
                  </a:lnTo>
                  <a:lnTo>
                    <a:pt x="1037" y="10"/>
                  </a:lnTo>
                  <a:lnTo>
                    <a:pt x="1037" y="16"/>
                  </a:lnTo>
                  <a:lnTo>
                    <a:pt x="1035" y="18"/>
                  </a:lnTo>
                  <a:lnTo>
                    <a:pt x="1035" y="20"/>
                  </a:lnTo>
                  <a:lnTo>
                    <a:pt x="1034" y="24"/>
                  </a:lnTo>
                  <a:lnTo>
                    <a:pt x="1034" y="25"/>
                  </a:lnTo>
                  <a:lnTo>
                    <a:pt x="1034" y="27"/>
                  </a:lnTo>
                  <a:lnTo>
                    <a:pt x="1034" y="30"/>
                  </a:lnTo>
                  <a:lnTo>
                    <a:pt x="1033" y="32"/>
                  </a:lnTo>
                  <a:lnTo>
                    <a:pt x="1023" y="38"/>
                  </a:lnTo>
                  <a:lnTo>
                    <a:pt x="1021" y="38"/>
                  </a:lnTo>
                  <a:lnTo>
                    <a:pt x="1019" y="36"/>
                  </a:lnTo>
                  <a:lnTo>
                    <a:pt x="1017" y="36"/>
                  </a:lnTo>
                  <a:lnTo>
                    <a:pt x="1016" y="38"/>
                  </a:lnTo>
                  <a:lnTo>
                    <a:pt x="1016" y="41"/>
                  </a:lnTo>
                  <a:lnTo>
                    <a:pt x="1016" y="43"/>
                  </a:lnTo>
                  <a:lnTo>
                    <a:pt x="1015" y="47"/>
                  </a:lnTo>
                  <a:lnTo>
                    <a:pt x="1014" y="49"/>
                  </a:lnTo>
                  <a:lnTo>
                    <a:pt x="1013" y="51"/>
                  </a:lnTo>
                  <a:lnTo>
                    <a:pt x="1011" y="55"/>
                  </a:lnTo>
                  <a:lnTo>
                    <a:pt x="1007" y="59"/>
                  </a:lnTo>
                  <a:lnTo>
                    <a:pt x="998" y="65"/>
                  </a:lnTo>
                  <a:lnTo>
                    <a:pt x="992" y="68"/>
                  </a:lnTo>
                  <a:lnTo>
                    <a:pt x="989" y="68"/>
                  </a:lnTo>
                  <a:lnTo>
                    <a:pt x="985" y="70"/>
                  </a:lnTo>
                  <a:lnTo>
                    <a:pt x="983" y="70"/>
                  </a:lnTo>
                  <a:lnTo>
                    <a:pt x="981" y="68"/>
                  </a:lnTo>
                  <a:lnTo>
                    <a:pt x="977" y="67"/>
                  </a:lnTo>
                  <a:lnTo>
                    <a:pt x="975" y="67"/>
                  </a:lnTo>
                  <a:lnTo>
                    <a:pt x="970" y="67"/>
                  </a:lnTo>
                  <a:lnTo>
                    <a:pt x="968" y="68"/>
                  </a:lnTo>
                  <a:lnTo>
                    <a:pt x="967" y="70"/>
                  </a:lnTo>
                  <a:lnTo>
                    <a:pt x="965" y="72"/>
                  </a:lnTo>
                  <a:lnTo>
                    <a:pt x="965" y="74"/>
                  </a:lnTo>
                  <a:lnTo>
                    <a:pt x="965" y="75"/>
                  </a:lnTo>
                  <a:lnTo>
                    <a:pt x="966" y="78"/>
                  </a:lnTo>
                  <a:lnTo>
                    <a:pt x="967" y="79"/>
                  </a:lnTo>
                  <a:lnTo>
                    <a:pt x="973" y="83"/>
                  </a:lnTo>
                  <a:lnTo>
                    <a:pt x="975" y="87"/>
                  </a:lnTo>
                  <a:lnTo>
                    <a:pt x="977" y="89"/>
                  </a:lnTo>
                  <a:lnTo>
                    <a:pt x="977" y="91"/>
                  </a:lnTo>
                  <a:lnTo>
                    <a:pt x="977" y="94"/>
                  </a:lnTo>
                  <a:lnTo>
                    <a:pt x="977" y="96"/>
                  </a:lnTo>
                  <a:lnTo>
                    <a:pt x="977" y="98"/>
                  </a:lnTo>
                  <a:lnTo>
                    <a:pt x="975" y="99"/>
                  </a:lnTo>
                  <a:lnTo>
                    <a:pt x="974" y="99"/>
                  </a:lnTo>
                  <a:lnTo>
                    <a:pt x="970" y="100"/>
                  </a:lnTo>
                  <a:lnTo>
                    <a:pt x="967" y="98"/>
                  </a:lnTo>
                  <a:lnTo>
                    <a:pt x="965" y="97"/>
                  </a:lnTo>
                  <a:lnTo>
                    <a:pt x="960" y="94"/>
                  </a:lnTo>
                  <a:lnTo>
                    <a:pt x="957" y="92"/>
                  </a:lnTo>
                  <a:lnTo>
                    <a:pt x="954" y="90"/>
                  </a:lnTo>
                  <a:lnTo>
                    <a:pt x="952" y="88"/>
                  </a:lnTo>
                  <a:lnTo>
                    <a:pt x="952" y="81"/>
                  </a:lnTo>
                  <a:lnTo>
                    <a:pt x="949" y="76"/>
                  </a:lnTo>
                  <a:lnTo>
                    <a:pt x="946" y="76"/>
                  </a:lnTo>
                  <a:lnTo>
                    <a:pt x="944" y="76"/>
                  </a:lnTo>
                  <a:lnTo>
                    <a:pt x="943" y="76"/>
                  </a:lnTo>
                  <a:lnTo>
                    <a:pt x="938" y="76"/>
                  </a:lnTo>
                  <a:lnTo>
                    <a:pt x="935" y="78"/>
                  </a:lnTo>
                  <a:lnTo>
                    <a:pt x="931" y="79"/>
                  </a:lnTo>
                  <a:lnTo>
                    <a:pt x="927" y="79"/>
                  </a:lnTo>
                  <a:lnTo>
                    <a:pt x="922" y="80"/>
                  </a:lnTo>
                  <a:lnTo>
                    <a:pt x="920" y="81"/>
                  </a:lnTo>
                  <a:lnTo>
                    <a:pt x="918" y="81"/>
                  </a:lnTo>
                  <a:lnTo>
                    <a:pt x="915" y="80"/>
                  </a:lnTo>
                  <a:lnTo>
                    <a:pt x="913" y="80"/>
                  </a:lnTo>
                  <a:lnTo>
                    <a:pt x="910" y="79"/>
                  </a:lnTo>
                  <a:lnTo>
                    <a:pt x="909" y="78"/>
                  </a:lnTo>
                  <a:lnTo>
                    <a:pt x="907" y="76"/>
                  </a:lnTo>
                  <a:lnTo>
                    <a:pt x="906" y="75"/>
                  </a:lnTo>
                  <a:lnTo>
                    <a:pt x="905" y="73"/>
                  </a:lnTo>
                  <a:lnTo>
                    <a:pt x="904" y="72"/>
                  </a:lnTo>
                  <a:lnTo>
                    <a:pt x="902" y="70"/>
                  </a:lnTo>
                  <a:lnTo>
                    <a:pt x="901" y="67"/>
                  </a:lnTo>
                  <a:lnTo>
                    <a:pt x="899" y="66"/>
                  </a:lnTo>
                  <a:lnTo>
                    <a:pt x="897" y="64"/>
                  </a:lnTo>
                  <a:lnTo>
                    <a:pt x="895" y="59"/>
                  </a:lnTo>
                  <a:lnTo>
                    <a:pt x="893" y="58"/>
                  </a:lnTo>
                  <a:lnTo>
                    <a:pt x="890" y="56"/>
                  </a:lnTo>
                  <a:lnTo>
                    <a:pt x="887" y="57"/>
                  </a:lnTo>
                  <a:lnTo>
                    <a:pt x="883" y="59"/>
                  </a:lnTo>
                  <a:lnTo>
                    <a:pt x="880" y="59"/>
                  </a:lnTo>
                  <a:lnTo>
                    <a:pt x="878" y="60"/>
                  </a:lnTo>
                  <a:lnTo>
                    <a:pt x="875" y="62"/>
                  </a:lnTo>
                  <a:lnTo>
                    <a:pt x="872" y="63"/>
                  </a:lnTo>
                  <a:lnTo>
                    <a:pt x="871" y="63"/>
                  </a:lnTo>
                  <a:lnTo>
                    <a:pt x="870" y="65"/>
                  </a:lnTo>
                  <a:lnTo>
                    <a:pt x="871" y="67"/>
                  </a:lnTo>
                  <a:lnTo>
                    <a:pt x="871" y="70"/>
                  </a:lnTo>
                  <a:lnTo>
                    <a:pt x="873" y="71"/>
                  </a:lnTo>
                  <a:lnTo>
                    <a:pt x="875" y="72"/>
                  </a:lnTo>
                  <a:lnTo>
                    <a:pt x="878" y="74"/>
                  </a:lnTo>
                  <a:lnTo>
                    <a:pt x="879" y="75"/>
                  </a:lnTo>
                  <a:lnTo>
                    <a:pt x="879" y="78"/>
                  </a:lnTo>
                  <a:lnTo>
                    <a:pt x="879" y="80"/>
                  </a:lnTo>
                  <a:lnTo>
                    <a:pt x="880" y="82"/>
                  </a:lnTo>
                  <a:lnTo>
                    <a:pt x="881" y="84"/>
                  </a:lnTo>
                  <a:lnTo>
                    <a:pt x="883" y="87"/>
                  </a:lnTo>
                  <a:lnTo>
                    <a:pt x="883" y="89"/>
                  </a:lnTo>
                  <a:lnTo>
                    <a:pt x="883" y="90"/>
                  </a:lnTo>
                  <a:lnTo>
                    <a:pt x="883" y="91"/>
                  </a:lnTo>
                  <a:lnTo>
                    <a:pt x="882" y="94"/>
                  </a:lnTo>
                  <a:lnTo>
                    <a:pt x="880" y="95"/>
                  </a:lnTo>
                  <a:lnTo>
                    <a:pt x="878" y="96"/>
                  </a:lnTo>
                  <a:lnTo>
                    <a:pt x="875" y="97"/>
                  </a:lnTo>
                  <a:lnTo>
                    <a:pt x="873" y="100"/>
                  </a:lnTo>
                  <a:lnTo>
                    <a:pt x="872" y="103"/>
                  </a:lnTo>
                  <a:lnTo>
                    <a:pt x="871" y="105"/>
                  </a:lnTo>
                  <a:lnTo>
                    <a:pt x="870" y="106"/>
                  </a:lnTo>
                  <a:lnTo>
                    <a:pt x="867" y="107"/>
                  </a:lnTo>
                  <a:lnTo>
                    <a:pt x="865" y="107"/>
                  </a:lnTo>
                  <a:lnTo>
                    <a:pt x="863" y="108"/>
                  </a:lnTo>
                  <a:lnTo>
                    <a:pt x="862" y="110"/>
                  </a:lnTo>
                  <a:lnTo>
                    <a:pt x="862" y="112"/>
                  </a:lnTo>
                  <a:lnTo>
                    <a:pt x="861" y="114"/>
                  </a:lnTo>
                  <a:lnTo>
                    <a:pt x="861" y="115"/>
                  </a:lnTo>
                  <a:lnTo>
                    <a:pt x="859" y="118"/>
                  </a:lnTo>
                  <a:lnTo>
                    <a:pt x="857" y="118"/>
                  </a:lnTo>
                  <a:lnTo>
                    <a:pt x="854" y="118"/>
                  </a:lnTo>
                  <a:lnTo>
                    <a:pt x="851" y="116"/>
                  </a:lnTo>
                  <a:lnTo>
                    <a:pt x="849" y="115"/>
                  </a:lnTo>
                  <a:lnTo>
                    <a:pt x="846" y="112"/>
                  </a:lnTo>
                  <a:lnTo>
                    <a:pt x="845" y="111"/>
                  </a:lnTo>
                  <a:lnTo>
                    <a:pt x="840" y="110"/>
                  </a:lnTo>
                  <a:lnTo>
                    <a:pt x="838" y="112"/>
                  </a:lnTo>
                  <a:lnTo>
                    <a:pt x="837" y="113"/>
                  </a:lnTo>
                  <a:lnTo>
                    <a:pt x="837" y="115"/>
                  </a:lnTo>
                  <a:lnTo>
                    <a:pt x="837" y="118"/>
                  </a:lnTo>
                  <a:lnTo>
                    <a:pt x="837" y="120"/>
                  </a:lnTo>
                  <a:lnTo>
                    <a:pt x="834" y="128"/>
                  </a:lnTo>
                  <a:lnTo>
                    <a:pt x="833" y="131"/>
                  </a:lnTo>
                  <a:lnTo>
                    <a:pt x="833" y="132"/>
                  </a:lnTo>
                  <a:lnTo>
                    <a:pt x="831" y="136"/>
                  </a:lnTo>
                  <a:lnTo>
                    <a:pt x="830" y="138"/>
                  </a:lnTo>
                  <a:lnTo>
                    <a:pt x="827" y="140"/>
                  </a:lnTo>
                  <a:lnTo>
                    <a:pt x="826" y="142"/>
                  </a:lnTo>
                  <a:lnTo>
                    <a:pt x="824" y="143"/>
                  </a:lnTo>
                  <a:lnTo>
                    <a:pt x="821" y="145"/>
                  </a:lnTo>
                  <a:lnTo>
                    <a:pt x="817" y="146"/>
                  </a:lnTo>
                  <a:lnTo>
                    <a:pt x="815" y="147"/>
                  </a:lnTo>
                  <a:lnTo>
                    <a:pt x="813" y="147"/>
                  </a:lnTo>
                  <a:lnTo>
                    <a:pt x="803" y="146"/>
                  </a:lnTo>
                  <a:lnTo>
                    <a:pt x="800" y="145"/>
                  </a:lnTo>
                  <a:lnTo>
                    <a:pt x="799" y="144"/>
                  </a:lnTo>
                  <a:lnTo>
                    <a:pt x="795" y="139"/>
                  </a:lnTo>
                  <a:lnTo>
                    <a:pt x="795" y="136"/>
                  </a:lnTo>
                  <a:lnTo>
                    <a:pt x="794" y="134"/>
                  </a:lnTo>
                  <a:lnTo>
                    <a:pt x="792" y="132"/>
                  </a:lnTo>
                  <a:lnTo>
                    <a:pt x="791" y="132"/>
                  </a:lnTo>
                  <a:lnTo>
                    <a:pt x="790" y="132"/>
                  </a:lnTo>
                  <a:lnTo>
                    <a:pt x="784" y="137"/>
                  </a:lnTo>
                  <a:lnTo>
                    <a:pt x="779" y="139"/>
                  </a:lnTo>
                  <a:lnTo>
                    <a:pt x="777" y="140"/>
                  </a:lnTo>
                  <a:lnTo>
                    <a:pt x="774" y="143"/>
                  </a:lnTo>
                  <a:lnTo>
                    <a:pt x="769" y="144"/>
                  </a:lnTo>
                  <a:lnTo>
                    <a:pt x="762" y="144"/>
                  </a:lnTo>
                  <a:lnTo>
                    <a:pt x="758" y="145"/>
                  </a:lnTo>
                  <a:lnTo>
                    <a:pt x="755" y="144"/>
                  </a:lnTo>
                  <a:lnTo>
                    <a:pt x="751" y="144"/>
                  </a:lnTo>
                  <a:lnTo>
                    <a:pt x="747" y="143"/>
                  </a:lnTo>
                  <a:lnTo>
                    <a:pt x="744" y="143"/>
                  </a:lnTo>
                  <a:lnTo>
                    <a:pt x="741" y="143"/>
                  </a:lnTo>
                  <a:lnTo>
                    <a:pt x="738" y="143"/>
                  </a:lnTo>
                  <a:lnTo>
                    <a:pt x="735" y="143"/>
                  </a:lnTo>
                  <a:lnTo>
                    <a:pt x="734" y="142"/>
                  </a:lnTo>
                  <a:lnTo>
                    <a:pt x="734" y="140"/>
                  </a:lnTo>
                  <a:lnTo>
                    <a:pt x="734" y="136"/>
                  </a:lnTo>
                  <a:lnTo>
                    <a:pt x="735" y="132"/>
                  </a:lnTo>
                  <a:lnTo>
                    <a:pt x="735" y="130"/>
                  </a:lnTo>
                  <a:lnTo>
                    <a:pt x="734" y="128"/>
                  </a:lnTo>
                  <a:lnTo>
                    <a:pt x="733" y="126"/>
                  </a:lnTo>
                  <a:lnTo>
                    <a:pt x="728" y="126"/>
                  </a:lnTo>
                  <a:lnTo>
                    <a:pt x="726" y="126"/>
                  </a:lnTo>
                  <a:lnTo>
                    <a:pt x="723" y="126"/>
                  </a:lnTo>
                  <a:lnTo>
                    <a:pt x="698" y="131"/>
                  </a:lnTo>
                  <a:lnTo>
                    <a:pt x="695" y="131"/>
                  </a:lnTo>
                  <a:lnTo>
                    <a:pt x="689" y="131"/>
                  </a:lnTo>
                  <a:lnTo>
                    <a:pt x="688" y="131"/>
                  </a:lnTo>
                  <a:lnTo>
                    <a:pt x="683" y="131"/>
                  </a:lnTo>
                  <a:lnTo>
                    <a:pt x="680" y="131"/>
                  </a:lnTo>
                  <a:lnTo>
                    <a:pt x="677" y="132"/>
                  </a:lnTo>
                  <a:lnTo>
                    <a:pt x="674" y="132"/>
                  </a:lnTo>
                  <a:lnTo>
                    <a:pt x="673" y="135"/>
                  </a:lnTo>
                  <a:lnTo>
                    <a:pt x="671" y="136"/>
                  </a:lnTo>
                  <a:lnTo>
                    <a:pt x="670" y="137"/>
                  </a:lnTo>
                  <a:lnTo>
                    <a:pt x="669" y="139"/>
                  </a:lnTo>
                  <a:lnTo>
                    <a:pt x="665" y="143"/>
                  </a:lnTo>
                  <a:lnTo>
                    <a:pt x="663" y="145"/>
                  </a:lnTo>
                  <a:lnTo>
                    <a:pt x="662" y="147"/>
                  </a:lnTo>
                  <a:lnTo>
                    <a:pt x="657" y="150"/>
                  </a:lnTo>
                  <a:lnTo>
                    <a:pt x="655" y="152"/>
                  </a:lnTo>
                  <a:lnTo>
                    <a:pt x="653" y="153"/>
                  </a:lnTo>
                  <a:lnTo>
                    <a:pt x="650" y="158"/>
                  </a:lnTo>
                  <a:lnTo>
                    <a:pt x="649" y="163"/>
                  </a:lnTo>
                  <a:lnTo>
                    <a:pt x="648" y="168"/>
                  </a:lnTo>
                  <a:lnTo>
                    <a:pt x="647" y="171"/>
                  </a:lnTo>
                  <a:lnTo>
                    <a:pt x="646" y="175"/>
                  </a:lnTo>
                  <a:lnTo>
                    <a:pt x="646" y="179"/>
                  </a:lnTo>
                  <a:lnTo>
                    <a:pt x="646" y="182"/>
                  </a:lnTo>
                  <a:lnTo>
                    <a:pt x="645" y="184"/>
                  </a:lnTo>
                  <a:lnTo>
                    <a:pt x="642" y="188"/>
                  </a:lnTo>
                  <a:lnTo>
                    <a:pt x="642" y="192"/>
                  </a:lnTo>
                  <a:lnTo>
                    <a:pt x="642" y="195"/>
                  </a:lnTo>
                  <a:lnTo>
                    <a:pt x="642" y="199"/>
                  </a:lnTo>
                  <a:lnTo>
                    <a:pt x="641" y="203"/>
                  </a:lnTo>
                  <a:lnTo>
                    <a:pt x="640" y="207"/>
                  </a:lnTo>
                  <a:lnTo>
                    <a:pt x="638" y="212"/>
                  </a:lnTo>
                  <a:lnTo>
                    <a:pt x="633" y="219"/>
                  </a:lnTo>
                  <a:lnTo>
                    <a:pt x="629" y="223"/>
                  </a:lnTo>
                  <a:lnTo>
                    <a:pt x="624" y="226"/>
                  </a:lnTo>
                  <a:lnTo>
                    <a:pt x="621" y="228"/>
                  </a:lnTo>
                  <a:lnTo>
                    <a:pt x="618" y="230"/>
                  </a:lnTo>
                  <a:lnTo>
                    <a:pt x="616" y="230"/>
                  </a:lnTo>
                  <a:lnTo>
                    <a:pt x="613" y="231"/>
                  </a:lnTo>
                  <a:lnTo>
                    <a:pt x="611" y="232"/>
                  </a:lnTo>
                  <a:lnTo>
                    <a:pt x="610" y="233"/>
                  </a:lnTo>
                  <a:lnTo>
                    <a:pt x="610" y="236"/>
                  </a:lnTo>
                  <a:lnTo>
                    <a:pt x="608" y="240"/>
                  </a:lnTo>
                  <a:lnTo>
                    <a:pt x="607" y="242"/>
                  </a:lnTo>
                  <a:lnTo>
                    <a:pt x="605" y="246"/>
                  </a:lnTo>
                  <a:lnTo>
                    <a:pt x="602" y="248"/>
                  </a:lnTo>
                  <a:lnTo>
                    <a:pt x="599" y="249"/>
                  </a:lnTo>
                  <a:lnTo>
                    <a:pt x="595" y="250"/>
                  </a:lnTo>
                  <a:lnTo>
                    <a:pt x="592" y="250"/>
                  </a:lnTo>
                  <a:lnTo>
                    <a:pt x="589" y="250"/>
                  </a:lnTo>
                  <a:lnTo>
                    <a:pt x="585" y="251"/>
                  </a:lnTo>
                  <a:lnTo>
                    <a:pt x="582" y="251"/>
                  </a:lnTo>
                  <a:lnTo>
                    <a:pt x="578" y="250"/>
                  </a:lnTo>
                  <a:lnTo>
                    <a:pt x="575" y="250"/>
                  </a:lnTo>
                  <a:lnTo>
                    <a:pt x="573" y="249"/>
                  </a:lnTo>
                  <a:lnTo>
                    <a:pt x="570" y="248"/>
                  </a:lnTo>
                  <a:lnTo>
                    <a:pt x="568" y="247"/>
                  </a:lnTo>
                  <a:lnTo>
                    <a:pt x="566" y="246"/>
                  </a:lnTo>
                  <a:lnTo>
                    <a:pt x="562" y="242"/>
                  </a:lnTo>
                  <a:lnTo>
                    <a:pt x="560" y="240"/>
                  </a:lnTo>
                  <a:lnTo>
                    <a:pt x="559" y="239"/>
                  </a:lnTo>
                  <a:lnTo>
                    <a:pt x="558" y="236"/>
                  </a:lnTo>
                  <a:lnTo>
                    <a:pt x="557" y="234"/>
                  </a:lnTo>
                  <a:lnTo>
                    <a:pt x="555" y="233"/>
                  </a:lnTo>
                  <a:lnTo>
                    <a:pt x="554" y="232"/>
                  </a:lnTo>
                  <a:lnTo>
                    <a:pt x="552" y="232"/>
                  </a:lnTo>
                  <a:lnTo>
                    <a:pt x="551" y="232"/>
                  </a:lnTo>
                  <a:lnTo>
                    <a:pt x="547" y="233"/>
                  </a:lnTo>
                  <a:lnTo>
                    <a:pt x="545" y="234"/>
                  </a:lnTo>
                  <a:lnTo>
                    <a:pt x="543" y="234"/>
                  </a:lnTo>
                  <a:lnTo>
                    <a:pt x="542" y="235"/>
                  </a:lnTo>
                  <a:lnTo>
                    <a:pt x="541" y="235"/>
                  </a:lnTo>
                  <a:lnTo>
                    <a:pt x="538" y="235"/>
                  </a:lnTo>
                  <a:lnTo>
                    <a:pt x="537" y="235"/>
                  </a:lnTo>
                  <a:lnTo>
                    <a:pt x="536" y="234"/>
                  </a:lnTo>
                  <a:lnTo>
                    <a:pt x="536" y="233"/>
                  </a:lnTo>
                  <a:lnTo>
                    <a:pt x="535" y="231"/>
                  </a:lnTo>
                  <a:lnTo>
                    <a:pt x="536" y="228"/>
                  </a:lnTo>
                  <a:lnTo>
                    <a:pt x="537" y="227"/>
                  </a:lnTo>
                  <a:lnTo>
                    <a:pt x="541" y="225"/>
                  </a:lnTo>
                  <a:lnTo>
                    <a:pt x="542" y="224"/>
                  </a:lnTo>
                  <a:lnTo>
                    <a:pt x="543" y="222"/>
                  </a:lnTo>
                  <a:lnTo>
                    <a:pt x="543" y="219"/>
                  </a:lnTo>
                  <a:lnTo>
                    <a:pt x="544" y="218"/>
                  </a:lnTo>
                  <a:lnTo>
                    <a:pt x="544" y="216"/>
                  </a:lnTo>
                  <a:lnTo>
                    <a:pt x="543" y="215"/>
                  </a:lnTo>
                  <a:lnTo>
                    <a:pt x="542" y="215"/>
                  </a:lnTo>
                  <a:lnTo>
                    <a:pt x="541" y="215"/>
                  </a:lnTo>
                  <a:lnTo>
                    <a:pt x="539" y="216"/>
                  </a:lnTo>
                  <a:lnTo>
                    <a:pt x="537" y="216"/>
                  </a:lnTo>
                  <a:lnTo>
                    <a:pt x="535" y="216"/>
                  </a:lnTo>
                  <a:lnTo>
                    <a:pt x="533" y="216"/>
                  </a:lnTo>
                  <a:lnTo>
                    <a:pt x="531" y="216"/>
                  </a:lnTo>
                  <a:lnTo>
                    <a:pt x="528" y="215"/>
                  </a:lnTo>
                  <a:lnTo>
                    <a:pt x="526" y="215"/>
                  </a:lnTo>
                  <a:lnTo>
                    <a:pt x="519" y="211"/>
                  </a:lnTo>
                  <a:lnTo>
                    <a:pt x="515" y="209"/>
                  </a:lnTo>
                  <a:lnTo>
                    <a:pt x="513" y="208"/>
                  </a:lnTo>
                  <a:lnTo>
                    <a:pt x="510" y="204"/>
                  </a:lnTo>
                  <a:lnTo>
                    <a:pt x="507" y="202"/>
                  </a:lnTo>
                  <a:lnTo>
                    <a:pt x="504" y="200"/>
                  </a:lnTo>
                  <a:lnTo>
                    <a:pt x="503" y="198"/>
                  </a:lnTo>
                  <a:lnTo>
                    <a:pt x="499" y="194"/>
                  </a:lnTo>
                  <a:lnTo>
                    <a:pt x="497" y="193"/>
                  </a:lnTo>
                  <a:lnTo>
                    <a:pt x="494" y="192"/>
                  </a:lnTo>
                  <a:lnTo>
                    <a:pt x="491" y="191"/>
                  </a:lnTo>
                  <a:lnTo>
                    <a:pt x="489" y="191"/>
                  </a:lnTo>
                  <a:lnTo>
                    <a:pt x="487" y="191"/>
                  </a:lnTo>
                  <a:lnTo>
                    <a:pt x="485" y="193"/>
                  </a:lnTo>
                  <a:lnTo>
                    <a:pt x="483" y="194"/>
                  </a:lnTo>
                  <a:lnTo>
                    <a:pt x="477" y="201"/>
                  </a:lnTo>
                  <a:lnTo>
                    <a:pt x="474" y="202"/>
                  </a:lnTo>
                  <a:lnTo>
                    <a:pt x="472" y="202"/>
                  </a:lnTo>
                  <a:lnTo>
                    <a:pt x="470" y="202"/>
                  </a:lnTo>
                  <a:lnTo>
                    <a:pt x="467" y="202"/>
                  </a:lnTo>
                  <a:lnTo>
                    <a:pt x="465" y="201"/>
                  </a:lnTo>
                  <a:lnTo>
                    <a:pt x="464" y="200"/>
                  </a:lnTo>
                  <a:lnTo>
                    <a:pt x="463" y="199"/>
                  </a:lnTo>
                  <a:lnTo>
                    <a:pt x="461" y="198"/>
                  </a:lnTo>
                  <a:lnTo>
                    <a:pt x="458" y="196"/>
                  </a:lnTo>
                  <a:lnTo>
                    <a:pt x="456" y="196"/>
                  </a:lnTo>
                  <a:lnTo>
                    <a:pt x="454" y="195"/>
                  </a:lnTo>
                  <a:lnTo>
                    <a:pt x="451" y="194"/>
                  </a:lnTo>
                  <a:lnTo>
                    <a:pt x="449" y="193"/>
                  </a:lnTo>
                  <a:lnTo>
                    <a:pt x="446" y="192"/>
                  </a:lnTo>
                  <a:lnTo>
                    <a:pt x="443" y="191"/>
                  </a:lnTo>
                  <a:lnTo>
                    <a:pt x="441" y="190"/>
                  </a:lnTo>
                  <a:lnTo>
                    <a:pt x="439" y="190"/>
                  </a:lnTo>
                  <a:lnTo>
                    <a:pt x="437" y="190"/>
                  </a:lnTo>
                  <a:lnTo>
                    <a:pt x="434" y="190"/>
                  </a:lnTo>
                  <a:lnTo>
                    <a:pt x="432" y="191"/>
                  </a:lnTo>
                  <a:lnTo>
                    <a:pt x="424" y="193"/>
                  </a:lnTo>
                  <a:lnTo>
                    <a:pt x="422" y="195"/>
                  </a:lnTo>
                  <a:lnTo>
                    <a:pt x="421" y="199"/>
                  </a:lnTo>
                  <a:lnTo>
                    <a:pt x="419" y="203"/>
                  </a:lnTo>
                  <a:lnTo>
                    <a:pt x="419" y="206"/>
                  </a:lnTo>
                  <a:lnTo>
                    <a:pt x="419" y="209"/>
                  </a:lnTo>
                  <a:lnTo>
                    <a:pt x="419" y="211"/>
                  </a:lnTo>
                  <a:lnTo>
                    <a:pt x="416" y="215"/>
                  </a:lnTo>
                  <a:lnTo>
                    <a:pt x="414" y="216"/>
                  </a:lnTo>
                  <a:lnTo>
                    <a:pt x="411" y="218"/>
                  </a:lnTo>
                  <a:lnTo>
                    <a:pt x="409" y="219"/>
                  </a:lnTo>
                  <a:lnTo>
                    <a:pt x="403" y="223"/>
                  </a:lnTo>
                  <a:lnTo>
                    <a:pt x="392" y="233"/>
                  </a:lnTo>
                  <a:lnTo>
                    <a:pt x="390" y="235"/>
                  </a:lnTo>
                  <a:lnTo>
                    <a:pt x="387" y="238"/>
                  </a:lnTo>
                  <a:lnTo>
                    <a:pt x="385" y="239"/>
                  </a:lnTo>
                  <a:lnTo>
                    <a:pt x="382" y="240"/>
                  </a:lnTo>
                  <a:lnTo>
                    <a:pt x="379" y="241"/>
                  </a:lnTo>
                  <a:lnTo>
                    <a:pt x="377" y="242"/>
                  </a:lnTo>
                  <a:lnTo>
                    <a:pt x="375" y="243"/>
                  </a:lnTo>
                  <a:lnTo>
                    <a:pt x="371" y="244"/>
                  </a:lnTo>
                  <a:lnTo>
                    <a:pt x="370" y="246"/>
                  </a:lnTo>
                  <a:lnTo>
                    <a:pt x="369" y="249"/>
                  </a:lnTo>
                  <a:lnTo>
                    <a:pt x="368" y="251"/>
                  </a:lnTo>
                  <a:lnTo>
                    <a:pt x="367" y="255"/>
                  </a:lnTo>
                  <a:lnTo>
                    <a:pt x="363" y="263"/>
                  </a:lnTo>
                  <a:lnTo>
                    <a:pt x="361" y="272"/>
                  </a:lnTo>
                  <a:lnTo>
                    <a:pt x="359" y="278"/>
                  </a:lnTo>
                  <a:lnTo>
                    <a:pt x="359" y="281"/>
                  </a:lnTo>
                  <a:lnTo>
                    <a:pt x="359" y="283"/>
                  </a:lnTo>
                  <a:lnTo>
                    <a:pt x="360" y="284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8"/>
                  </a:lnTo>
                  <a:lnTo>
                    <a:pt x="366" y="289"/>
                  </a:lnTo>
                  <a:lnTo>
                    <a:pt x="365" y="291"/>
                  </a:lnTo>
                  <a:lnTo>
                    <a:pt x="362" y="292"/>
                  </a:lnTo>
                  <a:lnTo>
                    <a:pt x="361" y="295"/>
                  </a:lnTo>
                  <a:lnTo>
                    <a:pt x="361" y="296"/>
                  </a:lnTo>
                  <a:lnTo>
                    <a:pt x="363" y="297"/>
                  </a:lnTo>
                  <a:lnTo>
                    <a:pt x="365" y="297"/>
                  </a:lnTo>
                  <a:lnTo>
                    <a:pt x="366" y="297"/>
                  </a:lnTo>
                  <a:lnTo>
                    <a:pt x="368" y="296"/>
                  </a:lnTo>
                  <a:lnTo>
                    <a:pt x="370" y="295"/>
                  </a:lnTo>
                  <a:lnTo>
                    <a:pt x="371" y="294"/>
                  </a:lnTo>
                  <a:lnTo>
                    <a:pt x="373" y="292"/>
                  </a:lnTo>
                  <a:lnTo>
                    <a:pt x="374" y="292"/>
                  </a:lnTo>
                  <a:lnTo>
                    <a:pt x="375" y="292"/>
                  </a:lnTo>
                  <a:lnTo>
                    <a:pt x="376" y="292"/>
                  </a:lnTo>
                  <a:lnTo>
                    <a:pt x="377" y="295"/>
                  </a:lnTo>
                  <a:lnTo>
                    <a:pt x="377" y="297"/>
                  </a:lnTo>
                  <a:lnTo>
                    <a:pt x="376" y="298"/>
                  </a:lnTo>
                  <a:lnTo>
                    <a:pt x="376" y="302"/>
                  </a:lnTo>
                  <a:lnTo>
                    <a:pt x="374" y="310"/>
                  </a:lnTo>
                  <a:lnTo>
                    <a:pt x="373" y="312"/>
                  </a:lnTo>
                  <a:lnTo>
                    <a:pt x="371" y="315"/>
                  </a:lnTo>
                  <a:lnTo>
                    <a:pt x="370" y="318"/>
                  </a:lnTo>
                  <a:lnTo>
                    <a:pt x="368" y="327"/>
                  </a:lnTo>
                  <a:lnTo>
                    <a:pt x="368" y="329"/>
                  </a:lnTo>
                  <a:lnTo>
                    <a:pt x="367" y="332"/>
                  </a:lnTo>
                  <a:lnTo>
                    <a:pt x="367" y="335"/>
                  </a:lnTo>
                  <a:lnTo>
                    <a:pt x="366" y="339"/>
                  </a:lnTo>
                  <a:lnTo>
                    <a:pt x="363" y="340"/>
                  </a:lnTo>
                  <a:lnTo>
                    <a:pt x="359" y="345"/>
                  </a:lnTo>
                  <a:lnTo>
                    <a:pt x="354" y="347"/>
                  </a:lnTo>
                  <a:lnTo>
                    <a:pt x="350" y="350"/>
                  </a:lnTo>
                  <a:lnTo>
                    <a:pt x="341" y="354"/>
                  </a:lnTo>
                  <a:lnTo>
                    <a:pt x="337" y="355"/>
                  </a:lnTo>
                  <a:lnTo>
                    <a:pt x="334" y="356"/>
                  </a:lnTo>
                  <a:lnTo>
                    <a:pt x="330" y="358"/>
                  </a:lnTo>
                  <a:lnTo>
                    <a:pt x="329" y="361"/>
                  </a:lnTo>
                  <a:lnTo>
                    <a:pt x="327" y="364"/>
                  </a:lnTo>
                  <a:lnTo>
                    <a:pt x="328" y="368"/>
                  </a:lnTo>
                  <a:lnTo>
                    <a:pt x="330" y="370"/>
                  </a:lnTo>
                  <a:lnTo>
                    <a:pt x="331" y="371"/>
                  </a:lnTo>
                  <a:lnTo>
                    <a:pt x="335" y="374"/>
                  </a:lnTo>
                  <a:lnTo>
                    <a:pt x="338" y="375"/>
                  </a:lnTo>
                  <a:lnTo>
                    <a:pt x="343" y="375"/>
                  </a:lnTo>
                  <a:lnTo>
                    <a:pt x="346" y="375"/>
                  </a:lnTo>
                  <a:lnTo>
                    <a:pt x="351" y="375"/>
                  </a:lnTo>
                  <a:lnTo>
                    <a:pt x="354" y="375"/>
                  </a:lnTo>
                  <a:lnTo>
                    <a:pt x="358" y="372"/>
                  </a:lnTo>
                  <a:lnTo>
                    <a:pt x="360" y="370"/>
                  </a:lnTo>
                  <a:lnTo>
                    <a:pt x="363" y="369"/>
                  </a:lnTo>
                  <a:lnTo>
                    <a:pt x="365" y="368"/>
                  </a:lnTo>
                  <a:lnTo>
                    <a:pt x="368" y="367"/>
                  </a:lnTo>
                  <a:lnTo>
                    <a:pt x="376" y="366"/>
                  </a:lnTo>
                  <a:lnTo>
                    <a:pt x="378" y="364"/>
                  </a:lnTo>
                  <a:lnTo>
                    <a:pt x="382" y="364"/>
                  </a:lnTo>
                  <a:lnTo>
                    <a:pt x="386" y="366"/>
                  </a:lnTo>
                  <a:lnTo>
                    <a:pt x="389" y="367"/>
                  </a:lnTo>
                  <a:lnTo>
                    <a:pt x="391" y="369"/>
                  </a:lnTo>
                  <a:lnTo>
                    <a:pt x="393" y="371"/>
                  </a:lnTo>
                  <a:lnTo>
                    <a:pt x="397" y="375"/>
                  </a:lnTo>
                  <a:lnTo>
                    <a:pt x="398" y="376"/>
                  </a:lnTo>
                  <a:lnTo>
                    <a:pt x="400" y="378"/>
                  </a:lnTo>
                  <a:lnTo>
                    <a:pt x="401" y="382"/>
                  </a:lnTo>
                  <a:lnTo>
                    <a:pt x="402" y="384"/>
                  </a:lnTo>
                  <a:lnTo>
                    <a:pt x="402" y="388"/>
                  </a:lnTo>
                  <a:lnTo>
                    <a:pt x="403" y="390"/>
                  </a:lnTo>
                  <a:lnTo>
                    <a:pt x="405" y="392"/>
                  </a:lnTo>
                  <a:lnTo>
                    <a:pt x="405" y="394"/>
                  </a:lnTo>
                  <a:lnTo>
                    <a:pt x="408" y="398"/>
                  </a:lnTo>
                  <a:lnTo>
                    <a:pt x="410" y="401"/>
                  </a:lnTo>
                  <a:lnTo>
                    <a:pt x="410" y="402"/>
                  </a:lnTo>
                  <a:lnTo>
                    <a:pt x="410" y="407"/>
                  </a:lnTo>
                  <a:lnTo>
                    <a:pt x="410" y="410"/>
                  </a:lnTo>
                  <a:lnTo>
                    <a:pt x="410" y="414"/>
                  </a:lnTo>
                  <a:lnTo>
                    <a:pt x="409" y="417"/>
                  </a:lnTo>
                  <a:lnTo>
                    <a:pt x="407" y="422"/>
                  </a:lnTo>
                  <a:lnTo>
                    <a:pt x="401" y="428"/>
                  </a:lnTo>
                  <a:lnTo>
                    <a:pt x="399" y="432"/>
                  </a:lnTo>
                  <a:lnTo>
                    <a:pt x="393" y="434"/>
                  </a:lnTo>
                  <a:lnTo>
                    <a:pt x="390" y="435"/>
                  </a:lnTo>
                  <a:lnTo>
                    <a:pt x="387" y="434"/>
                  </a:lnTo>
                  <a:lnTo>
                    <a:pt x="384" y="433"/>
                  </a:lnTo>
                  <a:lnTo>
                    <a:pt x="382" y="433"/>
                  </a:lnTo>
                  <a:lnTo>
                    <a:pt x="379" y="433"/>
                  </a:lnTo>
                  <a:lnTo>
                    <a:pt x="373" y="432"/>
                  </a:lnTo>
                  <a:lnTo>
                    <a:pt x="368" y="433"/>
                  </a:lnTo>
                  <a:lnTo>
                    <a:pt x="362" y="435"/>
                  </a:lnTo>
                  <a:lnTo>
                    <a:pt x="359" y="438"/>
                  </a:lnTo>
                  <a:lnTo>
                    <a:pt x="355" y="439"/>
                  </a:lnTo>
                  <a:lnTo>
                    <a:pt x="353" y="441"/>
                  </a:lnTo>
                  <a:lnTo>
                    <a:pt x="344" y="450"/>
                  </a:lnTo>
                  <a:lnTo>
                    <a:pt x="342" y="454"/>
                  </a:lnTo>
                  <a:lnTo>
                    <a:pt x="341" y="455"/>
                  </a:lnTo>
                  <a:lnTo>
                    <a:pt x="338" y="458"/>
                  </a:lnTo>
                  <a:lnTo>
                    <a:pt x="338" y="460"/>
                  </a:lnTo>
                  <a:lnTo>
                    <a:pt x="337" y="464"/>
                  </a:lnTo>
                  <a:lnTo>
                    <a:pt x="336" y="468"/>
                  </a:lnTo>
                  <a:lnTo>
                    <a:pt x="336" y="471"/>
                  </a:lnTo>
                  <a:lnTo>
                    <a:pt x="335" y="473"/>
                  </a:lnTo>
                  <a:lnTo>
                    <a:pt x="334" y="478"/>
                  </a:lnTo>
                  <a:lnTo>
                    <a:pt x="334" y="479"/>
                  </a:lnTo>
                  <a:lnTo>
                    <a:pt x="334" y="481"/>
                  </a:lnTo>
                  <a:lnTo>
                    <a:pt x="333" y="482"/>
                  </a:lnTo>
                  <a:lnTo>
                    <a:pt x="329" y="483"/>
                  </a:lnTo>
                  <a:lnTo>
                    <a:pt x="327" y="484"/>
                  </a:lnTo>
                  <a:lnTo>
                    <a:pt x="323" y="486"/>
                  </a:lnTo>
                  <a:lnTo>
                    <a:pt x="321" y="486"/>
                  </a:lnTo>
                  <a:lnTo>
                    <a:pt x="312" y="484"/>
                  </a:lnTo>
                  <a:lnTo>
                    <a:pt x="309" y="484"/>
                  </a:lnTo>
                  <a:lnTo>
                    <a:pt x="306" y="483"/>
                  </a:lnTo>
                  <a:lnTo>
                    <a:pt x="304" y="483"/>
                  </a:lnTo>
                  <a:lnTo>
                    <a:pt x="301" y="484"/>
                  </a:lnTo>
                  <a:lnTo>
                    <a:pt x="298" y="486"/>
                  </a:lnTo>
                  <a:lnTo>
                    <a:pt x="296" y="486"/>
                  </a:lnTo>
                  <a:lnTo>
                    <a:pt x="294" y="486"/>
                  </a:lnTo>
                  <a:lnTo>
                    <a:pt x="291" y="486"/>
                  </a:lnTo>
                  <a:lnTo>
                    <a:pt x="290" y="484"/>
                  </a:lnTo>
                  <a:lnTo>
                    <a:pt x="288" y="482"/>
                  </a:lnTo>
                  <a:lnTo>
                    <a:pt x="287" y="480"/>
                  </a:lnTo>
                  <a:lnTo>
                    <a:pt x="286" y="479"/>
                  </a:lnTo>
                  <a:lnTo>
                    <a:pt x="283" y="478"/>
                  </a:lnTo>
                  <a:lnTo>
                    <a:pt x="282" y="478"/>
                  </a:lnTo>
                  <a:lnTo>
                    <a:pt x="280" y="476"/>
                  </a:lnTo>
                  <a:lnTo>
                    <a:pt x="278" y="476"/>
                  </a:lnTo>
                  <a:lnTo>
                    <a:pt x="275" y="478"/>
                  </a:lnTo>
                  <a:lnTo>
                    <a:pt x="273" y="478"/>
                  </a:lnTo>
                  <a:lnTo>
                    <a:pt x="272" y="478"/>
                  </a:lnTo>
                  <a:lnTo>
                    <a:pt x="270" y="478"/>
                  </a:lnTo>
                  <a:lnTo>
                    <a:pt x="266" y="480"/>
                  </a:lnTo>
                  <a:lnTo>
                    <a:pt x="264" y="482"/>
                  </a:lnTo>
                  <a:lnTo>
                    <a:pt x="259" y="486"/>
                  </a:lnTo>
                  <a:lnTo>
                    <a:pt x="257" y="486"/>
                  </a:lnTo>
                  <a:lnTo>
                    <a:pt x="255" y="486"/>
                  </a:lnTo>
                  <a:lnTo>
                    <a:pt x="253" y="484"/>
                  </a:lnTo>
                  <a:lnTo>
                    <a:pt x="248" y="486"/>
                  </a:lnTo>
                  <a:lnTo>
                    <a:pt x="245" y="486"/>
                  </a:lnTo>
                  <a:lnTo>
                    <a:pt x="242" y="487"/>
                  </a:lnTo>
                  <a:lnTo>
                    <a:pt x="241" y="489"/>
                  </a:lnTo>
                  <a:lnTo>
                    <a:pt x="240" y="490"/>
                  </a:lnTo>
                  <a:lnTo>
                    <a:pt x="238" y="495"/>
                  </a:lnTo>
                  <a:lnTo>
                    <a:pt x="237" y="497"/>
                  </a:lnTo>
                  <a:lnTo>
                    <a:pt x="237" y="499"/>
                  </a:lnTo>
                  <a:lnTo>
                    <a:pt x="234" y="502"/>
                  </a:lnTo>
                  <a:lnTo>
                    <a:pt x="232" y="503"/>
                  </a:lnTo>
                  <a:lnTo>
                    <a:pt x="230" y="504"/>
                  </a:lnTo>
                  <a:lnTo>
                    <a:pt x="227" y="504"/>
                  </a:lnTo>
                  <a:lnTo>
                    <a:pt x="226" y="503"/>
                  </a:lnTo>
                  <a:lnTo>
                    <a:pt x="225" y="502"/>
                  </a:lnTo>
                  <a:lnTo>
                    <a:pt x="224" y="499"/>
                  </a:lnTo>
                  <a:lnTo>
                    <a:pt x="223" y="497"/>
                  </a:lnTo>
                  <a:lnTo>
                    <a:pt x="222" y="495"/>
                  </a:lnTo>
                  <a:lnTo>
                    <a:pt x="221" y="491"/>
                  </a:lnTo>
                  <a:lnTo>
                    <a:pt x="219" y="489"/>
                  </a:lnTo>
                  <a:lnTo>
                    <a:pt x="219" y="487"/>
                  </a:lnTo>
                  <a:lnTo>
                    <a:pt x="217" y="484"/>
                  </a:lnTo>
                  <a:lnTo>
                    <a:pt x="216" y="483"/>
                  </a:lnTo>
                  <a:lnTo>
                    <a:pt x="214" y="482"/>
                  </a:lnTo>
                  <a:lnTo>
                    <a:pt x="213" y="481"/>
                  </a:lnTo>
                  <a:lnTo>
                    <a:pt x="208" y="482"/>
                  </a:lnTo>
                  <a:lnTo>
                    <a:pt x="203" y="482"/>
                  </a:lnTo>
                  <a:lnTo>
                    <a:pt x="201" y="483"/>
                  </a:lnTo>
                  <a:lnTo>
                    <a:pt x="185" y="486"/>
                  </a:lnTo>
                  <a:lnTo>
                    <a:pt x="182" y="487"/>
                  </a:lnTo>
                  <a:lnTo>
                    <a:pt x="179" y="487"/>
                  </a:lnTo>
                  <a:lnTo>
                    <a:pt x="176" y="490"/>
                  </a:lnTo>
                  <a:lnTo>
                    <a:pt x="174" y="492"/>
                  </a:lnTo>
                  <a:lnTo>
                    <a:pt x="173" y="495"/>
                  </a:lnTo>
                  <a:lnTo>
                    <a:pt x="169" y="502"/>
                  </a:lnTo>
                  <a:lnTo>
                    <a:pt x="167" y="507"/>
                  </a:lnTo>
                  <a:lnTo>
                    <a:pt x="166" y="511"/>
                  </a:lnTo>
                  <a:lnTo>
                    <a:pt x="165" y="516"/>
                  </a:lnTo>
                  <a:lnTo>
                    <a:pt x="163" y="526"/>
                  </a:lnTo>
                  <a:lnTo>
                    <a:pt x="163" y="531"/>
                  </a:lnTo>
                  <a:lnTo>
                    <a:pt x="163" y="532"/>
                  </a:lnTo>
                  <a:lnTo>
                    <a:pt x="163" y="534"/>
                  </a:lnTo>
                  <a:lnTo>
                    <a:pt x="161" y="535"/>
                  </a:lnTo>
                  <a:lnTo>
                    <a:pt x="160" y="536"/>
                  </a:lnTo>
                  <a:lnTo>
                    <a:pt x="155" y="535"/>
                  </a:lnTo>
                  <a:lnTo>
                    <a:pt x="153" y="534"/>
                  </a:lnTo>
                  <a:lnTo>
                    <a:pt x="149" y="534"/>
                  </a:lnTo>
                  <a:lnTo>
                    <a:pt x="144" y="534"/>
                  </a:lnTo>
                  <a:lnTo>
                    <a:pt x="139" y="534"/>
                  </a:lnTo>
                  <a:lnTo>
                    <a:pt x="136" y="535"/>
                  </a:lnTo>
                  <a:lnTo>
                    <a:pt x="133" y="534"/>
                  </a:lnTo>
                  <a:lnTo>
                    <a:pt x="129" y="534"/>
                  </a:lnTo>
                  <a:lnTo>
                    <a:pt x="126" y="534"/>
                  </a:lnTo>
                  <a:lnTo>
                    <a:pt x="122" y="535"/>
                  </a:lnTo>
                  <a:lnTo>
                    <a:pt x="119" y="535"/>
                  </a:lnTo>
                  <a:lnTo>
                    <a:pt x="115" y="535"/>
                  </a:lnTo>
                  <a:lnTo>
                    <a:pt x="112" y="535"/>
                  </a:lnTo>
                  <a:lnTo>
                    <a:pt x="109" y="535"/>
                  </a:lnTo>
                  <a:lnTo>
                    <a:pt x="106" y="534"/>
                  </a:lnTo>
                  <a:lnTo>
                    <a:pt x="104" y="532"/>
                  </a:lnTo>
                  <a:lnTo>
                    <a:pt x="102" y="532"/>
                  </a:lnTo>
                  <a:lnTo>
                    <a:pt x="99" y="531"/>
                  </a:lnTo>
                  <a:lnTo>
                    <a:pt x="97" y="531"/>
                  </a:lnTo>
                  <a:lnTo>
                    <a:pt x="96" y="532"/>
                  </a:lnTo>
                  <a:lnTo>
                    <a:pt x="93" y="532"/>
                  </a:lnTo>
                  <a:lnTo>
                    <a:pt x="91" y="532"/>
                  </a:lnTo>
                  <a:lnTo>
                    <a:pt x="87" y="531"/>
                  </a:lnTo>
                  <a:lnTo>
                    <a:pt x="87" y="529"/>
                  </a:lnTo>
                  <a:lnTo>
                    <a:pt x="86" y="528"/>
                  </a:lnTo>
                  <a:lnTo>
                    <a:pt x="85" y="527"/>
                  </a:lnTo>
                  <a:lnTo>
                    <a:pt x="85" y="523"/>
                  </a:lnTo>
                  <a:lnTo>
                    <a:pt x="83" y="522"/>
                  </a:lnTo>
                  <a:lnTo>
                    <a:pt x="83" y="520"/>
                  </a:lnTo>
                  <a:lnTo>
                    <a:pt x="82" y="518"/>
                  </a:lnTo>
                  <a:lnTo>
                    <a:pt x="82" y="516"/>
                  </a:lnTo>
                  <a:lnTo>
                    <a:pt x="82" y="515"/>
                  </a:lnTo>
                  <a:lnTo>
                    <a:pt x="81" y="513"/>
                  </a:lnTo>
                  <a:lnTo>
                    <a:pt x="80" y="511"/>
                  </a:lnTo>
                  <a:lnTo>
                    <a:pt x="79" y="508"/>
                  </a:lnTo>
                  <a:lnTo>
                    <a:pt x="77" y="507"/>
                  </a:lnTo>
                  <a:lnTo>
                    <a:pt x="73" y="507"/>
                  </a:lnTo>
                  <a:lnTo>
                    <a:pt x="71" y="507"/>
                  </a:lnTo>
                  <a:lnTo>
                    <a:pt x="69" y="510"/>
                  </a:lnTo>
                  <a:lnTo>
                    <a:pt x="65" y="511"/>
                  </a:lnTo>
                  <a:lnTo>
                    <a:pt x="63" y="512"/>
                  </a:lnTo>
                  <a:lnTo>
                    <a:pt x="61" y="514"/>
                  </a:lnTo>
                  <a:lnTo>
                    <a:pt x="59" y="514"/>
                  </a:lnTo>
                  <a:lnTo>
                    <a:pt x="55" y="518"/>
                  </a:lnTo>
                  <a:lnTo>
                    <a:pt x="55" y="521"/>
                  </a:lnTo>
                  <a:lnTo>
                    <a:pt x="55" y="524"/>
                  </a:lnTo>
                  <a:lnTo>
                    <a:pt x="54" y="526"/>
                  </a:lnTo>
                  <a:lnTo>
                    <a:pt x="53" y="528"/>
                  </a:lnTo>
                  <a:lnTo>
                    <a:pt x="50" y="528"/>
                  </a:lnTo>
                  <a:lnTo>
                    <a:pt x="47" y="529"/>
                  </a:lnTo>
                  <a:lnTo>
                    <a:pt x="41" y="531"/>
                  </a:lnTo>
                  <a:lnTo>
                    <a:pt x="37" y="534"/>
                  </a:lnTo>
                  <a:lnTo>
                    <a:pt x="35" y="535"/>
                  </a:lnTo>
                  <a:lnTo>
                    <a:pt x="29" y="539"/>
                  </a:lnTo>
                  <a:lnTo>
                    <a:pt x="26" y="543"/>
                  </a:lnTo>
                  <a:lnTo>
                    <a:pt x="24" y="547"/>
                  </a:lnTo>
                  <a:lnTo>
                    <a:pt x="19" y="548"/>
                  </a:lnTo>
                  <a:lnTo>
                    <a:pt x="15" y="551"/>
                  </a:lnTo>
                  <a:lnTo>
                    <a:pt x="14" y="552"/>
                  </a:lnTo>
                  <a:lnTo>
                    <a:pt x="13" y="552"/>
                  </a:lnTo>
                  <a:lnTo>
                    <a:pt x="11" y="553"/>
                  </a:lnTo>
                  <a:lnTo>
                    <a:pt x="10" y="554"/>
                  </a:lnTo>
                  <a:lnTo>
                    <a:pt x="10" y="556"/>
                  </a:lnTo>
                  <a:lnTo>
                    <a:pt x="9" y="559"/>
                  </a:lnTo>
                  <a:lnTo>
                    <a:pt x="8" y="560"/>
                  </a:lnTo>
                  <a:lnTo>
                    <a:pt x="7" y="561"/>
                  </a:lnTo>
                  <a:lnTo>
                    <a:pt x="3" y="562"/>
                  </a:lnTo>
                  <a:lnTo>
                    <a:pt x="2" y="562"/>
                  </a:lnTo>
                  <a:lnTo>
                    <a:pt x="0" y="564"/>
                  </a:lnTo>
                  <a:lnTo>
                    <a:pt x="0" y="568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22" name="GA"/>
            <p:cNvSpPr>
              <a:spLocks/>
            </p:cNvSpPr>
            <p:nvPr/>
          </p:nvSpPr>
          <p:spPr bwMode="auto">
            <a:xfrm>
              <a:off x="5941803" y="4199297"/>
              <a:ext cx="70033" cy="94767"/>
            </a:xfrm>
            <a:custGeom>
              <a:avLst/>
              <a:gdLst>
                <a:gd name="T0" fmla="*/ 4 w 173"/>
                <a:gd name="T1" fmla="*/ 39 h 244"/>
                <a:gd name="T2" fmla="*/ 6 w 173"/>
                <a:gd name="T3" fmla="*/ 42 h 244"/>
                <a:gd name="T4" fmla="*/ 8 w 173"/>
                <a:gd name="T5" fmla="*/ 52 h 244"/>
                <a:gd name="T6" fmla="*/ 14 w 173"/>
                <a:gd name="T7" fmla="*/ 66 h 244"/>
                <a:gd name="T8" fmla="*/ 17 w 173"/>
                <a:gd name="T9" fmla="*/ 84 h 244"/>
                <a:gd name="T10" fmla="*/ 27 w 173"/>
                <a:gd name="T11" fmla="*/ 85 h 244"/>
                <a:gd name="T12" fmla="*/ 30 w 173"/>
                <a:gd name="T13" fmla="*/ 90 h 244"/>
                <a:gd name="T14" fmla="*/ 35 w 173"/>
                <a:gd name="T15" fmla="*/ 96 h 244"/>
                <a:gd name="T16" fmla="*/ 46 w 173"/>
                <a:gd name="T17" fmla="*/ 103 h 244"/>
                <a:gd name="T18" fmla="*/ 54 w 173"/>
                <a:gd name="T19" fmla="*/ 110 h 244"/>
                <a:gd name="T20" fmla="*/ 53 w 173"/>
                <a:gd name="T21" fmla="*/ 114 h 244"/>
                <a:gd name="T22" fmla="*/ 37 w 173"/>
                <a:gd name="T23" fmla="*/ 111 h 244"/>
                <a:gd name="T24" fmla="*/ 24 w 173"/>
                <a:gd name="T25" fmla="*/ 109 h 244"/>
                <a:gd name="T26" fmla="*/ 34 w 173"/>
                <a:gd name="T27" fmla="*/ 119 h 244"/>
                <a:gd name="T28" fmla="*/ 52 w 173"/>
                <a:gd name="T29" fmla="*/ 124 h 244"/>
                <a:gd name="T30" fmla="*/ 57 w 173"/>
                <a:gd name="T31" fmla="*/ 138 h 244"/>
                <a:gd name="T32" fmla="*/ 62 w 173"/>
                <a:gd name="T33" fmla="*/ 157 h 244"/>
                <a:gd name="T34" fmla="*/ 67 w 173"/>
                <a:gd name="T35" fmla="*/ 175 h 244"/>
                <a:gd name="T36" fmla="*/ 70 w 173"/>
                <a:gd name="T37" fmla="*/ 184 h 244"/>
                <a:gd name="T38" fmla="*/ 62 w 173"/>
                <a:gd name="T39" fmla="*/ 192 h 244"/>
                <a:gd name="T40" fmla="*/ 64 w 173"/>
                <a:gd name="T41" fmla="*/ 200 h 244"/>
                <a:gd name="T42" fmla="*/ 73 w 173"/>
                <a:gd name="T43" fmla="*/ 207 h 244"/>
                <a:gd name="T44" fmla="*/ 80 w 173"/>
                <a:gd name="T45" fmla="*/ 217 h 244"/>
                <a:gd name="T46" fmla="*/ 93 w 173"/>
                <a:gd name="T47" fmla="*/ 224 h 244"/>
                <a:gd name="T48" fmla="*/ 94 w 173"/>
                <a:gd name="T49" fmla="*/ 237 h 244"/>
                <a:gd name="T50" fmla="*/ 104 w 173"/>
                <a:gd name="T51" fmla="*/ 242 h 244"/>
                <a:gd name="T52" fmla="*/ 123 w 173"/>
                <a:gd name="T53" fmla="*/ 242 h 244"/>
                <a:gd name="T54" fmla="*/ 128 w 173"/>
                <a:gd name="T55" fmla="*/ 229 h 244"/>
                <a:gd name="T56" fmla="*/ 137 w 173"/>
                <a:gd name="T57" fmla="*/ 239 h 244"/>
                <a:gd name="T58" fmla="*/ 147 w 173"/>
                <a:gd name="T59" fmla="*/ 231 h 244"/>
                <a:gd name="T60" fmla="*/ 160 w 173"/>
                <a:gd name="T61" fmla="*/ 218 h 244"/>
                <a:gd name="T62" fmla="*/ 164 w 173"/>
                <a:gd name="T63" fmla="*/ 202 h 244"/>
                <a:gd name="T64" fmla="*/ 161 w 173"/>
                <a:gd name="T65" fmla="*/ 189 h 244"/>
                <a:gd name="T66" fmla="*/ 163 w 173"/>
                <a:gd name="T67" fmla="*/ 178 h 244"/>
                <a:gd name="T68" fmla="*/ 166 w 173"/>
                <a:gd name="T69" fmla="*/ 164 h 244"/>
                <a:gd name="T70" fmla="*/ 155 w 173"/>
                <a:gd name="T71" fmla="*/ 157 h 244"/>
                <a:gd name="T72" fmla="*/ 154 w 173"/>
                <a:gd name="T73" fmla="*/ 145 h 244"/>
                <a:gd name="T74" fmla="*/ 166 w 173"/>
                <a:gd name="T75" fmla="*/ 142 h 244"/>
                <a:gd name="T76" fmla="*/ 172 w 173"/>
                <a:gd name="T77" fmla="*/ 134 h 244"/>
                <a:gd name="T78" fmla="*/ 166 w 173"/>
                <a:gd name="T79" fmla="*/ 120 h 244"/>
                <a:gd name="T80" fmla="*/ 156 w 173"/>
                <a:gd name="T81" fmla="*/ 109 h 244"/>
                <a:gd name="T82" fmla="*/ 156 w 173"/>
                <a:gd name="T83" fmla="*/ 96 h 244"/>
                <a:gd name="T84" fmla="*/ 156 w 173"/>
                <a:gd name="T85" fmla="*/ 80 h 244"/>
                <a:gd name="T86" fmla="*/ 155 w 173"/>
                <a:gd name="T87" fmla="*/ 69 h 244"/>
                <a:gd name="T88" fmla="*/ 150 w 173"/>
                <a:gd name="T89" fmla="*/ 58 h 244"/>
                <a:gd name="T90" fmla="*/ 153 w 173"/>
                <a:gd name="T91" fmla="*/ 46 h 244"/>
                <a:gd name="T92" fmla="*/ 146 w 173"/>
                <a:gd name="T93" fmla="*/ 38 h 244"/>
                <a:gd name="T94" fmla="*/ 134 w 173"/>
                <a:gd name="T95" fmla="*/ 37 h 244"/>
                <a:gd name="T96" fmla="*/ 125 w 173"/>
                <a:gd name="T97" fmla="*/ 33 h 244"/>
                <a:gd name="T98" fmla="*/ 115 w 173"/>
                <a:gd name="T99" fmla="*/ 41 h 244"/>
                <a:gd name="T100" fmla="*/ 101 w 173"/>
                <a:gd name="T101" fmla="*/ 46 h 244"/>
                <a:gd name="T102" fmla="*/ 89 w 173"/>
                <a:gd name="T103" fmla="*/ 49 h 244"/>
                <a:gd name="T104" fmla="*/ 77 w 173"/>
                <a:gd name="T105" fmla="*/ 45 h 244"/>
                <a:gd name="T106" fmla="*/ 74 w 173"/>
                <a:gd name="T107" fmla="*/ 34 h 244"/>
                <a:gd name="T108" fmla="*/ 69 w 173"/>
                <a:gd name="T109" fmla="*/ 22 h 244"/>
                <a:gd name="T110" fmla="*/ 57 w 173"/>
                <a:gd name="T111" fmla="*/ 14 h 244"/>
                <a:gd name="T112" fmla="*/ 51 w 173"/>
                <a:gd name="T113" fmla="*/ 7 h 244"/>
                <a:gd name="T114" fmla="*/ 44 w 173"/>
                <a:gd name="T115" fmla="*/ 0 h 244"/>
                <a:gd name="T116" fmla="*/ 38 w 173"/>
                <a:gd name="T117" fmla="*/ 7 h 244"/>
                <a:gd name="T118" fmla="*/ 26 w 173"/>
                <a:gd name="T119" fmla="*/ 14 h 244"/>
                <a:gd name="T120" fmla="*/ 17 w 173"/>
                <a:gd name="T121" fmla="*/ 20 h 244"/>
                <a:gd name="T122" fmla="*/ 8 w 173"/>
                <a:gd name="T123" fmla="*/ 21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3" h="244">
                  <a:moveTo>
                    <a:pt x="0" y="23"/>
                  </a:moveTo>
                  <a:lnTo>
                    <a:pt x="1" y="24"/>
                  </a:lnTo>
                  <a:lnTo>
                    <a:pt x="1" y="26"/>
                  </a:lnTo>
                  <a:lnTo>
                    <a:pt x="2" y="28"/>
                  </a:lnTo>
                  <a:lnTo>
                    <a:pt x="3" y="30"/>
                  </a:lnTo>
                  <a:lnTo>
                    <a:pt x="3" y="33"/>
                  </a:lnTo>
                  <a:lnTo>
                    <a:pt x="4" y="34"/>
                  </a:lnTo>
                  <a:lnTo>
                    <a:pt x="4" y="37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4" y="42"/>
                  </a:lnTo>
                  <a:lnTo>
                    <a:pt x="4" y="44"/>
                  </a:lnTo>
                  <a:lnTo>
                    <a:pt x="4" y="47"/>
                  </a:lnTo>
                  <a:lnTo>
                    <a:pt x="5" y="47"/>
                  </a:lnTo>
                  <a:lnTo>
                    <a:pt x="5" y="46"/>
                  </a:lnTo>
                  <a:lnTo>
                    <a:pt x="5" y="45"/>
                  </a:lnTo>
                  <a:lnTo>
                    <a:pt x="5" y="44"/>
                  </a:lnTo>
                  <a:lnTo>
                    <a:pt x="6" y="42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10" y="44"/>
                  </a:lnTo>
                  <a:lnTo>
                    <a:pt x="10" y="45"/>
                  </a:lnTo>
                  <a:lnTo>
                    <a:pt x="11" y="46"/>
                  </a:lnTo>
                  <a:lnTo>
                    <a:pt x="10" y="47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2"/>
                  </a:lnTo>
                  <a:lnTo>
                    <a:pt x="8" y="54"/>
                  </a:lnTo>
                  <a:lnTo>
                    <a:pt x="8" y="55"/>
                  </a:lnTo>
                  <a:lnTo>
                    <a:pt x="9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11" y="62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6" y="71"/>
                  </a:lnTo>
                  <a:lnTo>
                    <a:pt x="16" y="74"/>
                  </a:lnTo>
                  <a:lnTo>
                    <a:pt x="17" y="76"/>
                  </a:lnTo>
                  <a:lnTo>
                    <a:pt x="17" y="77"/>
                  </a:lnTo>
                  <a:lnTo>
                    <a:pt x="17" y="78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2"/>
                  </a:lnTo>
                  <a:lnTo>
                    <a:pt x="17" y="84"/>
                  </a:lnTo>
                  <a:lnTo>
                    <a:pt x="18" y="85"/>
                  </a:lnTo>
                  <a:lnTo>
                    <a:pt x="18" y="86"/>
                  </a:lnTo>
                  <a:lnTo>
                    <a:pt x="19" y="86"/>
                  </a:lnTo>
                  <a:lnTo>
                    <a:pt x="20" y="86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5" y="85"/>
                  </a:lnTo>
                  <a:lnTo>
                    <a:pt x="26" y="85"/>
                  </a:lnTo>
                  <a:lnTo>
                    <a:pt x="27" y="85"/>
                  </a:lnTo>
                  <a:lnTo>
                    <a:pt x="27" y="84"/>
                  </a:lnTo>
                  <a:lnTo>
                    <a:pt x="28" y="84"/>
                  </a:lnTo>
                  <a:lnTo>
                    <a:pt x="30" y="84"/>
                  </a:lnTo>
                  <a:lnTo>
                    <a:pt x="32" y="84"/>
                  </a:lnTo>
                  <a:lnTo>
                    <a:pt x="33" y="85"/>
                  </a:lnTo>
                  <a:lnTo>
                    <a:pt x="33" y="87"/>
                  </a:lnTo>
                  <a:lnTo>
                    <a:pt x="32" y="88"/>
                  </a:lnTo>
                  <a:lnTo>
                    <a:pt x="30" y="89"/>
                  </a:lnTo>
                  <a:lnTo>
                    <a:pt x="30" y="90"/>
                  </a:lnTo>
                  <a:lnTo>
                    <a:pt x="29" y="90"/>
                  </a:lnTo>
                  <a:lnTo>
                    <a:pt x="28" y="90"/>
                  </a:lnTo>
                  <a:lnTo>
                    <a:pt x="27" y="93"/>
                  </a:lnTo>
                  <a:lnTo>
                    <a:pt x="27" y="94"/>
                  </a:lnTo>
                  <a:lnTo>
                    <a:pt x="28" y="95"/>
                  </a:lnTo>
                  <a:lnTo>
                    <a:pt x="29" y="95"/>
                  </a:lnTo>
                  <a:lnTo>
                    <a:pt x="32" y="95"/>
                  </a:lnTo>
                  <a:lnTo>
                    <a:pt x="34" y="96"/>
                  </a:lnTo>
                  <a:lnTo>
                    <a:pt x="35" y="96"/>
                  </a:lnTo>
                  <a:lnTo>
                    <a:pt x="36" y="97"/>
                  </a:lnTo>
                  <a:lnTo>
                    <a:pt x="37" y="98"/>
                  </a:lnTo>
                  <a:lnTo>
                    <a:pt x="40" y="100"/>
                  </a:lnTo>
                  <a:lnTo>
                    <a:pt x="41" y="101"/>
                  </a:lnTo>
                  <a:lnTo>
                    <a:pt x="42" y="102"/>
                  </a:lnTo>
                  <a:lnTo>
                    <a:pt x="43" y="102"/>
                  </a:lnTo>
                  <a:lnTo>
                    <a:pt x="44" y="103"/>
                  </a:lnTo>
                  <a:lnTo>
                    <a:pt x="45" y="103"/>
                  </a:lnTo>
                  <a:lnTo>
                    <a:pt x="46" y="103"/>
                  </a:lnTo>
                  <a:lnTo>
                    <a:pt x="48" y="104"/>
                  </a:lnTo>
                  <a:lnTo>
                    <a:pt x="48" y="105"/>
                  </a:lnTo>
                  <a:lnTo>
                    <a:pt x="49" y="105"/>
                  </a:lnTo>
                  <a:lnTo>
                    <a:pt x="50" y="106"/>
                  </a:lnTo>
                  <a:lnTo>
                    <a:pt x="51" y="106"/>
                  </a:lnTo>
                  <a:lnTo>
                    <a:pt x="52" y="108"/>
                  </a:lnTo>
                  <a:lnTo>
                    <a:pt x="52" y="109"/>
                  </a:lnTo>
                  <a:lnTo>
                    <a:pt x="53" y="109"/>
                  </a:lnTo>
                  <a:lnTo>
                    <a:pt x="54" y="110"/>
                  </a:lnTo>
                  <a:lnTo>
                    <a:pt x="56" y="111"/>
                  </a:lnTo>
                  <a:lnTo>
                    <a:pt x="57" y="112"/>
                  </a:lnTo>
                  <a:lnTo>
                    <a:pt x="58" y="112"/>
                  </a:lnTo>
                  <a:lnTo>
                    <a:pt x="60" y="113"/>
                  </a:lnTo>
                  <a:lnTo>
                    <a:pt x="59" y="114"/>
                  </a:lnTo>
                  <a:lnTo>
                    <a:pt x="57" y="114"/>
                  </a:lnTo>
                  <a:lnTo>
                    <a:pt x="56" y="113"/>
                  </a:lnTo>
                  <a:lnTo>
                    <a:pt x="54" y="113"/>
                  </a:lnTo>
                  <a:lnTo>
                    <a:pt x="53" y="114"/>
                  </a:lnTo>
                  <a:lnTo>
                    <a:pt x="51" y="113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46" y="113"/>
                  </a:lnTo>
                  <a:lnTo>
                    <a:pt x="45" y="113"/>
                  </a:lnTo>
                  <a:lnTo>
                    <a:pt x="44" y="112"/>
                  </a:lnTo>
                  <a:lnTo>
                    <a:pt x="42" y="111"/>
                  </a:lnTo>
                  <a:lnTo>
                    <a:pt x="40" y="111"/>
                  </a:lnTo>
                  <a:lnTo>
                    <a:pt x="37" y="111"/>
                  </a:lnTo>
                  <a:lnTo>
                    <a:pt x="36" y="111"/>
                  </a:lnTo>
                  <a:lnTo>
                    <a:pt x="34" y="110"/>
                  </a:lnTo>
                  <a:lnTo>
                    <a:pt x="30" y="110"/>
                  </a:lnTo>
                  <a:lnTo>
                    <a:pt x="29" y="109"/>
                  </a:lnTo>
                  <a:lnTo>
                    <a:pt x="28" y="109"/>
                  </a:lnTo>
                  <a:lnTo>
                    <a:pt x="27" y="108"/>
                  </a:lnTo>
                  <a:lnTo>
                    <a:pt x="26" y="108"/>
                  </a:lnTo>
                  <a:lnTo>
                    <a:pt x="25" y="108"/>
                  </a:lnTo>
                  <a:lnTo>
                    <a:pt x="24" y="109"/>
                  </a:lnTo>
                  <a:lnTo>
                    <a:pt x="24" y="110"/>
                  </a:lnTo>
                  <a:lnTo>
                    <a:pt x="25" y="111"/>
                  </a:lnTo>
                  <a:lnTo>
                    <a:pt x="25" y="112"/>
                  </a:lnTo>
                  <a:lnTo>
                    <a:pt x="26" y="114"/>
                  </a:lnTo>
                  <a:lnTo>
                    <a:pt x="28" y="114"/>
                  </a:lnTo>
                  <a:lnTo>
                    <a:pt x="29" y="116"/>
                  </a:lnTo>
                  <a:lnTo>
                    <a:pt x="30" y="117"/>
                  </a:lnTo>
                  <a:lnTo>
                    <a:pt x="33" y="118"/>
                  </a:lnTo>
                  <a:lnTo>
                    <a:pt x="34" y="119"/>
                  </a:lnTo>
                  <a:lnTo>
                    <a:pt x="36" y="119"/>
                  </a:lnTo>
                  <a:lnTo>
                    <a:pt x="38" y="118"/>
                  </a:lnTo>
                  <a:lnTo>
                    <a:pt x="41" y="119"/>
                  </a:lnTo>
                  <a:lnTo>
                    <a:pt x="43" y="119"/>
                  </a:lnTo>
                  <a:lnTo>
                    <a:pt x="44" y="119"/>
                  </a:lnTo>
                  <a:lnTo>
                    <a:pt x="48" y="120"/>
                  </a:lnTo>
                  <a:lnTo>
                    <a:pt x="50" y="121"/>
                  </a:lnTo>
                  <a:lnTo>
                    <a:pt x="51" y="122"/>
                  </a:lnTo>
                  <a:lnTo>
                    <a:pt x="52" y="124"/>
                  </a:lnTo>
                  <a:lnTo>
                    <a:pt x="52" y="126"/>
                  </a:lnTo>
                  <a:lnTo>
                    <a:pt x="52" y="127"/>
                  </a:lnTo>
                  <a:lnTo>
                    <a:pt x="53" y="128"/>
                  </a:lnTo>
                  <a:lnTo>
                    <a:pt x="54" y="130"/>
                  </a:lnTo>
                  <a:lnTo>
                    <a:pt x="54" y="133"/>
                  </a:lnTo>
                  <a:lnTo>
                    <a:pt x="56" y="134"/>
                  </a:lnTo>
                  <a:lnTo>
                    <a:pt x="56" y="135"/>
                  </a:lnTo>
                  <a:lnTo>
                    <a:pt x="57" y="137"/>
                  </a:lnTo>
                  <a:lnTo>
                    <a:pt x="57" y="138"/>
                  </a:lnTo>
                  <a:lnTo>
                    <a:pt x="58" y="141"/>
                  </a:lnTo>
                  <a:lnTo>
                    <a:pt x="60" y="144"/>
                  </a:lnTo>
                  <a:lnTo>
                    <a:pt x="60" y="146"/>
                  </a:lnTo>
                  <a:lnTo>
                    <a:pt x="60" y="149"/>
                  </a:lnTo>
                  <a:lnTo>
                    <a:pt x="60" y="150"/>
                  </a:lnTo>
                  <a:lnTo>
                    <a:pt x="60" y="152"/>
                  </a:lnTo>
                  <a:lnTo>
                    <a:pt x="61" y="153"/>
                  </a:lnTo>
                  <a:lnTo>
                    <a:pt x="62" y="156"/>
                  </a:lnTo>
                  <a:lnTo>
                    <a:pt x="62" y="157"/>
                  </a:lnTo>
                  <a:lnTo>
                    <a:pt x="64" y="159"/>
                  </a:lnTo>
                  <a:lnTo>
                    <a:pt x="64" y="162"/>
                  </a:lnTo>
                  <a:lnTo>
                    <a:pt x="65" y="164"/>
                  </a:lnTo>
                  <a:lnTo>
                    <a:pt x="65" y="166"/>
                  </a:lnTo>
                  <a:lnTo>
                    <a:pt x="65" y="167"/>
                  </a:lnTo>
                  <a:lnTo>
                    <a:pt x="65" y="168"/>
                  </a:lnTo>
                  <a:lnTo>
                    <a:pt x="65" y="169"/>
                  </a:lnTo>
                  <a:lnTo>
                    <a:pt x="65" y="172"/>
                  </a:lnTo>
                  <a:lnTo>
                    <a:pt x="67" y="175"/>
                  </a:lnTo>
                  <a:lnTo>
                    <a:pt x="67" y="176"/>
                  </a:lnTo>
                  <a:lnTo>
                    <a:pt x="67" y="177"/>
                  </a:lnTo>
                  <a:lnTo>
                    <a:pt x="67" y="178"/>
                  </a:lnTo>
                  <a:lnTo>
                    <a:pt x="68" y="178"/>
                  </a:lnTo>
                  <a:lnTo>
                    <a:pt x="69" y="178"/>
                  </a:lnTo>
                  <a:lnTo>
                    <a:pt x="69" y="180"/>
                  </a:lnTo>
                  <a:lnTo>
                    <a:pt x="70" y="181"/>
                  </a:lnTo>
                  <a:lnTo>
                    <a:pt x="72" y="182"/>
                  </a:lnTo>
                  <a:lnTo>
                    <a:pt x="70" y="184"/>
                  </a:lnTo>
                  <a:lnTo>
                    <a:pt x="69" y="185"/>
                  </a:lnTo>
                  <a:lnTo>
                    <a:pt x="68" y="186"/>
                  </a:lnTo>
                  <a:lnTo>
                    <a:pt x="67" y="189"/>
                  </a:lnTo>
                  <a:lnTo>
                    <a:pt x="67" y="190"/>
                  </a:lnTo>
                  <a:lnTo>
                    <a:pt x="67" y="192"/>
                  </a:lnTo>
                  <a:lnTo>
                    <a:pt x="66" y="192"/>
                  </a:lnTo>
                  <a:lnTo>
                    <a:pt x="65" y="192"/>
                  </a:lnTo>
                  <a:lnTo>
                    <a:pt x="64" y="192"/>
                  </a:lnTo>
                  <a:lnTo>
                    <a:pt x="62" y="192"/>
                  </a:lnTo>
                  <a:lnTo>
                    <a:pt x="61" y="192"/>
                  </a:lnTo>
                  <a:lnTo>
                    <a:pt x="61" y="193"/>
                  </a:lnTo>
                  <a:lnTo>
                    <a:pt x="60" y="193"/>
                  </a:lnTo>
                  <a:lnTo>
                    <a:pt x="60" y="194"/>
                  </a:lnTo>
                  <a:lnTo>
                    <a:pt x="60" y="196"/>
                  </a:lnTo>
                  <a:lnTo>
                    <a:pt x="60" y="197"/>
                  </a:lnTo>
                  <a:lnTo>
                    <a:pt x="60" y="198"/>
                  </a:lnTo>
                  <a:lnTo>
                    <a:pt x="62" y="199"/>
                  </a:lnTo>
                  <a:lnTo>
                    <a:pt x="64" y="200"/>
                  </a:lnTo>
                  <a:lnTo>
                    <a:pt x="65" y="201"/>
                  </a:lnTo>
                  <a:lnTo>
                    <a:pt x="66" y="202"/>
                  </a:lnTo>
                  <a:lnTo>
                    <a:pt x="67" y="204"/>
                  </a:lnTo>
                  <a:lnTo>
                    <a:pt x="68" y="204"/>
                  </a:lnTo>
                  <a:lnTo>
                    <a:pt x="68" y="205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72" y="206"/>
                  </a:lnTo>
                  <a:lnTo>
                    <a:pt x="73" y="207"/>
                  </a:lnTo>
                  <a:lnTo>
                    <a:pt x="74" y="209"/>
                  </a:lnTo>
                  <a:lnTo>
                    <a:pt x="74" y="210"/>
                  </a:lnTo>
                  <a:lnTo>
                    <a:pt x="75" y="210"/>
                  </a:lnTo>
                  <a:lnTo>
                    <a:pt x="75" y="212"/>
                  </a:lnTo>
                  <a:lnTo>
                    <a:pt x="76" y="213"/>
                  </a:lnTo>
                  <a:lnTo>
                    <a:pt x="76" y="214"/>
                  </a:lnTo>
                  <a:lnTo>
                    <a:pt x="77" y="216"/>
                  </a:lnTo>
                  <a:lnTo>
                    <a:pt x="78" y="216"/>
                  </a:lnTo>
                  <a:lnTo>
                    <a:pt x="80" y="217"/>
                  </a:lnTo>
                  <a:lnTo>
                    <a:pt x="81" y="218"/>
                  </a:lnTo>
                  <a:lnTo>
                    <a:pt x="83" y="220"/>
                  </a:lnTo>
                  <a:lnTo>
                    <a:pt x="84" y="220"/>
                  </a:lnTo>
                  <a:lnTo>
                    <a:pt x="85" y="220"/>
                  </a:lnTo>
                  <a:lnTo>
                    <a:pt x="86" y="220"/>
                  </a:lnTo>
                  <a:lnTo>
                    <a:pt x="89" y="221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3" y="224"/>
                  </a:lnTo>
                  <a:lnTo>
                    <a:pt x="93" y="225"/>
                  </a:lnTo>
                  <a:lnTo>
                    <a:pt x="94" y="226"/>
                  </a:lnTo>
                  <a:lnTo>
                    <a:pt x="96" y="229"/>
                  </a:lnTo>
                  <a:lnTo>
                    <a:pt x="96" y="230"/>
                  </a:lnTo>
                  <a:lnTo>
                    <a:pt x="97" y="232"/>
                  </a:lnTo>
                  <a:lnTo>
                    <a:pt x="96" y="233"/>
                  </a:lnTo>
                  <a:lnTo>
                    <a:pt x="96" y="234"/>
                  </a:lnTo>
                  <a:lnTo>
                    <a:pt x="94" y="236"/>
                  </a:lnTo>
                  <a:lnTo>
                    <a:pt x="94" y="237"/>
                  </a:lnTo>
                  <a:lnTo>
                    <a:pt x="94" y="239"/>
                  </a:lnTo>
                  <a:lnTo>
                    <a:pt x="94" y="241"/>
                  </a:lnTo>
                  <a:lnTo>
                    <a:pt x="96" y="242"/>
                  </a:lnTo>
                  <a:lnTo>
                    <a:pt x="97" y="244"/>
                  </a:lnTo>
                  <a:lnTo>
                    <a:pt x="99" y="244"/>
                  </a:lnTo>
                  <a:lnTo>
                    <a:pt x="101" y="244"/>
                  </a:lnTo>
                  <a:lnTo>
                    <a:pt x="102" y="244"/>
                  </a:lnTo>
                  <a:lnTo>
                    <a:pt x="104" y="244"/>
                  </a:lnTo>
                  <a:lnTo>
                    <a:pt x="104" y="242"/>
                  </a:lnTo>
                  <a:lnTo>
                    <a:pt x="105" y="242"/>
                  </a:lnTo>
                  <a:lnTo>
                    <a:pt x="106" y="242"/>
                  </a:lnTo>
                  <a:lnTo>
                    <a:pt x="115" y="242"/>
                  </a:lnTo>
                  <a:lnTo>
                    <a:pt x="116" y="242"/>
                  </a:lnTo>
                  <a:lnTo>
                    <a:pt x="117" y="242"/>
                  </a:lnTo>
                  <a:lnTo>
                    <a:pt x="120" y="244"/>
                  </a:lnTo>
                  <a:lnTo>
                    <a:pt x="121" y="244"/>
                  </a:lnTo>
                  <a:lnTo>
                    <a:pt x="123" y="244"/>
                  </a:lnTo>
                  <a:lnTo>
                    <a:pt x="123" y="242"/>
                  </a:lnTo>
                  <a:lnTo>
                    <a:pt x="124" y="241"/>
                  </a:lnTo>
                  <a:lnTo>
                    <a:pt x="124" y="240"/>
                  </a:lnTo>
                  <a:lnTo>
                    <a:pt x="124" y="239"/>
                  </a:lnTo>
                  <a:lnTo>
                    <a:pt x="124" y="237"/>
                  </a:lnTo>
                  <a:lnTo>
                    <a:pt x="124" y="236"/>
                  </a:lnTo>
                  <a:lnTo>
                    <a:pt x="125" y="234"/>
                  </a:lnTo>
                  <a:lnTo>
                    <a:pt x="125" y="233"/>
                  </a:lnTo>
                  <a:lnTo>
                    <a:pt x="125" y="232"/>
                  </a:lnTo>
                  <a:lnTo>
                    <a:pt x="128" y="229"/>
                  </a:lnTo>
                  <a:lnTo>
                    <a:pt x="129" y="229"/>
                  </a:lnTo>
                  <a:lnTo>
                    <a:pt x="131" y="230"/>
                  </a:lnTo>
                  <a:lnTo>
                    <a:pt x="132" y="231"/>
                  </a:lnTo>
                  <a:lnTo>
                    <a:pt x="133" y="232"/>
                  </a:lnTo>
                  <a:lnTo>
                    <a:pt x="134" y="233"/>
                  </a:lnTo>
                  <a:lnTo>
                    <a:pt x="136" y="236"/>
                  </a:lnTo>
                  <a:lnTo>
                    <a:pt x="136" y="237"/>
                  </a:lnTo>
                  <a:lnTo>
                    <a:pt x="137" y="238"/>
                  </a:lnTo>
                  <a:lnTo>
                    <a:pt x="137" y="239"/>
                  </a:lnTo>
                  <a:lnTo>
                    <a:pt x="138" y="239"/>
                  </a:lnTo>
                  <a:lnTo>
                    <a:pt x="139" y="240"/>
                  </a:lnTo>
                  <a:lnTo>
                    <a:pt x="140" y="239"/>
                  </a:lnTo>
                  <a:lnTo>
                    <a:pt x="141" y="239"/>
                  </a:lnTo>
                  <a:lnTo>
                    <a:pt x="142" y="238"/>
                  </a:lnTo>
                  <a:lnTo>
                    <a:pt x="142" y="237"/>
                  </a:lnTo>
                  <a:lnTo>
                    <a:pt x="144" y="234"/>
                  </a:lnTo>
                  <a:lnTo>
                    <a:pt x="145" y="233"/>
                  </a:lnTo>
                  <a:lnTo>
                    <a:pt x="147" y="231"/>
                  </a:lnTo>
                  <a:lnTo>
                    <a:pt x="148" y="230"/>
                  </a:lnTo>
                  <a:lnTo>
                    <a:pt x="149" y="230"/>
                  </a:lnTo>
                  <a:lnTo>
                    <a:pt x="152" y="226"/>
                  </a:lnTo>
                  <a:lnTo>
                    <a:pt x="154" y="225"/>
                  </a:lnTo>
                  <a:lnTo>
                    <a:pt x="156" y="223"/>
                  </a:lnTo>
                  <a:lnTo>
                    <a:pt x="157" y="222"/>
                  </a:lnTo>
                  <a:lnTo>
                    <a:pt x="158" y="221"/>
                  </a:lnTo>
                  <a:lnTo>
                    <a:pt x="160" y="220"/>
                  </a:lnTo>
                  <a:lnTo>
                    <a:pt x="160" y="218"/>
                  </a:lnTo>
                  <a:lnTo>
                    <a:pt x="161" y="216"/>
                  </a:lnTo>
                  <a:lnTo>
                    <a:pt x="161" y="214"/>
                  </a:lnTo>
                  <a:lnTo>
                    <a:pt x="161" y="212"/>
                  </a:lnTo>
                  <a:lnTo>
                    <a:pt x="161" y="210"/>
                  </a:lnTo>
                  <a:lnTo>
                    <a:pt x="162" y="208"/>
                  </a:lnTo>
                  <a:lnTo>
                    <a:pt x="163" y="207"/>
                  </a:lnTo>
                  <a:lnTo>
                    <a:pt x="163" y="206"/>
                  </a:lnTo>
                  <a:lnTo>
                    <a:pt x="164" y="205"/>
                  </a:lnTo>
                  <a:lnTo>
                    <a:pt x="164" y="202"/>
                  </a:lnTo>
                  <a:lnTo>
                    <a:pt x="164" y="200"/>
                  </a:lnTo>
                  <a:lnTo>
                    <a:pt x="163" y="198"/>
                  </a:lnTo>
                  <a:lnTo>
                    <a:pt x="163" y="197"/>
                  </a:lnTo>
                  <a:lnTo>
                    <a:pt x="163" y="196"/>
                  </a:lnTo>
                  <a:lnTo>
                    <a:pt x="162" y="194"/>
                  </a:lnTo>
                  <a:lnTo>
                    <a:pt x="162" y="192"/>
                  </a:lnTo>
                  <a:lnTo>
                    <a:pt x="161" y="191"/>
                  </a:lnTo>
                  <a:lnTo>
                    <a:pt x="161" y="190"/>
                  </a:lnTo>
                  <a:lnTo>
                    <a:pt x="161" y="189"/>
                  </a:lnTo>
                  <a:lnTo>
                    <a:pt x="160" y="188"/>
                  </a:lnTo>
                  <a:lnTo>
                    <a:pt x="160" y="185"/>
                  </a:lnTo>
                  <a:lnTo>
                    <a:pt x="160" y="183"/>
                  </a:lnTo>
                  <a:lnTo>
                    <a:pt x="161" y="183"/>
                  </a:lnTo>
                  <a:lnTo>
                    <a:pt x="161" y="182"/>
                  </a:lnTo>
                  <a:lnTo>
                    <a:pt x="162" y="181"/>
                  </a:lnTo>
                  <a:lnTo>
                    <a:pt x="162" y="180"/>
                  </a:lnTo>
                  <a:lnTo>
                    <a:pt x="163" y="180"/>
                  </a:lnTo>
                  <a:lnTo>
                    <a:pt x="163" y="178"/>
                  </a:lnTo>
                  <a:lnTo>
                    <a:pt x="163" y="177"/>
                  </a:lnTo>
                  <a:lnTo>
                    <a:pt x="164" y="176"/>
                  </a:lnTo>
                  <a:lnTo>
                    <a:pt x="164" y="175"/>
                  </a:lnTo>
                  <a:lnTo>
                    <a:pt x="168" y="173"/>
                  </a:lnTo>
                  <a:lnTo>
                    <a:pt x="168" y="170"/>
                  </a:lnTo>
                  <a:lnTo>
                    <a:pt x="168" y="169"/>
                  </a:lnTo>
                  <a:lnTo>
                    <a:pt x="168" y="167"/>
                  </a:lnTo>
                  <a:lnTo>
                    <a:pt x="166" y="165"/>
                  </a:lnTo>
                  <a:lnTo>
                    <a:pt x="166" y="164"/>
                  </a:lnTo>
                  <a:lnTo>
                    <a:pt x="165" y="164"/>
                  </a:lnTo>
                  <a:lnTo>
                    <a:pt x="164" y="162"/>
                  </a:lnTo>
                  <a:lnTo>
                    <a:pt x="163" y="162"/>
                  </a:lnTo>
                  <a:lnTo>
                    <a:pt x="161" y="160"/>
                  </a:lnTo>
                  <a:lnTo>
                    <a:pt x="160" y="160"/>
                  </a:lnTo>
                  <a:lnTo>
                    <a:pt x="158" y="159"/>
                  </a:lnTo>
                  <a:lnTo>
                    <a:pt x="157" y="159"/>
                  </a:lnTo>
                  <a:lnTo>
                    <a:pt x="155" y="158"/>
                  </a:lnTo>
                  <a:lnTo>
                    <a:pt x="155" y="157"/>
                  </a:lnTo>
                  <a:lnTo>
                    <a:pt x="154" y="157"/>
                  </a:lnTo>
                  <a:lnTo>
                    <a:pt x="153" y="157"/>
                  </a:lnTo>
                  <a:lnTo>
                    <a:pt x="152" y="154"/>
                  </a:lnTo>
                  <a:lnTo>
                    <a:pt x="150" y="153"/>
                  </a:lnTo>
                  <a:lnTo>
                    <a:pt x="150" y="151"/>
                  </a:lnTo>
                  <a:lnTo>
                    <a:pt x="150" y="150"/>
                  </a:lnTo>
                  <a:lnTo>
                    <a:pt x="150" y="149"/>
                  </a:lnTo>
                  <a:lnTo>
                    <a:pt x="153" y="146"/>
                  </a:lnTo>
                  <a:lnTo>
                    <a:pt x="154" y="145"/>
                  </a:lnTo>
                  <a:lnTo>
                    <a:pt x="155" y="144"/>
                  </a:lnTo>
                  <a:lnTo>
                    <a:pt x="157" y="144"/>
                  </a:lnTo>
                  <a:lnTo>
                    <a:pt x="158" y="144"/>
                  </a:lnTo>
                  <a:lnTo>
                    <a:pt x="161" y="144"/>
                  </a:lnTo>
                  <a:lnTo>
                    <a:pt x="162" y="143"/>
                  </a:lnTo>
                  <a:lnTo>
                    <a:pt x="163" y="142"/>
                  </a:lnTo>
                  <a:lnTo>
                    <a:pt x="164" y="142"/>
                  </a:lnTo>
                  <a:lnTo>
                    <a:pt x="165" y="142"/>
                  </a:lnTo>
                  <a:lnTo>
                    <a:pt x="166" y="142"/>
                  </a:lnTo>
                  <a:lnTo>
                    <a:pt x="169" y="142"/>
                  </a:lnTo>
                  <a:lnTo>
                    <a:pt x="170" y="141"/>
                  </a:lnTo>
                  <a:lnTo>
                    <a:pt x="171" y="141"/>
                  </a:lnTo>
                  <a:lnTo>
                    <a:pt x="172" y="140"/>
                  </a:lnTo>
                  <a:lnTo>
                    <a:pt x="173" y="138"/>
                  </a:lnTo>
                  <a:lnTo>
                    <a:pt x="173" y="137"/>
                  </a:lnTo>
                  <a:lnTo>
                    <a:pt x="173" y="136"/>
                  </a:lnTo>
                  <a:lnTo>
                    <a:pt x="172" y="135"/>
                  </a:lnTo>
                  <a:lnTo>
                    <a:pt x="172" y="134"/>
                  </a:lnTo>
                  <a:lnTo>
                    <a:pt x="172" y="133"/>
                  </a:lnTo>
                  <a:lnTo>
                    <a:pt x="171" y="130"/>
                  </a:lnTo>
                  <a:lnTo>
                    <a:pt x="170" y="129"/>
                  </a:lnTo>
                  <a:lnTo>
                    <a:pt x="170" y="128"/>
                  </a:lnTo>
                  <a:lnTo>
                    <a:pt x="169" y="126"/>
                  </a:lnTo>
                  <a:lnTo>
                    <a:pt x="169" y="125"/>
                  </a:lnTo>
                  <a:lnTo>
                    <a:pt x="168" y="124"/>
                  </a:lnTo>
                  <a:lnTo>
                    <a:pt x="168" y="121"/>
                  </a:lnTo>
                  <a:lnTo>
                    <a:pt x="166" y="120"/>
                  </a:lnTo>
                  <a:lnTo>
                    <a:pt x="165" y="119"/>
                  </a:lnTo>
                  <a:lnTo>
                    <a:pt x="164" y="118"/>
                  </a:lnTo>
                  <a:lnTo>
                    <a:pt x="163" y="118"/>
                  </a:lnTo>
                  <a:lnTo>
                    <a:pt x="162" y="117"/>
                  </a:lnTo>
                  <a:lnTo>
                    <a:pt x="162" y="116"/>
                  </a:lnTo>
                  <a:lnTo>
                    <a:pt x="160" y="114"/>
                  </a:lnTo>
                  <a:lnTo>
                    <a:pt x="158" y="113"/>
                  </a:lnTo>
                  <a:lnTo>
                    <a:pt x="157" y="111"/>
                  </a:lnTo>
                  <a:lnTo>
                    <a:pt x="156" y="109"/>
                  </a:lnTo>
                  <a:lnTo>
                    <a:pt x="155" y="106"/>
                  </a:lnTo>
                  <a:lnTo>
                    <a:pt x="155" y="105"/>
                  </a:lnTo>
                  <a:lnTo>
                    <a:pt x="155" y="103"/>
                  </a:lnTo>
                  <a:lnTo>
                    <a:pt x="155" y="102"/>
                  </a:lnTo>
                  <a:lnTo>
                    <a:pt x="156" y="101"/>
                  </a:lnTo>
                  <a:lnTo>
                    <a:pt x="156" y="100"/>
                  </a:lnTo>
                  <a:lnTo>
                    <a:pt x="156" y="98"/>
                  </a:lnTo>
                  <a:lnTo>
                    <a:pt x="156" y="97"/>
                  </a:lnTo>
                  <a:lnTo>
                    <a:pt x="156" y="96"/>
                  </a:lnTo>
                  <a:lnTo>
                    <a:pt x="155" y="93"/>
                  </a:lnTo>
                  <a:lnTo>
                    <a:pt x="154" y="92"/>
                  </a:lnTo>
                  <a:lnTo>
                    <a:pt x="154" y="89"/>
                  </a:lnTo>
                  <a:lnTo>
                    <a:pt x="154" y="88"/>
                  </a:lnTo>
                  <a:lnTo>
                    <a:pt x="154" y="87"/>
                  </a:lnTo>
                  <a:lnTo>
                    <a:pt x="154" y="86"/>
                  </a:lnTo>
                  <a:lnTo>
                    <a:pt x="154" y="84"/>
                  </a:lnTo>
                  <a:lnTo>
                    <a:pt x="154" y="82"/>
                  </a:lnTo>
                  <a:lnTo>
                    <a:pt x="156" y="80"/>
                  </a:lnTo>
                  <a:lnTo>
                    <a:pt x="156" y="79"/>
                  </a:lnTo>
                  <a:lnTo>
                    <a:pt x="157" y="79"/>
                  </a:lnTo>
                  <a:lnTo>
                    <a:pt x="158" y="78"/>
                  </a:lnTo>
                  <a:lnTo>
                    <a:pt x="158" y="76"/>
                  </a:lnTo>
                  <a:lnTo>
                    <a:pt x="158" y="74"/>
                  </a:lnTo>
                  <a:lnTo>
                    <a:pt x="157" y="73"/>
                  </a:lnTo>
                  <a:lnTo>
                    <a:pt x="156" y="71"/>
                  </a:lnTo>
                  <a:lnTo>
                    <a:pt x="156" y="70"/>
                  </a:lnTo>
                  <a:lnTo>
                    <a:pt x="155" y="69"/>
                  </a:lnTo>
                  <a:lnTo>
                    <a:pt x="154" y="68"/>
                  </a:lnTo>
                  <a:lnTo>
                    <a:pt x="154" y="66"/>
                  </a:lnTo>
                  <a:lnTo>
                    <a:pt x="153" y="65"/>
                  </a:lnTo>
                  <a:lnTo>
                    <a:pt x="152" y="63"/>
                  </a:lnTo>
                  <a:lnTo>
                    <a:pt x="152" y="62"/>
                  </a:lnTo>
                  <a:lnTo>
                    <a:pt x="152" y="61"/>
                  </a:lnTo>
                  <a:lnTo>
                    <a:pt x="150" y="61"/>
                  </a:lnTo>
                  <a:lnTo>
                    <a:pt x="150" y="60"/>
                  </a:lnTo>
                  <a:lnTo>
                    <a:pt x="150" y="58"/>
                  </a:lnTo>
                  <a:lnTo>
                    <a:pt x="150" y="56"/>
                  </a:lnTo>
                  <a:lnTo>
                    <a:pt x="150" y="55"/>
                  </a:lnTo>
                  <a:lnTo>
                    <a:pt x="152" y="53"/>
                  </a:lnTo>
                  <a:lnTo>
                    <a:pt x="152" y="52"/>
                  </a:lnTo>
                  <a:lnTo>
                    <a:pt x="152" y="50"/>
                  </a:lnTo>
                  <a:lnTo>
                    <a:pt x="153" y="49"/>
                  </a:lnTo>
                  <a:lnTo>
                    <a:pt x="153" y="48"/>
                  </a:lnTo>
                  <a:lnTo>
                    <a:pt x="153" y="47"/>
                  </a:lnTo>
                  <a:lnTo>
                    <a:pt x="153" y="46"/>
                  </a:lnTo>
                  <a:lnTo>
                    <a:pt x="153" y="45"/>
                  </a:lnTo>
                  <a:lnTo>
                    <a:pt x="152" y="44"/>
                  </a:lnTo>
                  <a:lnTo>
                    <a:pt x="152" y="41"/>
                  </a:lnTo>
                  <a:lnTo>
                    <a:pt x="152" y="40"/>
                  </a:lnTo>
                  <a:lnTo>
                    <a:pt x="150" y="39"/>
                  </a:lnTo>
                  <a:lnTo>
                    <a:pt x="149" y="39"/>
                  </a:lnTo>
                  <a:lnTo>
                    <a:pt x="148" y="38"/>
                  </a:lnTo>
                  <a:lnTo>
                    <a:pt x="147" y="38"/>
                  </a:lnTo>
                  <a:lnTo>
                    <a:pt x="146" y="38"/>
                  </a:lnTo>
                  <a:lnTo>
                    <a:pt x="145" y="38"/>
                  </a:lnTo>
                  <a:lnTo>
                    <a:pt x="142" y="38"/>
                  </a:lnTo>
                  <a:lnTo>
                    <a:pt x="141" y="38"/>
                  </a:lnTo>
                  <a:lnTo>
                    <a:pt x="140" y="39"/>
                  </a:lnTo>
                  <a:lnTo>
                    <a:pt x="139" y="39"/>
                  </a:lnTo>
                  <a:lnTo>
                    <a:pt x="138" y="38"/>
                  </a:lnTo>
                  <a:lnTo>
                    <a:pt x="137" y="38"/>
                  </a:lnTo>
                  <a:lnTo>
                    <a:pt x="136" y="38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3" y="34"/>
                  </a:lnTo>
                  <a:lnTo>
                    <a:pt x="132" y="34"/>
                  </a:lnTo>
                  <a:lnTo>
                    <a:pt x="131" y="33"/>
                  </a:lnTo>
                  <a:lnTo>
                    <a:pt x="130" y="33"/>
                  </a:lnTo>
                  <a:lnTo>
                    <a:pt x="129" y="33"/>
                  </a:lnTo>
                  <a:lnTo>
                    <a:pt x="128" y="33"/>
                  </a:lnTo>
                  <a:lnTo>
                    <a:pt x="126" y="33"/>
                  </a:lnTo>
                  <a:lnTo>
                    <a:pt x="125" y="33"/>
                  </a:lnTo>
                  <a:lnTo>
                    <a:pt x="123" y="33"/>
                  </a:lnTo>
                  <a:lnTo>
                    <a:pt x="122" y="33"/>
                  </a:lnTo>
                  <a:lnTo>
                    <a:pt x="121" y="34"/>
                  </a:lnTo>
                  <a:lnTo>
                    <a:pt x="120" y="36"/>
                  </a:lnTo>
                  <a:lnTo>
                    <a:pt x="120" y="37"/>
                  </a:lnTo>
                  <a:lnTo>
                    <a:pt x="118" y="37"/>
                  </a:lnTo>
                  <a:lnTo>
                    <a:pt x="117" y="39"/>
                  </a:lnTo>
                  <a:lnTo>
                    <a:pt x="116" y="41"/>
                  </a:lnTo>
                  <a:lnTo>
                    <a:pt x="115" y="41"/>
                  </a:lnTo>
                  <a:lnTo>
                    <a:pt x="114" y="41"/>
                  </a:lnTo>
                  <a:lnTo>
                    <a:pt x="113" y="41"/>
                  </a:lnTo>
                  <a:lnTo>
                    <a:pt x="112" y="40"/>
                  </a:lnTo>
                  <a:lnTo>
                    <a:pt x="110" y="40"/>
                  </a:lnTo>
                  <a:lnTo>
                    <a:pt x="109" y="42"/>
                  </a:lnTo>
                  <a:lnTo>
                    <a:pt x="108" y="44"/>
                  </a:lnTo>
                  <a:lnTo>
                    <a:pt x="107" y="44"/>
                  </a:lnTo>
                  <a:lnTo>
                    <a:pt x="104" y="45"/>
                  </a:lnTo>
                  <a:lnTo>
                    <a:pt x="101" y="46"/>
                  </a:lnTo>
                  <a:lnTo>
                    <a:pt x="100" y="46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7" y="48"/>
                  </a:lnTo>
                  <a:lnTo>
                    <a:pt x="94" y="49"/>
                  </a:lnTo>
                  <a:lnTo>
                    <a:pt x="92" y="49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89" y="49"/>
                  </a:lnTo>
                  <a:lnTo>
                    <a:pt x="88" y="49"/>
                  </a:lnTo>
                  <a:lnTo>
                    <a:pt x="85" y="49"/>
                  </a:lnTo>
                  <a:lnTo>
                    <a:pt x="83" y="49"/>
                  </a:lnTo>
                  <a:lnTo>
                    <a:pt x="82" y="48"/>
                  </a:lnTo>
                  <a:lnTo>
                    <a:pt x="81" y="48"/>
                  </a:lnTo>
                  <a:lnTo>
                    <a:pt x="80" y="48"/>
                  </a:lnTo>
                  <a:lnTo>
                    <a:pt x="80" y="46"/>
                  </a:lnTo>
                  <a:lnTo>
                    <a:pt x="78" y="45"/>
                  </a:lnTo>
                  <a:lnTo>
                    <a:pt x="77" y="45"/>
                  </a:lnTo>
                  <a:lnTo>
                    <a:pt x="77" y="44"/>
                  </a:lnTo>
                  <a:lnTo>
                    <a:pt x="77" y="42"/>
                  </a:lnTo>
                  <a:lnTo>
                    <a:pt x="76" y="41"/>
                  </a:lnTo>
                  <a:lnTo>
                    <a:pt x="76" y="40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5" y="36"/>
                  </a:lnTo>
                  <a:lnTo>
                    <a:pt x="75" y="34"/>
                  </a:lnTo>
                  <a:lnTo>
                    <a:pt x="74" y="34"/>
                  </a:lnTo>
                  <a:lnTo>
                    <a:pt x="74" y="32"/>
                  </a:lnTo>
                  <a:lnTo>
                    <a:pt x="74" y="31"/>
                  </a:lnTo>
                  <a:lnTo>
                    <a:pt x="74" y="29"/>
                  </a:lnTo>
                  <a:lnTo>
                    <a:pt x="74" y="28"/>
                  </a:lnTo>
                  <a:lnTo>
                    <a:pt x="73" y="26"/>
                  </a:lnTo>
                  <a:lnTo>
                    <a:pt x="73" y="25"/>
                  </a:lnTo>
                  <a:lnTo>
                    <a:pt x="72" y="24"/>
                  </a:lnTo>
                  <a:lnTo>
                    <a:pt x="70" y="24"/>
                  </a:lnTo>
                  <a:lnTo>
                    <a:pt x="69" y="22"/>
                  </a:lnTo>
                  <a:lnTo>
                    <a:pt x="68" y="21"/>
                  </a:lnTo>
                  <a:lnTo>
                    <a:pt x="68" y="20"/>
                  </a:lnTo>
                  <a:lnTo>
                    <a:pt x="67" y="18"/>
                  </a:lnTo>
                  <a:lnTo>
                    <a:pt x="66" y="17"/>
                  </a:lnTo>
                  <a:lnTo>
                    <a:pt x="65" y="15"/>
                  </a:lnTo>
                  <a:lnTo>
                    <a:pt x="61" y="15"/>
                  </a:lnTo>
                  <a:lnTo>
                    <a:pt x="60" y="15"/>
                  </a:lnTo>
                  <a:lnTo>
                    <a:pt x="59" y="15"/>
                  </a:lnTo>
                  <a:lnTo>
                    <a:pt x="57" y="14"/>
                  </a:lnTo>
                  <a:lnTo>
                    <a:pt x="57" y="13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2" y="8"/>
                  </a:lnTo>
                  <a:lnTo>
                    <a:pt x="52" y="7"/>
                  </a:lnTo>
                  <a:lnTo>
                    <a:pt x="51" y="7"/>
                  </a:lnTo>
                  <a:lnTo>
                    <a:pt x="50" y="6"/>
                  </a:lnTo>
                  <a:lnTo>
                    <a:pt x="50" y="5"/>
                  </a:lnTo>
                  <a:lnTo>
                    <a:pt x="49" y="5"/>
                  </a:lnTo>
                  <a:lnTo>
                    <a:pt x="49" y="4"/>
                  </a:lnTo>
                  <a:lnTo>
                    <a:pt x="48" y="2"/>
                  </a:lnTo>
                  <a:lnTo>
                    <a:pt x="48" y="1"/>
                  </a:lnTo>
                  <a:lnTo>
                    <a:pt x="46" y="0"/>
                  </a:lnTo>
                  <a:lnTo>
                    <a:pt x="45" y="0"/>
                  </a:lnTo>
                  <a:lnTo>
                    <a:pt x="44" y="0"/>
                  </a:lnTo>
                  <a:lnTo>
                    <a:pt x="43" y="0"/>
                  </a:lnTo>
                  <a:lnTo>
                    <a:pt x="42" y="0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4"/>
                  </a:lnTo>
                  <a:lnTo>
                    <a:pt x="40" y="4"/>
                  </a:lnTo>
                  <a:lnTo>
                    <a:pt x="40" y="5"/>
                  </a:lnTo>
                  <a:lnTo>
                    <a:pt x="40" y="6"/>
                  </a:lnTo>
                  <a:lnTo>
                    <a:pt x="38" y="7"/>
                  </a:lnTo>
                  <a:lnTo>
                    <a:pt x="37" y="9"/>
                  </a:lnTo>
                  <a:lnTo>
                    <a:pt x="37" y="10"/>
                  </a:lnTo>
                  <a:lnTo>
                    <a:pt x="35" y="10"/>
                  </a:lnTo>
                  <a:lnTo>
                    <a:pt x="34" y="12"/>
                  </a:lnTo>
                  <a:lnTo>
                    <a:pt x="33" y="13"/>
                  </a:lnTo>
                  <a:lnTo>
                    <a:pt x="30" y="13"/>
                  </a:lnTo>
                  <a:lnTo>
                    <a:pt x="29" y="14"/>
                  </a:lnTo>
                  <a:lnTo>
                    <a:pt x="28" y="14"/>
                  </a:lnTo>
                  <a:lnTo>
                    <a:pt x="26" y="14"/>
                  </a:lnTo>
                  <a:lnTo>
                    <a:pt x="25" y="15"/>
                  </a:lnTo>
                  <a:lnTo>
                    <a:pt x="24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0" y="18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7" y="20"/>
                  </a:lnTo>
                  <a:lnTo>
                    <a:pt x="16" y="20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2" y="20"/>
                  </a:lnTo>
                  <a:lnTo>
                    <a:pt x="11" y="20"/>
                  </a:lnTo>
                  <a:lnTo>
                    <a:pt x="10" y="20"/>
                  </a:lnTo>
                  <a:lnTo>
                    <a:pt x="9" y="20"/>
                  </a:lnTo>
                  <a:lnTo>
                    <a:pt x="8" y="21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0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23" name="HP"/>
            <p:cNvSpPr>
              <a:spLocks/>
            </p:cNvSpPr>
            <p:nvPr/>
          </p:nvSpPr>
          <p:spPr bwMode="auto">
            <a:xfrm>
              <a:off x="6151045" y="2329523"/>
              <a:ext cx="374079" cy="307373"/>
            </a:xfrm>
            <a:custGeom>
              <a:avLst/>
              <a:gdLst>
                <a:gd name="T0" fmla="*/ 38 w 930"/>
                <a:gd name="T1" fmla="*/ 341 h 792"/>
                <a:gd name="T2" fmla="*/ 89 w 930"/>
                <a:gd name="T3" fmla="*/ 377 h 792"/>
                <a:gd name="T4" fmla="*/ 100 w 930"/>
                <a:gd name="T5" fmla="*/ 429 h 792"/>
                <a:gd name="T6" fmla="*/ 148 w 930"/>
                <a:gd name="T7" fmla="*/ 516 h 792"/>
                <a:gd name="T8" fmla="*/ 173 w 930"/>
                <a:gd name="T9" fmla="*/ 544 h 792"/>
                <a:gd name="T10" fmla="*/ 210 w 930"/>
                <a:gd name="T11" fmla="*/ 508 h 792"/>
                <a:gd name="T12" fmla="*/ 250 w 930"/>
                <a:gd name="T13" fmla="*/ 564 h 792"/>
                <a:gd name="T14" fmla="*/ 278 w 930"/>
                <a:gd name="T15" fmla="*/ 555 h 792"/>
                <a:gd name="T16" fmla="*/ 279 w 930"/>
                <a:gd name="T17" fmla="*/ 604 h 792"/>
                <a:gd name="T18" fmla="*/ 326 w 930"/>
                <a:gd name="T19" fmla="*/ 666 h 792"/>
                <a:gd name="T20" fmla="*/ 383 w 930"/>
                <a:gd name="T21" fmla="*/ 680 h 792"/>
                <a:gd name="T22" fmla="*/ 418 w 930"/>
                <a:gd name="T23" fmla="*/ 730 h 792"/>
                <a:gd name="T24" fmla="*/ 440 w 930"/>
                <a:gd name="T25" fmla="*/ 767 h 792"/>
                <a:gd name="T26" fmla="*/ 497 w 930"/>
                <a:gd name="T27" fmla="*/ 786 h 792"/>
                <a:gd name="T28" fmla="*/ 549 w 930"/>
                <a:gd name="T29" fmla="*/ 785 h 792"/>
                <a:gd name="T30" fmla="*/ 594 w 930"/>
                <a:gd name="T31" fmla="*/ 745 h 792"/>
                <a:gd name="T32" fmla="*/ 581 w 930"/>
                <a:gd name="T33" fmla="*/ 698 h 792"/>
                <a:gd name="T34" fmla="*/ 600 w 930"/>
                <a:gd name="T35" fmla="*/ 665 h 792"/>
                <a:gd name="T36" fmla="*/ 599 w 930"/>
                <a:gd name="T37" fmla="*/ 637 h 792"/>
                <a:gd name="T38" fmla="*/ 607 w 930"/>
                <a:gd name="T39" fmla="*/ 615 h 792"/>
                <a:gd name="T40" fmla="*/ 666 w 930"/>
                <a:gd name="T41" fmla="*/ 585 h 792"/>
                <a:gd name="T42" fmla="*/ 730 w 930"/>
                <a:gd name="T43" fmla="*/ 559 h 792"/>
                <a:gd name="T44" fmla="*/ 786 w 930"/>
                <a:gd name="T45" fmla="*/ 563 h 792"/>
                <a:gd name="T46" fmla="*/ 833 w 930"/>
                <a:gd name="T47" fmla="*/ 569 h 792"/>
                <a:gd name="T48" fmla="*/ 895 w 930"/>
                <a:gd name="T49" fmla="*/ 600 h 792"/>
                <a:gd name="T50" fmla="*/ 918 w 930"/>
                <a:gd name="T51" fmla="*/ 575 h 792"/>
                <a:gd name="T52" fmla="*/ 890 w 930"/>
                <a:gd name="T53" fmla="*/ 537 h 792"/>
                <a:gd name="T54" fmla="*/ 872 w 930"/>
                <a:gd name="T55" fmla="*/ 498 h 792"/>
                <a:gd name="T56" fmla="*/ 865 w 930"/>
                <a:gd name="T57" fmla="*/ 474 h 792"/>
                <a:gd name="T58" fmla="*/ 871 w 930"/>
                <a:gd name="T59" fmla="*/ 440 h 792"/>
                <a:gd name="T60" fmla="*/ 852 w 930"/>
                <a:gd name="T61" fmla="*/ 403 h 792"/>
                <a:gd name="T62" fmla="*/ 861 w 930"/>
                <a:gd name="T63" fmla="*/ 346 h 792"/>
                <a:gd name="T64" fmla="*/ 821 w 930"/>
                <a:gd name="T65" fmla="*/ 298 h 792"/>
                <a:gd name="T66" fmla="*/ 788 w 930"/>
                <a:gd name="T67" fmla="*/ 259 h 792"/>
                <a:gd name="T68" fmla="*/ 783 w 930"/>
                <a:gd name="T69" fmla="*/ 226 h 792"/>
                <a:gd name="T70" fmla="*/ 750 w 930"/>
                <a:gd name="T71" fmla="*/ 224 h 792"/>
                <a:gd name="T72" fmla="*/ 756 w 930"/>
                <a:gd name="T73" fmla="*/ 186 h 792"/>
                <a:gd name="T74" fmla="*/ 754 w 930"/>
                <a:gd name="T75" fmla="*/ 147 h 792"/>
                <a:gd name="T76" fmla="*/ 703 w 930"/>
                <a:gd name="T77" fmla="*/ 160 h 792"/>
                <a:gd name="T78" fmla="*/ 650 w 930"/>
                <a:gd name="T79" fmla="*/ 170 h 792"/>
                <a:gd name="T80" fmla="*/ 623 w 930"/>
                <a:gd name="T81" fmla="*/ 125 h 792"/>
                <a:gd name="T82" fmla="*/ 600 w 930"/>
                <a:gd name="T83" fmla="*/ 93 h 792"/>
                <a:gd name="T84" fmla="*/ 544 w 930"/>
                <a:gd name="T85" fmla="*/ 89 h 792"/>
                <a:gd name="T86" fmla="*/ 496 w 930"/>
                <a:gd name="T87" fmla="*/ 106 h 792"/>
                <a:gd name="T88" fmla="*/ 448 w 930"/>
                <a:gd name="T89" fmla="*/ 107 h 792"/>
                <a:gd name="T90" fmla="*/ 424 w 930"/>
                <a:gd name="T91" fmla="*/ 89 h 792"/>
                <a:gd name="T92" fmla="*/ 384 w 930"/>
                <a:gd name="T93" fmla="*/ 71 h 792"/>
                <a:gd name="T94" fmla="*/ 348 w 930"/>
                <a:gd name="T95" fmla="*/ 44 h 792"/>
                <a:gd name="T96" fmla="*/ 333 w 930"/>
                <a:gd name="T97" fmla="*/ 4 h 792"/>
                <a:gd name="T98" fmla="*/ 311 w 930"/>
                <a:gd name="T99" fmla="*/ 10 h 792"/>
                <a:gd name="T100" fmla="*/ 273 w 930"/>
                <a:gd name="T101" fmla="*/ 21 h 792"/>
                <a:gd name="T102" fmla="*/ 239 w 930"/>
                <a:gd name="T103" fmla="*/ 16 h 792"/>
                <a:gd name="T104" fmla="*/ 208 w 930"/>
                <a:gd name="T105" fmla="*/ 21 h 792"/>
                <a:gd name="T106" fmla="*/ 182 w 930"/>
                <a:gd name="T107" fmla="*/ 42 h 792"/>
                <a:gd name="T108" fmla="*/ 159 w 930"/>
                <a:gd name="T109" fmla="*/ 63 h 792"/>
                <a:gd name="T110" fmla="*/ 127 w 930"/>
                <a:gd name="T111" fmla="*/ 81 h 792"/>
                <a:gd name="T112" fmla="*/ 81 w 930"/>
                <a:gd name="T113" fmla="*/ 101 h 792"/>
                <a:gd name="T114" fmla="*/ 60 w 930"/>
                <a:gd name="T115" fmla="*/ 119 h 792"/>
                <a:gd name="T116" fmla="*/ 71 w 930"/>
                <a:gd name="T117" fmla="*/ 169 h 792"/>
                <a:gd name="T118" fmla="*/ 61 w 930"/>
                <a:gd name="T119" fmla="*/ 186 h 792"/>
                <a:gd name="T120" fmla="*/ 69 w 930"/>
                <a:gd name="T121" fmla="*/ 241 h 792"/>
                <a:gd name="T122" fmla="*/ 36 w 930"/>
                <a:gd name="T123" fmla="*/ 280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30" h="792">
                  <a:moveTo>
                    <a:pt x="0" y="321"/>
                  </a:moveTo>
                  <a:lnTo>
                    <a:pt x="0" y="323"/>
                  </a:lnTo>
                  <a:lnTo>
                    <a:pt x="1" y="325"/>
                  </a:lnTo>
                  <a:lnTo>
                    <a:pt x="4" y="328"/>
                  </a:lnTo>
                  <a:lnTo>
                    <a:pt x="8" y="329"/>
                  </a:lnTo>
                  <a:lnTo>
                    <a:pt x="13" y="330"/>
                  </a:lnTo>
                  <a:lnTo>
                    <a:pt x="16" y="333"/>
                  </a:lnTo>
                  <a:lnTo>
                    <a:pt x="17" y="335"/>
                  </a:lnTo>
                  <a:lnTo>
                    <a:pt x="22" y="337"/>
                  </a:lnTo>
                  <a:lnTo>
                    <a:pt x="25" y="339"/>
                  </a:lnTo>
                  <a:lnTo>
                    <a:pt x="34" y="340"/>
                  </a:lnTo>
                  <a:lnTo>
                    <a:pt x="38" y="341"/>
                  </a:lnTo>
                  <a:lnTo>
                    <a:pt x="42" y="344"/>
                  </a:lnTo>
                  <a:lnTo>
                    <a:pt x="47" y="345"/>
                  </a:lnTo>
                  <a:lnTo>
                    <a:pt x="52" y="347"/>
                  </a:lnTo>
                  <a:lnTo>
                    <a:pt x="55" y="348"/>
                  </a:lnTo>
                  <a:lnTo>
                    <a:pt x="60" y="349"/>
                  </a:lnTo>
                  <a:lnTo>
                    <a:pt x="65" y="352"/>
                  </a:lnTo>
                  <a:lnTo>
                    <a:pt x="69" y="353"/>
                  </a:lnTo>
                  <a:lnTo>
                    <a:pt x="74" y="355"/>
                  </a:lnTo>
                  <a:lnTo>
                    <a:pt x="80" y="361"/>
                  </a:lnTo>
                  <a:lnTo>
                    <a:pt x="82" y="364"/>
                  </a:lnTo>
                  <a:lnTo>
                    <a:pt x="86" y="372"/>
                  </a:lnTo>
                  <a:lnTo>
                    <a:pt x="89" y="377"/>
                  </a:lnTo>
                  <a:lnTo>
                    <a:pt x="92" y="381"/>
                  </a:lnTo>
                  <a:lnTo>
                    <a:pt x="94" y="387"/>
                  </a:lnTo>
                  <a:lnTo>
                    <a:pt x="96" y="392"/>
                  </a:lnTo>
                  <a:lnTo>
                    <a:pt x="97" y="396"/>
                  </a:lnTo>
                  <a:lnTo>
                    <a:pt x="98" y="400"/>
                  </a:lnTo>
                  <a:lnTo>
                    <a:pt x="96" y="400"/>
                  </a:lnTo>
                  <a:lnTo>
                    <a:pt x="93" y="400"/>
                  </a:lnTo>
                  <a:lnTo>
                    <a:pt x="90" y="401"/>
                  </a:lnTo>
                  <a:lnTo>
                    <a:pt x="88" y="403"/>
                  </a:lnTo>
                  <a:lnTo>
                    <a:pt x="89" y="410"/>
                  </a:lnTo>
                  <a:lnTo>
                    <a:pt x="95" y="419"/>
                  </a:lnTo>
                  <a:lnTo>
                    <a:pt x="100" y="429"/>
                  </a:lnTo>
                  <a:lnTo>
                    <a:pt x="104" y="436"/>
                  </a:lnTo>
                  <a:lnTo>
                    <a:pt x="110" y="450"/>
                  </a:lnTo>
                  <a:lnTo>
                    <a:pt x="116" y="459"/>
                  </a:lnTo>
                  <a:lnTo>
                    <a:pt x="122" y="468"/>
                  </a:lnTo>
                  <a:lnTo>
                    <a:pt x="128" y="479"/>
                  </a:lnTo>
                  <a:lnTo>
                    <a:pt x="132" y="483"/>
                  </a:lnTo>
                  <a:lnTo>
                    <a:pt x="135" y="488"/>
                  </a:lnTo>
                  <a:lnTo>
                    <a:pt x="137" y="495"/>
                  </a:lnTo>
                  <a:lnTo>
                    <a:pt x="140" y="499"/>
                  </a:lnTo>
                  <a:lnTo>
                    <a:pt x="144" y="505"/>
                  </a:lnTo>
                  <a:lnTo>
                    <a:pt x="148" y="512"/>
                  </a:lnTo>
                  <a:lnTo>
                    <a:pt x="148" y="516"/>
                  </a:lnTo>
                  <a:lnTo>
                    <a:pt x="148" y="520"/>
                  </a:lnTo>
                  <a:lnTo>
                    <a:pt x="143" y="527"/>
                  </a:lnTo>
                  <a:lnTo>
                    <a:pt x="140" y="530"/>
                  </a:lnTo>
                  <a:lnTo>
                    <a:pt x="134" y="533"/>
                  </a:lnTo>
                  <a:lnTo>
                    <a:pt x="132" y="540"/>
                  </a:lnTo>
                  <a:lnTo>
                    <a:pt x="138" y="547"/>
                  </a:lnTo>
                  <a:lnTo>
                    <a:pt x="146" y="548"/>
                  </a:lnTo>
                  <a:lnTo>
                    <a:pt x="152" y="548"/>
                  </a:lnTo>
                  <a:lnTo>
                    <a:pt x="158" y="548"/>
                  </a:lnTo>
                  <a:lnTo>
                    <a:pt x="164" y="547"/>
                  </a:lnTo>
                  <a:lnTo>
                    <a:pt x="169" y="545"/>
                  </a:lnTo>
                  <a:lnTo>
                    <a:pt x="173" y="544"/>
                  </a:lnTo>
                  <a:lnTo>
                    <a:pt x="181" y="539"/>
                  </a:lnTo>
                  <a:lnTo>
                    <a:pt x="185" y="537"/>
                  </a:lnTo>
                  <a:lnTo>
                    <a:pt x="189" y="533"/>
                  </a:lnTo>
                  <a:lnTo>
                    <a:pt x="190" y="528"/>
                  </a:lnTo>
                  <a:lnTo>
                    <a:pt x="191" y="523"/>
                  </a:lnTo>
                  <a:lnTo>
                    <a:pt x="194" y="517"/>
                  </a:lnTo>
                  <a:lnTo>
                    <a:pt x="198" y="512"/>
                  </a:lnTo>
                  <a:lnTo>
                    <a:pt x="199" y="508"/>
                  </a:lnTo>
                  <a:lnTo>
                    <a:pt x="204" y="505"/>
                  </a:lnTo>
                  <a:lnTo>
                    <a:pt x="207" y="504"/>
                  </a:lnTo>
                  <a:lnTo>
                    <a:pt x="210" y="506"/>
                  </a:lnTo>
                  <a:lnTo>
                    <a:pt x="210" y="508"/>
                  </a:lnTo>
                  <a:lnTo>
                    <a:pt x="212" y="511"/>
                  </a:lnTo>
                  <a:lnTo>
                    <a:pt x="214" y="514"/>
                  </a:lnTo>
                  <a:lnTo>
                    <a:pt x="217" y="519"/>
                  </a:lnTo>
                  <a:lnTo>
                    <a:pt x="216" y="522"/>
                  </a:lnTo>
                  <a:lnTo>
                    <a:pt x="224" y="532"/>
                  </a:lnTo>
                  <a:lnTo>
                    <a:pt x="232" y="543"/>
                  </a:lnTo>
                  <a:lnTo>
                    <a:pt x="238" y="546"/>
                  </a:lnTo>
                  <a:lnTo>
                    <a:pt x="245" y="549"/>
                  </a:lnTo>
                  <a:lnTo>
                    <a:pt x="247" y="553"/>
                  </a:lnTo>
                  <a:lnTo>
                    <a:pt x="248" y="556"/>
                  </a:lnTo>
                  <a:lnTo>
                    <a:pt x="249" y="560"/>
                  </a:lnTo>
                  <a:lnTo>
                    <a:pt x="250" y="564"/>
                  </a:lnTo>
                  <a:lnTo>
                    <a:pt x="252" y="568"/>
                  </a:lnTo>
                  <a:lnTo>
                    <a:pt x="257" y="567"/>
                  </a:lnTo>
                  <a:lnTo>
                    <a:pt x="260" y="567"/>
                  </a:lnTo>
                  <a:lnTo>
                    <a:pt x="261" y="564"/>
                  </a:lnTo>
                  <a:lnTo>
                    <a:pt x="261" y="561"/>
                  </a:lnTo>
                  <a:lnTo>
                    <a:pt x="262" y="556"/>
                  </a:lnTo>
                  <a:lnTo>
                    <a:pt x="262" y="554"/>
                  </a:lnTo>
                  <a:lnTo>
                    <a:pt x="265" y="553"/>
                  </a:lnTo>
                  <a:lnTo>
                    <a:pt x="269" y="553"/>
                  </a:lnTo>
                  <a:lnTo>
                    <a:pt x="272" y="554"/>
                  </a:lnTo>
                  <a:lnTo>
                    <a:pt x="274" y="555"/>
                  </a:lnTo>
                  <a:lnTo>
                    <a:pt x="278" y="555"/>
                  </a:lnTo>
                  <a:lnTo>
                    <a:pt x="280" y="554"/>
                  </a:lnTo>
                  <a:lnTo>
                    <a:pt x="281" y="554"/>
                  </a:lnTo>
                  <a:lnTo>
                    <a:pt x="284" y="563"/>
                  </a:lnTo>
                  <a:lnTo>
                    <a:pt x="281" y="575"/>
                  </a:lnTo>
                  <a:lnTo>
                    <a:pt x="279" y="578"/>
                  </a:lnTo>
                  <a:lnTo>
                    <a:pt x="277" y="583"/>
                  </a:lnTo>
                  <a:lnTo>
                    <a:pt x="276" y="586"/>
                  </a:lnTo>
                  <a:lnTo>
                    <a:pt x="277" y="589"/>
                  </a:lnTo>
                  <a:lnTo>
                    <a:pt x="281" y="593"/>
                  </a:lnTo>
                  <a:lnTo>
                    <a:pt x="284" y="599"/>
                  </a:lnTo>
                  <a:lnTo>
                    <a:pt x="282" y="601"/>
                  </a:lnTo>
                  <a:lnTo>
                    <a:pt x="279" y="604"/>
                  </a:lnTo>
                  <a:lnTo>
                    <a:pt x="277" y="610"/>
                  </a:lnTo>
                  <a:lnTo>
                    <a:pt x="278" y="613"/>
                  </a:lnTo>
                  <a:lnTo>
                    <a:pt x="280" y="620"/>
                  </a:lnTo>
                  <a:lnTo>
                    <a:pt x="282" y="624"/>
                  </a:lnTo>
                  <a:lnTo>
                    <a:pt x="292" y="634"/>
                  </a:lnTo>
                  <a:lnTo>
                    <a:pt x="303" y="641"/>
                  </a:lnTo>
                  <a:lnTo>
                    <a:pt x="308" y="644"/>
                  </a:lnTo>
                  <a:lnTo>
                    <a:pt x="312" y="649"/>
                  </a:lnTo>
                  <a:lnTo>
                    <a:pt x="314" y="650"/>
                  </a:lnTo>
                  <a:lnTo>
                    <a:pt x="316" y="653"/>
                  </a:lnTo>
                  <a:lnTo>
                    <a:pt x="321" y="658"/>
                  </a:lnTo>
                  <a:lnTo>
                    <a:pt x="326" y="666"/>
                  </a:lnTo>
                  <a:lnTo>
                    <a:pt x="327" y="671"/>
                  </a:lnTo>
                  <a:lnTo>
                    <a:pt x="332" y="673"/>
                  </a:lnTo>
                  <a:lnTo>
                    <a:pt x="333" y="673"/>
                  </a:lnTo>
                  <a:lnTo>
                    <a:pt x="338" y="674"/>
                  </a:lnTo>
                  <a:lnTo>
                    <a:pt x="344" y="674"/>
                  </a:lnTo>
                  <a:lnTo>
                    <a:pt x="349" y="673"/>
                  </a:lnTo>
                  <a:lnTo>
                    <a:pt x="356" y="673"/>
                  </a:lnTo>
                  <a:lnTo>
                    <a:pt x="365" y="675"/>
                  </a:lnTo>
                  <a:lnTo>
                    <a:pt x="370" y="681"/>
                  </a:lnTo>
                  <a:lnTo>
                    <a:pt x="375" y="683"/>
                  </a:lnTo>
                  <a:lnTo>
                    <a:pt x="380" y="682"/>
                  </a:lnTo>
                  <a:lnTo>
                    <a:pt x="383" y="680"/>
                  </a:lnTo>
                  <a:lnTo>
                    <a:pt x="384" y="682"/>
                  </a:lnTo>
                  <a:lnTo>
                    <a:pt x="385" y="687"/>
                  </a:lnTo>
                  <a:lnTo>
                    <a:pt x="385" y="690"/>
                  </a:lnTo>
                  <a:lnTo>
                    <a:pt x="388" y="695"/>
                  </a:lnTo>
                  <a:lnTo>
                    <a:pt x="392" y="696"/>
                  </a:lnTo>
                  <a:lnTo>
                    <a:pt x="400" y="699"/>
                  </a:lnTo>
                  <a:lnTo>
                    <a:pt x="405" y="701"/>
                  </a:lnTo>
                  <a:lnTo>
                    <a:pt x="410" y="705"/>
                  </a:lnTo>
                  <a:lnTo>
                    <a:pt x="415" y="713"/>
                  </a:lnTo>
                  <a:lnTo>
                    <a:pt x="417" y="720"/>
                  </a:lnTo>
                  <a:lnTo>
                    <a:pt x="420" y="724"/>
                  </a:lnTo>
                  <a:lnTo>
                    <a:pt x="418" y="730"/>
                  </a:lnTo>
                  <a:lnTo>
                    <a:pt x="418" y="735"/>
                  </a:lnTo>
                  <a:lnTo>
                    <a:pt x="420" y="739"/>
                  </a:lnTo>
                  <a:lnTo>
                    <a:pt x="422" y="743"/>
                  </a:lnTo>
                  <a:lnTo>
                    <a:pt x="421" y="745"/>
                  </a:lnTo>
                  <a:lnTo>
                    <a:pt x="415" y="746"/>
                  </a:lnTo>
                  <a:lnTo>
                    <a:pt x="413" y="751"/>
                  </a:lnTo>
                  <a:lnTo>
                    <a:pt x="416" y="755"/>
                  </a:lnTo>
                  <a:lnTo>
                    <a:pt x="420" y="756"/>
                  </a:lnTo>
                  <a:lnTo>
                    <a:pt x="425" y="760"/>
                  </a:lnTo>
                  <a:lnTo>
                    <a:pt x="432" y="762"/>
                  </a:lnTo>
                  <a:lnTo>
                    <a:pt x="437" y="764"/>
                  </a:lnTo>
                  <a:lnTo>
                    <a:pt x="440" y="767"/>
                  </a:lnTo>
                  <a:lnTo>
                    <a:pt x="445" y="769"/>
                  </a:lnTo>
                  <a:lnTo>
                    <a:pt x="448" y="771"/>
                  </a:lnTo>
                  <a:lnTo>
                    <a:pt x="456" y="776"/>
                  </a:lnTo>
                  <a:lnTo>
                    <a:pt x="460" y="778"/>
                  </a:lnTo>
                  <a:lnTo>
                    <a:pt x="464" y="778"/>
                  </a:lnTo>
                  <a:lnTo>
                    <a:pt x="470" y="778"/>
                  </a:lnTo>
                  <a:lnTo>
                    <a:pt x="477" y="778"/>
                  </a:lnTo>
                  <a:lnTo>
                    <a:pt x="480" y="781"/>
                  </a:lnTo>
                  <a:lnTo>
                    <a:pt x="486" y="785"/>
                  </a:lnTo>
                  <a:lnTo>
                    <a:pt x="487" y="786"/>
                  </a:lnTo>
                  <a:lnTo>
                    <a:pt x="493" y="788"/>
                  </a:lnTo>
                  <a:lnTo>
                    <a:pt x="497" y="786"/>
                  </a:lnTo>
                  <a:lnTo>
                    <a:pt x="501" y="783"/>
                  </a:lnTo>
                  <a:lnTo>
                    <a:pt x="504" y="780"/>
                  </a:lnTo>
                  <a:lnTo>
                    <a:pt x="510" y="779"/>
                  </a:lnTo>
                  <a:lnTo>
                    <a:pt x="511" y="784"/>
                  </a:lnTo>
                  <a:lnTo>
                    <a:pt x="511" y="787"/>
                  </a:lnTo>
                  <a:lnTo>
                    <a:pt x="516" y="787"/>
                  </a:lnTo>
                  <a:lnTo>
                    <a:pt x="520" y="785"/>
                  </a:lnTo>
                  <a:lnTo>
                    <a:pt x="522" y="785"/>
                  </a:lnTo>
                  <a:lnTo>
                    <a:pt x="533" y="789"/>
                  </a:lnTo>
                  <a:lnTo>
                    <a:pt x="536" y="792"/>
                  </a:lnTo>
                  <a:lnTo>
                    <a:pt x="544" y="789"/>
                  </a:lnTo>
                  <a:lnTo>
                    <a:pt x="549" y="785"/>
                  </a:lnTo>
                  <a:lnTo>
                    <a:pt x="565" y="781"/>
                  </a:lnTo>
                  <a:lnTo>
                    <a:pt x="572" y="778"/>
                  </a:lnTo>
                  <a:lnTo>
                    <a:pt x="576" y="773"/>
                  </a:lnTo>
                  <a:lnTo>
                    <a:pt x="582" y="769"/>
                  </a:lnTo>
                  <a:lnTo>
                    <a:pt x="588" y="767"/>
                  </a:lnTo>
                  <a:lnTo>
                    <a:pt x="592" y="763"/>
                  </a:lnTo>
                  <a:lnTo>
                    <a:pt x="597" y="760"/>
                  </a:lnTo>
                  <a:lnTo>
                    <a:pt x="601" y="757"/>
                  </a:lnTo>
                  <a:lnTo>
                    <a:pt x="605" y="754"/>
                  </a:lnTo>
                  <a:lnTo>
                    <a:pt x="605" y="751"/>
                  </a:lnTo>
                  <a:lnTo>
                    <a:pt x="599" y="746"/>
                  </a:lnTo>
                  <a:lnTo>
                    <a:pt x="594" y="745"/>
                  </a:lnTo>
                  <a:lnTo>
                    <a:pt x="583" y="739"/>
                  </a:lnTo>
                  <a:lnTo>
                    <a:pt x="583" y="737"/>
                  </a:lnTo>
                  <a:lnTo>
                    <a:pt x="586" y="735"/>
                  </a:lnTo>
                  <a:lnTo>
                    <a:pt x="588" y="731"/>
                  </a:lnTo>
                  <a:lnTo>
                    <a:pt x="588" y="729"/>
                  </a:lnTo>
                  <a:lnTo>
                    <a:pt x="586" y="724"/>
                  </a:lnTo>
                  <a:lnTo>
                    <a:pt x="586" y="721"/>
                  </a:lnTo>
                  <a:lnTo>
                    <a:pt x="589" y="714"/>
                  </a:lnTo>
                  <a:lnTo>
                    <a:pt x="589" y="709"/>
                  </a:lnTo>
                  <a:lnTo>
                    <a:pt x="589" y="706"/>
                  </a:lnTo>
                  <a:lnTo>
                    <a:pt x="584" y="701"/>
                  </a:lnTo>
                  <a:lnTo>
                    <a:pt x="581" y="698"/>
                  </a:lnTo>
                  <a:lnTo>
                    <a:pt x="576" y="693"/>
                  </a:lnTo>
                  <a:lnTo>
                    <a:pt x="575" y="690"/>
                  </a:lnTo>
                  <a:lnTo>
                    <a:pt x="575" y="687"/>
                  </a:lnTo>
                  <a:lnTo>
                    <a:pt x="578" y="682"/>
                  </a:lnTo>
                  <a:lnTo>
                    <a:pt x="582" y="677"/>
                  </a:lnTo>
                  <a:lnTo>
                    <a:pt x="584" y="673"/>
                  </a:lnTo>
                  <a:lnTo>
                    <a:pt x="585" y="668"/>
                  </a:lnTo>
                  <a:lnTo>
                    <a:pt x="588" y="664"/>
                  </a:lnTo>
                  <a:lnTo>
                    <a:pt x="590" y="663"/>
                  </a:lnTo>
                  <a:lnTo>
                    <a:pt x="594" y="667"/>
                  </a:lnTo>
                  <a:lnTo>
                    <a:pt x="600" y="668"/>
                  </a:lnTo>
                  <a:lnTo>
                    <a:pt x="600" y="665"/>
                  </a:lnTo>
                  <a:lnTo>
                    <a:pt x="599" y="661"/>
                  </a:lnTo>
                  <a:lnTo>
                    <a:pt x="598" y="659"/>
                  </a:lnTo>
                  <a:lnTo>
                    <a:pt x="601" y="657"/>
                  </a:lnTo>
                  <a:lnTo>
                    <a:pt x="601" y="655"/>
                  </a:lnTo>
                  <a:lnTo>
                    <a:pt x="601" y="651"/>
                  </a:lnTo>
                  <a:lnTo>
                    <a:pt x="598" y="650"/>
                  </a:lnTo>
                  <a:lnTo>
                    <a:pt x="590" y="650"/>
                  </a:lnTo>
                  <a:lnTo>
                    <a:pt x="589" y="647"/>
                  </a:lnTo>
                  <a:lnTo>
                    <a:pt x="588" y="641"/>
                  </a:lnTo>
                  <a:lnTo>
                    <a:pt x="588" y="637"/>
                  </a:lnTo>
                  <a:lnTo>
                    <a:pt x="593" y="635"/>
                  </a:lnTo>
                  <a:lnTo>
                    <a:pt x="599" y="637"/>
                  </a:lnTo>
                  <a:lnTo>
                    <a:pt x="604" y="639"/>
                  </a:lnTo>
                  <a:lnTo>
                    <a:pt x="606" y="640"/>
                  </a:lnTo>
                  <a:lnTo>
                    <a:pt x="607" y="636"/>
                  </a:lnTo>
                  <a:lnTo>
                    <a:pt x="606" y="634"/>
                  </a:lnTo>
                  <a:lnTo>
                    <a:pt x="604" y="632"/>
                  </a:lnTo>
                  <a:lnTo>
                    <a:pt x="604" y="628"/>
                  </a:lnTo>
                  <a:lnTo>
                    <a:pt x="602" y="624"/>
                  </a:lnTo>
                  <a:lnTo>
                    <a:pt x="599" y="620"/>
                  </a:lnTo>
                  <a:lnTo>
                    <a:pt x="598" y="617"/>
                  </a:lnTo>
                  <a:lnTo>
                    <a:pt x="599" y="613"/>
                  </a:lnTo>
                  <a:lnTo>
                    <a:pt x="601" y="613"/>
                  </a:lnTo>
                  <a:lnTo>
                    <a:pt x="607" y="615"/>
                  </a:lnTo>
                  <a:lnTo>
                    <a:pt x="614" y="611"/>
                  </a:lnTo>
                  <a:lnTo>
                    <a:pt x="614" y="604"/>
                  </a:lnTo>
                  <a:lnTo>
                    <a:pt x="613" y="602"/>
                  </a:lnTo>
                  <a:lnTo>
                    <a:pt x="617" y="595"/>
                  </a:lnTo>
                  <a:lnTo>
                    <a:pt x="624" y="589"/>
                  </a:lnTo>
                  <a:lnTo>
                    <a:pt x="629" y="583"/>
                  </a:lnTo>
                  <a:lnTo>
                    <a:pt x="634" y="585"/>
                  </a:lnTo>
                  <a:lnTo>
                    <a:pt x="644" y="581"/>
                  </a:lnTo>
                  <a:lnTo>
                    <a:pt x="648" y="578"/>
                  </a:lnTo>
                  <a:lnTo>
                    <a:pt x="654" y="584"/>
                  </a:lnTo>
                  <a:lnTo>
                    <a:pt x="660" y="587"/>
                  </a:lnTo>
                  <a:lnTo>
                    <a:pt x="666" y="585"/>
                  </a:lnTo>
                  <a:lnTo>
                    <a:pt x="668" y="579"/>
                  </a:lnTo>
                  <a:lnTo>
                    <a:pt x="672" y="575"/>
                  </a:lnTo>
                  <a:lnTo>
                    <a:pt x="679" y="577"/>
                  </a:lnTo>
                  <a:lnTo>
                    <a:pt x="685" y="578"/>
                  </a:lnTo>
                  <a:lnTo>
                    <a:pt x="688" y="575"/>
                  </a:lnTo>
                  <a:lnTo>
                    <a:pt x="692" y="569"/>
                  </a:lnTo>
                  <a:lnTo>
                    <a:pt x="697" y="569"/>
                  </a:lnTo>
                  <a:lnTo>
                    <a:pt x="706" y="569"/>
                  </a:lnTo>
                  <a:lnTo>
                    <a:pt x="713" y="569"/>
                  </a:lnTo>
                  <a:lnTo>
                    <a:pt x="720" y="568"/>
                  </a:lnTo>
                  <a:lnTo>
                    <a:pt x="725" y="563"/>
                  </a:lnTo>
                  <a:lnTo>
                    <a:pt x="730" y="559"/>
                  </a:lnTo>
                  <a:lnTo>
                    <a:pt x="736" y="556"/>
                  </a:lnTo>
                  <a:lnTo>
                    <a:pt x="742" y="554"/>
                  </a:lnTo>
                  <a:lnTo>
                    <a:pt x="749" y="551"/>
                  </a:lnTo>
                  <a:lnTo>
                    <a:pt x="757" y="549"/>
                  </a:lnTo>
                  <a:lnTo>
                    <a:pt x="761" y="551"/>
                  </a:lnTo>
                  <a:lnTo>
                    <a:pt x="761" y="552"/>
                  </a:lnTo>
                  <a:lnTo>
                    <a:pt x="764" y="555"/>
                  </a:lnTo>
                  <a:lnTo>
                    <a:pt x="766" y="557"/>
                  </a:lnTo>
                  <a:lnTo>
                    <a:pt x="769" y="561"/>
                  </a:lnTo>
                  <a:lnTo>
                    <a:pt x="775" y="561"/>
                  </a:lnTo>
                  <a:lnTo>
                    <a:pt x="778" y="560"/>
                  </a:lnTo>
                  <a:lnTo>
                    <a:pt x="786" y="563"/>
                  </a:lnTo>
                  <a:lnTo>
                    <a:pt x="786" y="565"/>
                  </a:lnTo>
                  <a:lnTo>
                    <a:pt x="789" y="570"/>
                  </a:lnTo>
                  <a:lnTo>
                    <a:pt x="791" y="572"/>
                  </a:lnTo>
                  <a:lnTo>
                    <a:pt x="793" y="573"/>
                  </a:lnTo>
                  <a:lnTo>
                    <a:pt x="798" y="575"/>
                  </a:lnTo>
                  <a:lnTo>
                    <a:pt x="805" y="575"/>
                  </a:lnTo>
                  <a:lnTo>
                    <a:pt x="812" y="573"/>
                  </a:lnTo>
                  <a:lnTo>
                    <a:pt x="815" y="569"/>
                  </a:lnTo>
                  <a:lnTo>
                    <a:pt x="818" y="567"/>
                  </a:lnTo>
                  <a:lnTo>
                    <a:pt x="825" y="565"/>
                  </a:lnTo>
                  <a:lnTo>
                    <a:pt x="831" y="567"/>
                  </a:lnTo>
                  <a:lnTo>
                    <a:pt x="833" y="569"/>
                  </a:lnTo>
                  <a:lnTo>
                    <a:pt x="838" y="571"/>
                  </a:lnTo>
                  <a:lnTo>
                    <a:pt x="842" y="575"/>
                  </a:lnTo>
                  <a:lnTo>
                    <a:pt x="849" y="577"/>
                  </a:lnTo>
                  <a:lnTo>
                    <a:pt x="858" y="576"/>
                  </a:lnTo>
                  <a:lnTo>
                    <a:pt x="865" y="576"/>
                  </a:lnTo>
                  <a:lnTo>
                    <a:pt x="873" y="577"/>
                  </a:lnTo>
                  <a:lnTo>
                    <a:pt x="881" y="581"/>
                  </a:lnTo>
                  <a:lnTo>
                    <a:pt x="881" y="584"/>
                  </a:lnTo>
                  <a:lnTo>
                    <a:pt x="882" y="587"/>
                  </a:lnTo>
                  <a:lnTo>
                    <a:pt x="888" y="593"/>
                  </a:lnTo>
                  <a:lnTo>
                    <a:pt x="890" y="596"/>
                  </a:lnTo>
                  <a:lnTo>
                    <a:pt x="895" y="600"/>
                  </a:lnTo>
                  <a:lnTo>
                    <a:pt x="900" y="602"/>
                  </a:lnTo>
                  <a:lnTo>
                    <a:pt x="905" y="602"/>
                  </a:lnTo>
                  <a:lnTo>
                    <a:pt x="908" y="602"/>
                  </a:lnTo>
                  <a:lnTo>
                    <a:pt x="912" y="602"/>
                  </a:lnTo>
                  <a:lnTo>
                    <a:pt x="918" y="602"/>
                  </a:lnTo>
                  <a:lnTo>
                    <a:pt x="924" y="599"/>
                  </a:lnTo>
                  <a:lnTo>
                    <a:pt x="927" y="596"/>
                  </a:lnTo>
                  <a:lnTo>
                    <a:pt x="930" y="591"/>
                  </a:lnTo>
                  <a:lnTo>
                    <a:pt x="930" y="587"/>
                  </a:lnTo>
                  <a:lnTo>
                    <a:pt x="928" y="583"/>
                  </a:lnTo>
                  <a:lnTo>
                    <a:pt x="922" y="579"/>
                  </a:lnTo>
                  <a:lnTo>
                    <a:pt x="918" y="575"/>
                  </a:lnTo>
                  <a:lnTo>
                    <a:pt x="909" y="565"/>
                  </a:lnTo>
                  <a:lnTo>
                    <a:pt x="908" y="561"/>
                  </a:lnTo>
                  <a:lnTo>
                    <a:pt x="909" y="556"/>
                  </a:lnTo>
                  <a:lnTo>
                    <a:pt x="905" y="556"/>
                  </a:lnTo>
                  <a:lnTo>
                    <a:pt x="904" y="556"/>
                  </a:lnTo>
                  <a:lnTo>
                    <a:pt x="902" y="555"/>
                  </a:lnTo>
                  <a:lnTo>
                    <a:pt x="901" y="553"/>
                  </a:lnTo>
                  <a:lnTo>
                    <a:pt x="900" y="549"/>
                  </a:lnTo>
                  <a:lnTo>
                    <a:pt x="897" y="546"/>
                  </a:lnTo>
                  <a:lnTo>
                    <a:pt x="893" y="544"/>
                  </a:lnTo>
                  <a:lnTo>
                    <a:pt x="890" y="541"/>
                  </a:lnTo>
                  <a:lnTo>
                    <a:pt x="890" y="537"/>
                  </a:lnTo>
                  <a:lnTo>
                    <a:pt x="892" y="532"/>
                  </a:lnTo>
                  <a:lnTo>
                    <a:pt x="892" y="528"/>
                  </a:lnTo>
                  <a:lnTo>
                    <a:pt x="889" y="524"/>
                  </a:lnTo>
                  <a:lnTo>
                    <a:pt x="880" y="523"/>
                  </a:lnTo>
                  <a:lnTo>
                    <a:pt x="876" y="522"/>
                  </a:lnTo>
                  <a:lnTo>
                    <a:pt x="874" y="517"/>
                  </a:lnTo>
                  <a:lnTo>
                    <a:pt x="876" y="515"/>
                  </a:lnTo>
                  <a:lnTo>
                    <a:pt x="877" y="512"/>
                  </a:lnTo>
                  <a:lnTo>
                    <a:pt x="878" y="508"/>
                  </a:lnTo>
                  <a:lnTo>
                    <a:pt x="877" y="505"/>
                  </a:lnTo>
                  <a:lnTo>
                    <a:pt x="876" y="501"/>
                  </a:lnTo>
                  <a:lnTo>
                    <a:pt x="872" y="498"/>
                  </a:lnTo>
                  <a:lnTo>
                    <a:pt x="869" y="496"/>
                  </a:lnTo>
                  <a:lnTo>
                    <a:pt x="866" y="496"/>
                  </a:lnTo>
                  <a:lnTo>
                    <a:pt x="861" y="496"/>
                  </a:lnTo>
                  <a:lnTo>
                    <a:pt x="857" y="493"/>
                  </a:lnTo>
                  <a:lnTo>
                    <a:pt x="856" y="492"/>
                  </a:lnTo>
                  <a:lnTo>
                    <a:pt x="855" y="489"/>
                  </a:lnTo>
                  <a:lnTo>
                    <a:pt x="854" y="487"/>
                  </a:lnTo>
                  <a:lnTo>
                    <a:pt x="855" y="483"/>
                  </a:lnTo>
                  <a:lnTo>
                    <a:pt x="856" y="481"/>
                  </a:lnTo>
                  <a:lnTo>
                    <a:pt x="860" y="479"/>
                  </a:lnTo>
                  <a:lnTo>
                    <a:pt x="862" y="476"/>
                  </a:lnTo>
                  <a:lnTo>
                    <a:pt x="865" y="474"/>
                  </a:lnTo>
                  <a:lnTo>
                    <a:pt x="871" y="473"/>
                  </a:lnTo>
                  <a:lnTo>
                    <a:pt x="876" y="469"/>
                  </a:lnTo>
                  <a:lnTo>
                    <a:pt x="881" y="466"/>
                  </a:lnTo>
                  <a:lnTo>
                    <a:pt x="885" y="464"/>
                  </a:lnTo>
                  <a:lnTo>
                    <a:pt x="885" y="460"/>
                  </a:lnTo>
                  <a:lnTo>
                    <a:pt x="885" y="457"/>
                  </a:lnTo>
                  <a:lnTo>
                    <a:pt x="881" y="452"/>
                  </a:lnTo>
                  <a:lnTo>
                    <a:pt x="879" y="450"/>
                  </a:lnTo>
                  <a:lnTo>
                    <a:pt x="878" y="448"/>
                  </a:lnTo>
                  <a:lnTo>
                    <a:pt x="877" y="444"/>
                  </a:lnTo>
                  <a:lnTo>
                    <a:pt x="874" y="441"/>
                  </a:lnTo>
                  <a:lnTo>
                    <a:pt x="871" y="440"/>
                  </a:lnTo>
                  <a:lnTo>
                    <a:pt x="864" y="437"/>
                  </a:lnTo>
                  <a:lnTo>
                    <a:pt x="863" y="437"/>
                  </a:lnTo>
                  <a:lnTo>
                    <a:pt x="860" y="435"/>
                  </a:lnTo>
                  <a:lnTo>
                    <a:pt x="858" y="432"/>
                  </a:lnTo>
                  <a:lnTo>
                    <a:pt x="857" y="428"/>
                  </a:lnTo>
                  <a:lnTo>
                    <a:pt x="856" y="425"/>
                  </a:lnTo>
                  <a:lnTo>
                    <a:pt x="855" y="420"/>
                  </a:lnTo>
                  <a:lnTo>
                    <a:pt x="855" y="417"/>
                  </a:lnTo>
                  <a:lnTo>
                    <a:pt x="852" y="411"/>
                  </a:lnTo>
                  <a:lnTo>
                    <a:pt x="852" y="409"/>
                  </a:lnTo>
                  <a:lnTo>
                    <a:pt x="850" y="407"/>
                  </a:lnTo>
                  <a:lnTo>
                    <a:pt x="852" y="403"/>
                  </a:lnTo>
                  <a:lnTo>
                    <a:pt x="854" y="399"/>
                  </a:lnTo>
                  <a:lnTo>
                    <a:pt x="856" y="393"/>
                  </a:lnTo>
                  <a:lnTo>
                    <a:pt x="860" y="388"/>
                  </a:lnTo>
                  <a:lnTo>
                    <a:pt x="862" y="385"/>
                  </a:lnTo>
                  <a:lnTo>
                    <a:pt x="864" y="377"/>
                  </a:lnTo>
                  <a:lnTo>
                    <a:pt x="868" y="371"/>
                  </a:lnTo>
                  <a:lnTo>
                    <a:pt x="868" y="367"/>
                  </a:lnTo>
                  <a:lnTo>
                    <a:pt x="868" y="362"/>
                  </a:lnTo>
                  <a:lnTo>
                    <a:pt x="866" y="356"/>
                  </a:lnTo>
                  <a:lnTo>
                    <a:pt x="864" y="353"/>
                  </a:lnTo>
                  <a:lnTo>
                    <a:pt x="862" y="348"/>
                  </a:lnTo>
                  <a:lnTo>
                    <a:pt x="861" y="346"/>
                  </a:lnTo>
                  <a:lnTo>
                    <a:pt x="858" y="344"/>
                  </a:lnTo>
                  <a:lnTo>
                    <a:pt x="854" y="341"/>
                  </a:lnTo>
                  <a:lnTo>
                    <a:pt x="850" y="338"/>
                  </a:lnTo>
                  <a:lnTo>
                    <a:pt x="847" y="333"/>
                  </a:lnTo>
                  <a:lnTo>
                    <a:pt x="844" y="329"/>
                  </a:lnTo>
                  <a:lnTo>
                    <a:pt x="840" y="324"/>
                  </a:lnTo>
                  <a:lnTo>
                    <a:pt x="836" y="322"/>
                  </a:lnTo>
                  <a:lnTo>
                    <a:pt x="832" y="320"/>
                  </a:lnTo>
                  <a:lnTo>
                    <a:pt x="826" y="314"/>
                  </a:lnTo>
                  <a:lnTo>
                    <a:pt x="821" y="309"/>
                  </a:lnTo>
                  <a:lnTo>
                    <a:pt x="818" y="304"/>
                  </a:lnTo>
                  <a:lnTo>
                    <a:pt x="821" y="298"/>
                  </a:lnTo>
                  <a:lnTo>
                    <a:pt x="822" y="292"/>
                  </a:lnTo>
                  <a:lnTo>
                    <a:pt x="818" y="287"/>
                  </a:lnTo>
                  <a:lnTo>
                    <a:pt x="816" y="283"/>
                  </a:lnTo>
                  <a:lnTo>
                    <a:pt x="813" y="281"/>
                  </a:lnTo>
                  <a:lnTo>
                    <a:pt x="809" y="280"/>
                  </a:lnTo>
                  <a:lnTo>
                    <a:pt x="801" y="283"/>
                  </a:lnTo>
                  <a:lnTo>
                    <a:pt x="784" y="285"/>
                  </a:lnTo>
                  <a:lnTo>
                    <a:pt x="783" y="283"/>
                  </a:lnTo>
                  <a:lnTo>
                    <a:pt x="783" y="280"/>
                  </a:lnTo>
                  <a:lnTo>
                    <a:pt x="786" y="275"/>
                  </a:lnTo>
                  <a:lnTo>
                    <a:pt x="789" y="266"/>
                  </a:lnTo>
                  <a:lnTo>
                    <a:pt x="788" y="259"/>
                  </a:lnTo>
                  <a:lnTo>
                    <a:pt x="788" y="255"/>
                  </a:lnTo>
                  <a:lnTo>
                    <a:pt x="790" y="250"/>
                  </a:lnTo>
                  <a:lnTo>
                    <a:pt x="792" y="244"/>
                  </a:lnTo>
                  <a:lnTo>
                    <a:pt x="796" y="240"/>
                  </a:lnTo>
                  <a:lnTo>
                    <a:pt x="801" y="235"/>
                  </a:lnTo>
                  <a:lnTo>
                    <a:pt x="801" y="233"/>
                  </a:lnTo>
                  <a:lnTo>
                    <a:pt x="799" y="231"/>
                  </a:lnTo>
                  <a:lnTo>
                    <a:pt x="792" y="231"/>
                  </a:lnTo>
                  <a:lnTo>
                    <a:pt x="788" y="231"/>
                  </a:lnTo>
                  <a:lnTo>
                    <a:pt x="785" y="228"/>
                  </a:lnTo>
                  <a:lnTo>
                    <a:pt x="784" y="227"/>
                  </a:lnTo>
                  <a:lnTo>
                    <a:pt x="783" y="226"/>
                  </a:lnTo>
                  <a:lnTo>
                    <a:pt x="782" y="221"/>
                  </a:lnTo>
                  <a:lnTo>
                    <a:pt x="783" y="217"/>
                  </a:lnTo>
                  <a:lnTo>
                    <a:pt x="784" y="213"/>
                  </a:lnTo>
                  <a:lnTo>
                    <a:pt x="783" y="211"/>
                  </a:lnTo>
                  <a:lnTo>
                    <a:pt x="778" y="209"/>
                  </a:lnTo>
                  <a:lnTo>
                    <a:pt x="772" y="207"/>
                  </a:lnTo>
                  <a:lnTo>
                    <a:pt x="766" y="210"/>
                  </a:lnTo>
                  <a:lnTo>
                    <a:pt x="762" y="212"/>
                  </a:lnTo>
                  <a:lnTo>
                    <a:pt x="759" y="218"/>
                  </a:lnTo>
                  <a:lnTo>
                    <a:pt x="754" y="221"/>
                  </a:lnTo>
                  <a:lnTo>
                    <a:pt x="752" y="221"/>
                  </a:lnTo>
                  <a:lnTo>
                    <a:pt x="750" y="224"/>
                  </a:lnTo>
                  <a:lnTo>
                    <a:pt x="749" y="228"/>
                  </a:lnTo>
                  <a:lnTo>
                    <a:pt x="745" y="228"/>
                  </a:lnTo>
                  <a:lnTo>
                    <a:pt x="743" y="225"/>
                  </a:lnTo>
                  <a:lnTo>
                    <a:pt x="741" y="218"/>
                  </a:lnTo>
                  <a:lnTo>
                    <a:pt x="741" y="215"/>
                  </a:lnTo>
                  <a:lnTo>
                    <a:pt x="741" y="212"/>
                  </a:lnTo>
                  <a:lnTo>
                    <a:pt x="742" y="208"/>
                  </a:lnTo>
                  <a:lnTo>
                    <a:pt x="745" y="203"/>
                  </a:lnTo>
                  <a:lnTo>
                    <a:pt x="745" y="197"/>
                  </a:lnTo>
                  <a:lnTo>
                    <a:pt x="749" y="195"/>
                  </a:lnTo>
                  <a:lnTo>
                    <a:pt x="751" y="192"/>
                  </a:lnTo>
                  <a:lnTo>
                    <a:pt x="756" y="186"/>
                  </a:lnTo>
                  <a:lnTo>
                    <a:pt x="759" y="184"/>
                  </a:lnTo>
                  <a:lnTo>
                    <a:pt x="765" y="183"/>
                  </a:lnTo>
                  <a:lnTo>
                    <a:pt x="768" y="181"/>
                  </a:lnTo>
                  <a:lnTo>
                    <a:pt x="770" y="178"/>
                  </a:lnTo>
                  <a:lnTo>
                    <a:pt x="770" y="176"/>
                  </a:lnTo>
                  <a:lnTo>
                    <a:pt x="768" y="161"/>
                  </a:lnTo>
                  <a:lnTo>
                    <a:pt x="768" y="157"/>
                  </a:lnTo>
                  <a:lnTo>
                    <a:pt x="766" y="152"/>
                  </a:lnTo>
                  <a:lnTo>
                    <a:pt x="765" y="146"/>
                  </a:lnTo>
                  <a:lnTo>
                    <a:pt x="762" y="146"/>
                  </a:lnTo>
                  <a:lnTo>
                    <a:pt x="758" y="147"/>
                  </a:lnTo>
                  <a:lnTo>
                    <a:pt x="754" y="147"/>
                  </a:lnTo>
                  <a:lnTo>
                    <a:pt x="751" y="151"/>
                  </a:lnTo>
                  <a:lnTo>
                    <a:pt x="751" y="155"/>
                  </a:lnTo>
                  <a:lnTo>
                    <a:pt x="750" y="157"/>
                  </a:lnTo>
                  <a:lnTo>
                    <a:pt x="745" y="159"/>
                  </a:lnTo>
                  <a:lnTo>
                    <a:pt x="738" y="159"/>
                  </a:lnTo>
                  <a:lnTo>
                    <a:pt x="733" y="161"/>
                  </a:lnTo>
                  <a:lnTo>
                    <a:pt x="729" y="163"/>
                  </a:lnTo>
                  <a:lnTo>
                    <a:pt x="722" y="164"/>
                  </a:lnTo>
                  <a:lnTo>
                    <a:pt x="717" y="164"/>
                  </a:lnTo>
                  <a:lnTo>
                    <a:pt x="710" y="162"/>
                  </a:lnTo>
                  <a:lnTo>
                    <a:pt x="706" y="161"/>
                  </a:lnTo>
                  <a:lnTo>
                    <a:pt x="703" y="160"/>
                  </a:lnTo>
                  <a:lnTo>
                    <a:pt x="700" y="160"/>
                  </a:lnTo>
                  <a:lnTo>
                    <a:pt x="698" y="163"/>
                  </a:lnTo>
                  <a:lnTo>
                    <a:pt x="690" y="167"/>
                  </a:lnTo>
                  <a:lnTo>
                    <a:pt x="687" y="170"/>
                  </a:lnTo>
                  <a:lnTo>
                    <a:pt x="684" y="172"/>
                  </a:lnTo>
                  <a:lnTo>
                    <a:pt x="677" y="172"/>
                  </a:lnTo>
                  <a:lnTo>
                    <a:pt x="672" y="171"/>
                  </a:lnTo>
                  <a:lnTo>
                    <a:pt x="669" y="170"/>
                  </a:lnTo>
                  <a:lnTo>
                    <a:pt x="665" y="172"/>
                  </a:lnTo>
                  <a:lnTo>
                    <a:pt x="662" y="175"/>
                  </a:lnTo>
                  <a:lnTo>
                    <a:pt x="655" y="173"/>
                  </a:lnTo>
                  <a:lnTo>
                    <a:pt x="650" y="170"/>
                  </a:lnTo>
                  <a:lnTo>
                    <a:pt x="642" y="164"/>
                  </a:lnTo>
                  <a:lnTo>
                    <a:pt x="639" y="162"/>
                  </a:lnTo>
                  <a:lnTo>
                    <a:pt x="634" y="159"/>
                  </a:lnTo>
                  <a:lnTo>
                    <a:pt x="633" y="152"/>
                  </a:lnTo>
                  <a:lnTo>
                    <a:pt x="634" y="146"/>
                  </a:lnTo>
                  <a:lnTo>
                    <a:pt x="637" y="141"/>
                  </a:lnTo>
                  <a:lnTo>
                    <a:pt x="636" y="138"/>
                  </a:lnTo>
                  <a:lnTo>
                    <a:pt x="636" y="136"/>
                  </a:lnTo>
                  <a:lnTo>
                    <a:pt x="630" y="133"/>
                  </a:lnTo>
                  <a:lnTo>
                    <a:pt x="626" y="131"/>
                  </a:lnTo>
                  <a:lnTo>
                    <a:pt x="624" y="129"/>
                  </a:lnTo>
                  <a:lnTo>
                    <a:pt x="623" y="125"/>
                  </a:lnTo>
                  <a:lnTo>
                    <a:pt x="618" y="123"/>
                  </a:lnTo>
                  <a:lnTo>
                    <a:pt x="618" y="119"/>
                  </a:lnTo>
                  <a:lnTo>
                    <a:pt x="615" y="116"/>
                  </a:lnTo>
                  <a:lnTo>
                    <a:pt x="613" y="115"/>
                  </a:lnTo>
                  <a:lnTo>
                    <a:pt x="606" y="114"/>
                  </a:lnTo>
                  <a:lnTo>
                    <a:pt x="601" y="113"/>
                  </a:lnTo>
                  <a:lnTo>
                    <a:pt x="598" y="111"/>
                  </a:lnTo>
                  <a:lnTo>
                    <a:pt x="598" y="108"/>
                  </a:lnTo>
                  <a:lnTo>
                    <a:pt x="597" y="104"/>
                  </a:lnTo>
                  <a:lnTo>
                    <a:pt x="599" y="100"/>
                  </a:lnTo>
                  <a:lnTo>
                    <a:pt x="600" y="96"/>
                  </a:lnTo>
                  <a:lnTo>
                    <a:pt x="600" y="93"/>
                  </a:lnTo>
                  <a:lnTo>
                    <a:pt x="597" y="89"/>
                  </a:lnTo>
                  <a:lnTo>
                    <a:pt x="589" y="84"/>
                  </a:lnTo>
                  <a:lnTo>
                    <a:pt x="582" y="81"/>
                  </a:lnTo>
                  <a:lnTo>
                    <a:pt x="577" y="79"/>
                  </a:lnTo>
                  <a:lnTo>
                    <a:pt x="574" y="77"/>
                  </a:lnTo>
                  <a:lnTo>
                    <a:pt x="569" y="77"/>
                  </a:lnTo>
                  <a:lnTo>
                    <a:pt x="566" y="81"/>
                  </a:lnTo>
                  <a:lnTo>
                    <a:pt x="561" y="84"/>
                  </a:lnTo>
                  <a:lnTo>
                    <a:pt x="558" y="87"/>
                  </a:lnTo>
                  <a:lnTo>
                    <a:pt x="553" y="88"/>
                  </a:lnTo>
                  <a:lnTo>
                    <a:pt x="548" y="87"/>
                  </a:lnTo>
                  <a:lnTo>
                    <a:pt x="544" y="89"/>
                  </a:lnTo>
                  <a:lnTo>
                    <a:pt x="543" y="92"/>
                  </a:lnTo>
                  <a:lnTo>
                    <a:pt x="537" y="96"/>
                  </a:lnTo>
                  <a:lnTo>
                    <a:pt x="533" y="98"/>
                  </a:lnTo>
                  <a:lnTo>
                    <a:pt x="530" y="100"/>
                  </a:lnTo>
                  <a:lnTo>
                    <a:pt x="527" y="104"/>
                  </a:lnTo>
                  <a:lnTo>
                    <a:pt x="525" y="103"/>
                  </a:lnTo>
                  <a:lnTo>
                    <a:pt x="522" y="101"/>
                  </a:lnTo>
                  <a:lnTo>
                    <a:pt x="517" y="101"/>
                  </a:lnTo>
                  <a:lnTo>
                    <a:pt x="513" y="105"/>
                  </a:lnTo>
                  <a:lnTo>
                    <a:pt x="509" y="107"/>
                  </a:lnTo>
                  <a:lnTo>
                    <a:pt x="501" y="107"/>
                  </a:lnTo>
                  <a:lnTo>
                    <a:pt x="496" y="106"/>
                  </a:lnTo>
                  <a:lnTo>
                    <a:pt x="493" y="105"/>
                  </a:lnTo>
                  <a:lnTo>
                    <a:pt x="484" y="109"/>
                  </a:lnTo>
                  <a:lnTo>
                    <a:pt x="484" y="114"/>
                  </a:lnTo>
                  <a:lnTo>
                    <a:pt x="482" y="119"/>
                  </a:lnTo>
                  <a:lnTo>
                    <a:pt x="478" y="123"/>
                  </a:lnTo>
                  <a:lnTo>
                    <a:pt x="474" y="122"/>
                  </a:lnTo>
                  <a:lnTo>
                    <a:pt x="471" y="120"/>
                  </a:lnTo>
                  <a:lnTo>
                    <a:pt x="469" y="115"/>
                  </a:lnTo>
                  <a:lnTo>
                    <a:pt x="466" y="113"/>
                  </a:lnTo>
                  <a:lnTo>
                    <a:pt x="456" y="111"/>
                  </a:lnTo>
                  <a:lnTo>
                    <a:pt x="452" y="109"/>
                  </a:lnTo>
                  <a:lnTo>
                    <a:pt x="448" y="107"/>
                  </a:lnTo>
                  <a:lnTo>
                    <a:pt x="447" y="105"/>
                  </a:lnTo>
                  <a:lnTo>
                    <a:pt x="447" y="103"/>
                  </a:lnTo>
                  <a:lnTo>
                    <a:pt x="445" y="100"/>
                  </a:lnTo>
                  <a:lnTo>
                    <a:pt x="441" y="98"/>
                  </a:lnTo>
                  <a:lnTo>
                    <a:pt x="439" y="97"/>
                  </a:lnTo>
                  <a:lnTo>
                    <a:pt x="436" y="95"/>
                  </a:lnTo>
                  <a:lnTo>
                    <a:pt x="432" y="93"/>
                  </a:lnTo>
                  <a:lnTo>
                    <a:pt x="429" y="95"/>
                  </a:lnTo>
                  <a:lnTo>
                    <a:pt x="426" y="97"/>
                  </a:lnTo>
                  <a:lnTo>
                    <a:pt x="424" y="96"/>
                  </a:lnTo>
                  <a:lnTo>
                    <a:pt x="424" y="91"/>
                  </a:lnTo>
                  <a:lnTo>
                    <a:pt x="424" y="89"/>
                  </a:lnTo>
                  <a:lnTo>
                    <a:pt x="420" y="83"/>
                  </a:lnTo>
                  <a:lnTo>
                    <a:pt x="420" y="80"/>
                  </a:lnTo>
                  <a:lnTo>
                    <a:pt x="416" y="77"/>
                  </a:lnTo>
                  <a:lnTo>
                    <a:pt x="410" y="76"/>
                  </a:lnTo>
                  <a:lnTo>
                    <a:pt x="408" y="79"/>
                  </a:lnTo>
                  <a:lnTo>
                    <a:pt x="405" y="81"/>
                  </a:lnTo>
                  <a:lnTo>
                    <a:pt x="402" y="82"/>
                  </a:lnTo>
                  <a:lnTo>
                    <a:pt x="399" y="80"/>
                  </a:lnTo>
                  <a:lnTo>
                    <a:pt x="397" y="77"/>
                  </a:lnTo>
                  <a:lnTo>
                    <a:pt x="391" y="75"/>
                  </a:lnTo>
                  <a:lnTo>
                    <a:pt x="388" y="73"/>
                  </a:lnTo>
                  <a:lnTo>
                    <a:pt x="384" y="71"/>
                  </a:lnTo>
                  <a:lnTo>
                    <a:pt x="381" y="69"/>
                  </a:lnTo>
                  <a:lnTo>
                    <a:pt x="377" y="68"/>
                  </a:lnTo>
                  <a:lnTo>
                    <a:pt x="373" y="67"/>
                  </a:lnTo>
                  <a:lnTo>
                    <a:pt x="368" y="66"/>
                  </a:lnTo>
                  <a:lnTo>
                    <a:pt x="366" y="64"/>
                  </a:lnTo>
                  <a:lnTo>
                    <a:pt x="362" y="63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51" y="52"/>
                  </a:lnTo>
                  <a:lnTo>
                    <a:pt x="350" y="49"/>
                  </a:lnTo>
                  <a:lnTo>
                    <a:pt x="349" y="47"/>
                  </a:lnTo>
                  <a:lnTo>
                    <a:pt x="348" y="44"/>
                  </a:lnTo>
                  <a:lnTo>
                    <a:pt x="345" y="42"/>
                  </a:lnTo>
                  <a:lnTo>
                    <a:pt x="342" y="40"/>
                  </a:lnTo>
                  <a:lnTo>
                    <a:pt x="338" y="35"/>
                  </a:lnTo>
                  <a:lnTo>
                    <a:pt x="335" y="33"/>
                  </a:lnTo>
                  <a:lnTo>
                    <a:pt x="334" y="32"/>
                  </a:lnTo>
                  <a:lnTo>
                    <a:pt x="330" y="31"/>
                  </a:lnTo>
                  <a:lnTo>
                    <a:pt x="329" y="29"/>
                  </a:lnTo>
                  <a:lnTo>
                    <a:pt x="325" y="25"/>
                  </a:lnTo>
                  <a:lnTo>
                    <a:pt x="327" y="10"/>
                  </a:lnTo>
                  <a:lnTo>
                    <a:pt x="328" y="8"/>
                  </a:lnTo>
                  <a:lnTo>
                    <a:pt x="332" y="5"/>
                  </a:lnTo>
                  <a:lnTo>
                    <a:pt x="333" y="4"/>
                  </a:lnTo>
                  <a:lnTo>
                    <a:pt x="334" y="2"/>
                  </a:lnTo>
                  <a:lnTo>
                    <a:pt x="333" y="1"/>
                  </a:lnTo>
                  <a:lnTo>
                    <a:pt x="330" y="1"/>
                  </a:lnTo>
                  <a:lnTo>
                    <a:pt x="327" y="1"/>
                  </a:lnTo>
                  <a:lnTo>
                    <a:pt x="325" y="1"/>
                  </a:lnTo>
                  <a:lnTo>
                    <a:pt x="321" y="0"/>
                  </a:lnTo>
                  <a:lnTo>
                    <a:pt x="318" y="0"/>
                  </a:lnTo>
                  <a:lnTo>
                    <a:pt x="317" y="2"/>
                  </a:lnTo>
                  <a:lnTo>
                    <a:pt x="314" y="3"/>
                  </a:lnTo>
                  <a:lnTo>
                    <a:pt x="313" y="5"/>
                  </a:lnTo>
                  <a:lnTo>
                    <a:pt x="313" y="8"/>
                  </a:lnTo>
                  <a:lnTo>
                    <a:pt x="311" y="10"/>
                  </a:lnTo>
                  <a:lnTo>
                    <a:pt x="311" y="11"/>
                  </a:lnTo>
                  <a:lnTo>
                    <a:pt x="308" y="13"/>
                  </a:lnTo>
                  <a:lnTo>
                    <a:pt x="304" y="18"/>
                  </a:lnTo>
                  <a:lnTo>
                    <a:pt x="300" y="20"/>
                  </a:lnTo>
                  <a:lnTo>
                    <a:pt x="295" y="20"/>
                  </a:lnTo>
                  <a:lnTo>
                    <a:pt x="292" y="20"/>
                  </a:lnTo>
                  <a:lnTo>
                    <a:pt x="288" y="20"/>
                  </a:lnTo>
                  <a:lnTo>
                    <a:pt x="287" y="21"/>
                  </a:lnTo>
                  <a:lnTo>
                    <a:pt x="284" y="23"/>
                  </a:lnTo>
                  <a:lnTo>
                    <a:pt x="280" y="24"/>
                  </a:lnTo>
                  <a:lnTo>
                    <a:pt x="278" y="24"/>
                  </a:lnTo>
                  <a:lnTo>
                    <a:pt x="273" y="21"/>
                  </a:lnTo>
                  <a:lnTo>
                    <a:pt x="271" y="19"/>
                  </a:lnTo>
                  <a:lnTo>
                    <a:pt x="268" y="17"/>
                  </a:lnTo>
                  <a:lnTo>
                    <a:pt x="265" y="15"/>
                  </a:lnTo>
                  <a:lnTo>
                    <a:pt x="263" y="12"/>
                  </a:lnTo>
                  <a:lnTo>
                    <a:pt x="262" y="11"/>
                  </a:lnTo>
                  <a:lnTo>
                    <a:pt x="257" y="11"/>
                  </a:lnTo>
                  <a:lnTo>
                    <a:pt x="254" y="12"/>
                  </a:lnTo>
                  <a:lnTo>
                    <a:pt x="249" y="12"/>
                  </a:lnTo>
                  <a:lnTo>
                    <a:pt x="246" y="12"/>
                  </a:lnTo>
                  <a:lnTo>
                    <a:pt x="244" y="13"/>
                  </a:lnTo>
                  <a:lnTo>
                    <a:pt x="241" y="15"/>
                  </a:lnTo>
                  <a:lnTo>
                    <a:pt x="239" y="16"/>
                  </a:lnTo>
                  <a:lnTo>
                    <a:pt x="237" y="18"/>
                  </a:lnTo>
                  <a:lnTo>
                    <a:pt x="233" y="19"/>
                  </a:lnTo>
                  <a:lnTo>
                    <a:pt x="230" y="19"/>
                  </a:lnTo>
                  <a:lnTo>
                    <a:pt x="226" y="19"/>
                  </a:lnTo>
                  <a:lnTo>
                    <a:pt x="223" y="18"/>
                  </a:lnTo>
                  <a:lnTo>
                    <a:pt x="222" y="18"/>
                  </a:lnTo>
                  <a:lnTo>
                    <a:pt x="218" y="17"/>
                  </a:lnTo>
                  <a:lnTo>
                    <a:pt x="215" y="17"/>
                  </a:lnTo>
                  <a:lnTo>
                    <a:pt x="213" y="18"/>
                  </a:lnTo>
                  <a:lnTo>
                    <a:pt x="210" y="18"/>
                  </a:lnTo>
                  <a:lnTo>
                    <a:pt x="209" y="19"/>
                  </a:lnTo>
                  <a:lnTo>
                    <a:pt x="208" y="21"/>
                  </a:lnTo>
                  <a:lnTo>
                    <a:pt x="207" y="23"/>
                  </a:lnTo>
                  <a:lnTo>
                    <a:pt x="202" y="27"/>
                  </a:lnTo>
                  <a:lnTo>
                    <a:pt x="200" y="27"/>
                  </a:lnTo>
                  <a:lnTo>
                    <a:pt x="198" y="28"/>
                  </a:lnTo>
                  <a:lnTo>
                    <a:pt x="196" y="31"/>
                  </a:lnTo>
                  <a:lnTo>
                    <a:pt x="191" y="32"/>
                  </a:lnTo>
                  <a:lnTo>
                    <a:pt x="189" y="33"/>
                  </a:lnTo>
                  <a:lnTo>
                    <a:pt x="188" y="35"/>
                  </a:lnTo>
                  <a:lnTo>
                    <a:pt x="185" y="36"/>
                  </a:lnTo>
                  <a:lnTo>
                    <a:pt x="184" y="37"/>
                  </a:lnTo>
                  <a:lnTo>
                    <a:pt x="183" y="40"/>
                  </a:lnTo>
                  <a:lnTo>
                    <a:pt x="182" y="42"/>
                  </a:lnTo>
                  <a:lnTo>
                    <a:pt x="180" y="47"/>
                  </a:lnTo>
                  <a:lnTo>
                    <a:pt x="181" y="49"/>
                  </a:lnTo>
                  <a:lnTo>
                    <a:pt x="181" y="51"/>
                  </a:lnTo>
                  <a:lnTo>
                    <a:pt x="180" y="53"/>
                  </a:lnTo>
                  <a:lnTo>
                    <a:pt x="178" y="56"/>
                  </a:lnTo>
                  <a:lnTo>
                    <a:pt x="176" y="57"/>
                  </a:lnTo>
                  <a:lnTo>
                    <a:pt x="174" y="58"/>
                  </a:lnTo>
                  <a:lnTo>
                    <a:pt x="170" y="59"/>
                  </a:lnTo>
                  <a:lnTo>
                    <a:pt x="167" y="60"/>
                  </a:lnTo>
                  <a:lnTo>
                    <a:pt x="166" y="61"/>
                  </a:lnTo>
                  <a:lnTo>
                    <a:pt x="162" y="63"/>
                  </a:lnTo>
                  <a:lnTo>
                    <a:pt x="159" y="63"/>
                  </a:lnTo>
                  <a:lnTo>
                    <a:pt x="157" y="61"/>
                  </a:lnTo>
                  <a:lnTo>
                    <a:pt x="154" y="61"/>
                  </a:lnTo>
                  <a:lnTo>
                    <a:pt x="153" y="61"/>
                  </a:lnTo>
                  <a:lnTo>
                    <a:pt x="152" y="64"/>
                  </a:lnTo>
                  <a:lnTo>
                    <a:pt x="148" y="64"/>
                  </a:lnTo>
                  <a:lnTo>
                    <a:pt x="144" y="65"/>
                  </a:lnTo>
                  <a:lnTo>
                    <a:pt x="143" y="65"/>
                  </a:lnTo>
                  <a:lnTo>
                    <a:pt x="137" y="68"/>
                  </a:lnTo>
                  <a:lnTo>
                    <a:pt x="134" y="71"/>
                  </a:lnTo>
                  <a:lnTo>
                    <a:pt x="133" y="73"/>
                  </a:lnTo>
                  <a:lnTo>
                    <a:pt x="132" y="74"/>
                  </a:lnTo>
                  <a:lnTo>
                    <a:pt x="127" y="81"/>
                  </a:lnTo>
                  <a:lnTo>
                    <a:pt x="117" y="91"/>
                  </a:lnTo>
                  <a:lnTo>
                    <a:pt x="110" y="97"/>
                  </a:lnTo>
                  <a:lnTo>
                    <a:pt x="103" y="101"/>
                  </a:lnTo>
                  <a:lnTo>
                    <a:pt x="101" y="101"/>
                  </a:lnTo>
                  <a:lnTo>
                    <a:pt x="97" y="103"/>
                  </a:lnTo>
                  <a:lnTo>
                    <a:pt x="94" y="104"/>
                  </a:lnTo>
                  <a:lnTo>
                    <a:pt x="93" y="105"/>
                  </a:lnTo>
                  <a:lnTo>
                    <a:pt x="90" y="106"/>
                  </a:lnTo>
                  <a:lnTo>
                    <a:pt x="87" y="106"/>
                  </a:lnTo>
                  <a:lnTo>
                    <a:pt x="85" y="105"/>
                  </a:lnTo>
                  <a:lnTo>
                    <a:pt x="84" y="104"/>
                  </a:lnTo>
                  <a:lnTo>
                    <a:pt x="81" y="101"/>
                  </a:lnTo>
                  <a:lnTo>
                    <a:pt x="77" y="98"/>
                  </a:lnTo>
                  <a:lnTo>
                    <a:pt x="71" y="95"/>
                  </a:lnTo>
                  <a:lnTo>
                    <a:pt x="66" y="95"/>
                  </a:lnTo>
                  <a:lnTo>
                    <a:pt x="63" y="95"/>
                  </a:lnTo>
                  <a:lnTo>
                    <a:pt x="61" y="95"/>
                  </a:lnTo>
                  <a:lnTo>
                    <a:pt x="54" y="96"/>
                  </a:lnTo>
                  <a:lnTo>
                    <a:pt x="50" y="98"/>
                  </a:lnTo>
                  <a:lnTo>
                    <a:pt x="50" y="100"/>
                  </a:lnTo>
                  <a:lnTo>
                    <a:pt x="48" y="105"/>
                  </a:lnTo>
                  <a:lnTo>
                    <a:pt x="48" y="108"/>
                  </a:lnTo>
                  <a:lnTo>
                    <a:pt x="55" y="116"/>
                  </a:lnTo>
                  <a:lnTo>
                    <a:pt x="60" y="119"/>
                  </a:lnTo>
                  <a:lnTo>
                    <a:pt x="65" y="124"/>
                  </a:lnTo>
                  <a:lnTo>
                    <a:pt x="69" y="128"/>
                  </a:lnTo>
                  <a:lnTo>
                    <a:pt x="72" y="131"/>
                  </a:lnTo>
                  <a:lnTo>
                    <a:pt x="74" y="133"/>
                  </a:lnTo>
                  <a:lnTo>
                    <a:pt x="76" y="138"/>
                  </a:lnTo>
                  <a:lnTo>
                    <a:pt x="76" y="143"/>
                  </a:lnTo>
                  <a:lnTo>
                    <a:pt x="77" y="146"/>
                  </a:lnTo>
                  <a:lnTo>
                    <a:pt x="73" y="152"/>
                  </a:lnTo>
                  <a:lnTo>
                    <a:pt x="71" y="156"/>
                  </a:lnTo>
                  <a:lnTo>
                    <a:pt x="70" y="162"/>
                  </a:lnTo>
                  <a:lnTo>
                    <a:pt x="70" y="167"/>
                  </a:lnTo>
                  <a:lnTo>
                    <a:pt x="71" y="169"/>
                  </a:lnTo>
                  <a:lnTo>
                    <a:pt x="73" y="171"/>
                  </a:lnTo>
                  <a:lnTo>
                    <a:pt x="76" y="172"/>
                  </a:lnTo>
                  <a:lnTo>
                    <a:pt x="78" y="175"/>
                  </a:lnTo>
                  <a:lnTo>
                    <a:pt x="78" y="178"/>
                  </a:lnTo>
                  <a:lnTo>
                    <a:pt x="79" y="181"/>
                  </a:lnTo>
                  <a:lnTo>
                    <a:pt x="79" y="185"/>
                  </a:lnTo>
                  <a:lnTo>
                    <a:pt x="76" y="186"/>
                  </a:lnTo>
                  <a:lnTo>
                    <a:pt x="73" y="187"/>
                  </a:lnTo>
                  <a:lnTo>
                    <a:pt x="71" y="186"/>
                  </a:lnTo>
                  <a:lnTo>
                    <a:pt x="68" y="185"/>
                  </a:lnTo>
                  <a:lnTo>
                    <a:pt x="64" y="185"/>
                  </a:lnTo>
                  <a:lnTo>
                    <a:pt x="61" y="186"/>
                  </a:lnTo>
                  <a:lnTo>
                    <a:pt x="60" y="192"/>
                  </a:lnTo>
                  <a:lnTo>
                    <a:pt x="55" y="197"/>
                  </a:lnTo>
                  <a:lnTo>
                    <a:pt x="48" y="204"/>
                  </a:lnTo>
                  <a:lnTo>
                    <a:pt x="62" y="212"/>
                  </a:lnTo>
                  <a:lnTo>
                    <a:pt x="68" y="218"/>
                  </a:lnTo>
                  <a:lnTo>
                    <a:pt x="72" y="224"/>
                  </a:lnTo>
                  <a:lnTo>
                    <a:pt x="76" y="228"/>
                  </a:lnTo>
                  <a:lnTo>
                    <a:pt x="78" y="233"/>
                  </a:lnTo>
                  <a:lnTo>
                    <a:pt x="78" y="236"/>
                  </a:lnTo>
                  <a:lnTo>
                    <a:pt x="77" y="241"/>
                  </a:lnTo>
                  <a:lnTo>
                    <a:pt x="74" y="241"/>
                  </a:lnTo>
                  <a:lnTo>
                    <a:pt x="69" y="241"/>
                  </a:lnTo>
                  <a:lnTo>
                    <a:pt x="65" y="242"/>
                  </a:lnTo>
                  <a:lnTo>
                    <a:pt x="61" y="242"/>
                  </a:lnTo>
                  <a:lnTo>
                    <a:pt x="57" y="247"/>
                  </a:lnTo>
                  <a:lnTo>
                    <a:pt x="57" y="255"/>
                  </a:lnTo>
                  <a:lnTo>
                    <a:pt x="56" y="257"/>
                  </a:lnTo>
                  <a:lnTo>
                    <a:pt x="53" y="259"/>
                  </a:lnTo>
                  <a:lnTo>
                    <a:pt x="49" y="259"/>
                  </a:lnTo>
                  <a:lnTo>
                    <a:pt x="47" y="261"/>
                  </a:lnTo>
                  <a:lnTo>
                    <a:pt x="44" y="265"/>
                  </a:lnTo>
                  <a:lnTo>
                    <a:pt x="41" y="267"/>
                  </a:lnTo>
                  <a:lnTo>
                    <a:pt x="38" y="271"/>
                  </a:lnTo>
                  <a:lnTo>
                    <a:pt x="36" y="280"/>
                  </a:lnTo>
                  <a:lnTo>
                    <a:pt x="28" y="285"/>
                  </a:lnTo>
                  <a:lnTo>
                    <a:pt x="23" y="290"/>
                  </a:lnTo>
                  <a:lnTo>
                    <a:pt x="18" y="292"/>
                  </a:lnTo>
                  <a:lnTo>
                    <a:pt x="14" y="295"/>
                  </a:lnTo>
                  <a:lnTo>
                    <a:pt x="9" y="297"/>
                  </a:lnTo>
                  <a:lnTo>
                    <a:pt x="7" y="299"/>
                  </a:lnTo>
                  <a:lnTo>
                    <a:pt x="4" y="303"/>
                  </a:lnTo>
                  <a:lnTo>
                    <a:pt x="0" y="314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24" name="UK"/>
            <p:cNvSpPr>
              <a:spLocks/>
            </p:cNvSpPr>
            <p:nvPr/>
          </p:nvSpPr>
          <p:spPr bwMode="auto">
            <a:xfrm>
              <a:off x="6369686" y="2524822"/>
              <a:ext cx="381765" cy="292538"/>
            </a:xfrm>
            <a:custGeom>
              <a:avLst/>
              <a:gdLst>
                <a:gd name="T0" fmla="*/ 728 w 952"/>
                <a:gd name="T1" fmla="*/ 644 h 757"/>
                <a:gd name="T2" fmla="*/ 734 w 952"/>
                <a:gd name="T3" fmla="*/ 563 h 757"/>
                <a:gd name="T4" fmla="*/ 765 w 952"/>
                <a:gd name="T5" fmla="*/ 484 h 757"/>
                <a:gd name="T6" fmla="*/ 866 w 952"/>
                <a:gd name="T7" fmla="*/ 411 h 757"/>
                <a:gd name="T8" fmla="*/ 951 w 952"/>
                <a:gd name="T9" fmla="*/ 359 h 757"/>
                <a:gd name="T10" fmla="*/ 855 w 952"/>
                <a:gd name="T11" fmla="*/ 292 h 757"/>
                <a:gd name="T12" fmla="*/ 774 w 952"/>
                <a:gd name="T13" fmla="*/ 264 h 757"/>
                <a:gd name="T14" fmla="*/ 729 w 952"/>
                <a:gd name="T15" fmla="*/ 196 h 757"/>
                <a:gd name="T16" fmla="*/ 655 w 952"/>
                <a:gd name="T17" fmla="*/ 162 h 757"/>
                <a:gd name="T18" fmla="*/ 559 w 952"/>
                <a:gd name="T19" fmla="*/ 139 h 757"/>
                <a:gd name="T20" fmla="*/ 477 w 952"/>
                <a:gd name="T21" fmla="*/ 92 h 757"/>
                <a:gd name="T22" fmla="*/ 438 w 952"/>
                <a:gd name="T23" fmla="*/ 21 h 757"/>
                <a:gd name="T24" fmla="*/ 372 w 952"/>
                <a:gd name="T25" fmla="*/ 35 h 757"/>
                <a:gd name="T26" fmla="*/ 364 w 952"/>
                <a:gd name="T27" fmla="*/ 101 h 757"/>
                <a:gd name="T28" fmla="*/ 271 w 952"/>
                <a:gd name="T29" fmla="*/ 68 h 757"/>
                <a:gd name="T30" fmla="*/ 192 w 952"/>
                <a:gd name="T31" fmla="*/ 55 h 757"/>
                <a:gd name="T32" fmla="*/ 85 w 952"/>
                <a:gd name="T33" fmla="*/ 82 h 757"/>
                <a:gd name="T34" fmla="*/ 49 w 952"/>
                <a:gd name="T35" fmla="*/ 134 h 757"/>
                <a:gd name="T36" fmla="*/ 34 w 952"/>
                <a:gd name="T37" fmla="*/ 181 h 757"/>
                <a:gd name="T38" fmla="*/ 61 w 952"/>
                <a:gd name="T39" fmla="*/ 253 h 757"/>
                <a:gd name="T40" fmla="*/ 14 w 952"/>
                <a:gd name="T41" fmla="*/ 291 h 757"/>
                <a:gd name="T42" fmla="*/ 37 w 952"/>
                <a:gd name="T43" fmla="*/ 309 h 757"/>
                <a:gd name="T44" fmla="*/ 61 w 952"/>
                <a:gd name="T45" fmla="*/ 322 h 757"/>
                <a:gd name="T46" fmla="*/ 90 w 952"/>
                <a:gd name="T47" fmla="*/ 331 h 757"/>
                <a:gd name="T48" fmla="*/ 88 w 952"/>
                <a:gd name="T49" fmla="*/ 349 h 757"/>
                <a:gd name="T50" fmla="*/ 60 w 952"/>
                <a:gd name="T51" fmla="*/ 380 h 757"/>
                <a:gd name="T52" fmla="*/ 41 w 952"/>
                <a:gd name="T53" fmla="*/ 407 h 757"/>
                <a:gd name="T54" fmla="*/ 44 w 952"/>
                <a:gd name="T55" fmla="*/ 444 h 757"/>
                <a:gd name="T56" fmla="*/ 54 w 952"/>
                <a:gd name="T57" fmla="*/ 483 h 757"/>
                <a:gd name="T58" fmla="*/ 84 w 952"/>
                <a:gd name="T59" fmla="*/ 488 h 757"/>
                <a:gd name="T60" fmla="*/ 113 w 952"/>
                <a:gd name="T61" fmla="*/ 474 h 757"/>
                <a:gd name="T62" fmla="*/ 118 w 952"/>
                <a:gd name="T63" fmla="*/ 500 h 757"/>
                <a:gd name="T64" fmla="*/ 130 w 952"/>
                <a:gd name="T65" fmla="*/ 514 h 757"/>
                <a:gd name="T66" fmla="*/ 158 w 952"/>
                <a:gd name="T67" fmla="*/ 498 h 757"/>
                <a:gd name="T68" fmla="*/ 182 w 952"/>
                <a:gd name="T69" fmla="*/ 477 h 757"/>
                <a:gd name="T70" fmla="*/ 223 w 952"/>
                <a:gd name="T71" fmla="*/ 467 h 757"/>
                <a:gd name="T72" fmla="*/ 261 w 952"/>
                <a:gd name="T73" fmla="*/ 500 h 757"/>
                <a:gd name="T74" fmla="*/ 321 w 952"/>
                <a:gd name="T75" fmla="*/ 540 h 757"/>
                <a:gd name="T76" fmla="*/ 367 w 952"/>
                <a:gd name="T77" fmla="*/ 556 h 757"/>
                <a:gd name="T78" fmla="*/ 349 w 952"/>
                <a:gd name="T79" fmla="*/ 581 h 757"/>
                <a:gd name="T80" fmla="*/ 334 w 952"/>
                <a:gd name="T81" fmla="*/ 595 h 757"/>
                <a:gd name="T82" fmla="*/ 316 w 952"/>
                <a:gd name="T83" fmla="*/ 592 h 757"/>
                <a:gd name="T84" fmla="*/ 333 w 952"/>
                <a:gd name="T85" fmla="*/ 612 h 757"/>
                <a:gd name="T86" fmla="*/ 354 w 952"/>
                <a:gd name="T87" fmla="*/ 619 h 757"/>
                <a:gd name="T88" fmla="*/ 368 w 952"/>
                <a:gd name="T89" fmla="*/ 645 h 757"/>
                <a:gd name="T90" fmla="*/ 394 w 952"/>
                <a:gd name="T91" fmla="*/ 644 h 757"/>
                <a:gd name="T92" fmla="*/ 424 w 952"/>
                <a:gd name="T93" fmla="*/ 644 h 757"/>
                <a:gd name="T94" fmla="*/ 439 w 952"/>
                <a:gd name="T95" fmla="*/ 667 h 757"/>
                <a:gd name="T96" fmla="*/ 478 w 952"/>
                <a:gd name="T97" fmla="*/ 690 h 757"/>
                <a:gd name="T98" fmla="*/ 505 w 952"/>
                <a:gd name="T99" fmla="*/ 700 h 757"/>
                <a:gd name="T100" fmla="*/ 520 w 952"/>
                <a:gd name="T101" fmla="*/ 715 h 757"/>
                <a:gd name="T102" fmla="*/ 545 w 952"/>
                <a:gd name="T103" fmla="*/ 712 h 757"/>
                <a:gd name="T104" fmla="*/ 573 w 952"/>
                <a:gd name="T105" fmla="*/ 717 h 757"/>
                <a:gd name="T106" fmla="*/ 591 w 952"/>
                <a:gd name="T107" fmla="*/ 715 h 757"/>
                <a:gd name="T108" fmla="*/ 604 w 952"/>
                <a:gd name="T109" fmla="*/ 714 h 757"/>
                <a:gd name="T110" fmla="*/ 617 w 952"/>
                <a:gd name="T111" fmla="*/ 725 h 757"/>
                <a:gd name="T112" fmla="*/ 629 w 952"/>
                <a:gd name="T113" fmla="*/ 726 h 757"/>
                <a:gd name="T114" fmla="*/ 630 w 952"/>
                <a:gd name="T115" fmla="*/ 736 h 757"/>
                <a:gd name="T116" fmla="*/ 646 w 952"/>
                <a:gd name="T117" fmla="*/ 742 h 757"/>
                <a:gd name="T118" fmla="*/ 664 w 952"/>
                <a:gd name="T119" fmla="*/ 754 h 757"/>
                <a:gd name="T120" fmla="*/ 680 w 952"/>
                <a:gd name="T121" fmla="*/ 727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2" h="757">
                  <a:moveTo>
                    <a:pt x="678" y="725"/>
                  </a:moveTo>
                  <a:lnTo>
                    <a:pt x="678" y="720"/>
                  </a:lnTo>
                  <a:lnTo>
                    <a:pt x="678" y="715"/>
                  </a:lnTo>
                  <a:lnTo>
                    <a:pt x="679" y="709"/>
                  </a:lnTo>
                  <a:lnTo>
                    <a:pt x="680" y="704"/>
                  </a:lnTo>
                  <a:lnTo>
                    <a:pt x="682" y="700"/>
                  </a:lnTo>
                  <a:lnTo>
                    <a:pt x="685" y="696"/>
                  </a:lnTo>
                  <a:lnTo>
                    <a:pt x="688" y="693"/>
                  </a:lnTo>
                  <a:lnTo>
                    <a:pt x="692" y="690"/>
                  </a:lnTo>
                  <a:lnTo>
                    <a:pt x="695" y="686"/>
                  </a:lnTo>
                  <a:lnTo>
                    <a:pt x="701" y="678"/>
                  </a:lnTo>
                  <a:lnTo>
                    <a:pt x="708" y="663"/>
                  </a:lnTo>
                  <a:lnTo>
                    <a:pt x="712" y="658"/>
                  </a:lnTo>
                  <a:lnTo>
                    <a:pt x="717" y="656"/>
                  </a:lnTo>
                  <a:lnTo>
                    <a:pt x="722" y="656"/>
                  </a:lnTo>
                  <a:lnTo>
                    <a:pt x="725" y="658"/>
                  </a:lnTo>
                  <a:lnTo>
                    <a:pt x="727" y="656"/>
                  </a:lnTo>
                  <a:lnTo>
                    <a:pt x="728" y="651"/>
                  </a:lnTo>
                  <a:lnTo>
                    <a:pt x="728" y="644"/>
                  </a:lnTo>
                  <a:lnTo>
                    <a:pt x="727" y="640"/>
                  </a:lnTo>
                  <a:lnTo>
                    <a:pt x="728" y="637"/>
                  </a:lnTo>
                  <a:lnTo>
                    <a:pt x="730" y="636"/>
                  </a:lnTo>
                  <a:lnTo>
                    <a:pt x="734" y="638"/>
                  </a:lnTo>
                  <a:lnTo>
                    <a:pt x="738" y="638"/>
                  </a:lnTo>
                  <a:lnTo>
                    <a:pt x="742" y="636"/>
                  </a:lnTo>
                  <a:lnTo>
                    <a:pt x="744" y="629"/>
                  </a:lnTo>
                  <a:lnTo>
                    <a:pt x="745" y="624"/>
                  </a:lnTo>
                  <a:lnTo>
                    <a:pt x="749" y="618"/>
                  </a:lnTo>
                  <a:lnTo>
                    <a:pt x="750" y="612"/>
                  </a:lnTo>
                  <a:lnTo>
                    <a:pt x="750" y="606"/>
                  </a:lnTo>
                  <a:lnTo>
                    <a:pt x="749" y="604"/>
                  </a:lnTo>
                  <a:lnTo>
                    <a:pt x="740" y="590"/>
                  </a:lnTo>
                  <a:lnTo>
                    <a:pt x="734" y="582"/>
                  </a:lnTo>
                  <a:lnTo>
                    <a:pt x="730" y="578"/>
                  </a:lnTo>
                  <a:lnTo>
                    <a:pt x="729" y="572"/>
                  </a:lnTo>
                  <a:lnTo>
                    <a:pt x="729" y="568"/>
                  </a:lnTo>
                  <a:lnTo>
                    <a:pt x="732" y="565"/>
                  </a:lnTo>
                  <a:lnTo>
                    <a:pt x="734" y="563"/>
                  </a:lnTo>
                  <a:lnTo>
                    <a:pt x="738" y="562"/>
                  </a:lnTo>
                  <a:lnTo>
                    <a:pt x="744" y="558"/>
                  </a:lnTo>
                  <a:lnTo>
                    <a:pt x="750" y="556"/>
                  </a:lnTo>
                  <a:lnTo>
                    <a:pt x="754" y="554"/>
                  </a:lnTo>
                  <a:lnTo>
                    <a:pt x="757" y="550"/>
                  </a:lnTo>
                  <a:lnTo>
                    <a:pt x="757" y="543"/>
                  </a:lnTo>
                  <a:lnTo>
                    <a:pt x="758" y="539"/>
                  </a:lnTo>
                  <a:lnTo>
                    <a:pt x="761" y="535"/>
                  </a:lnTo>
                  <a:lnTo>
                    <a:pt x="766" y="534"/>
                  </a:lnTo>
                  <a:lnTo>
                    <a:pt x="773" y="532"/>
                  </a:lnTo>
                  <a:lnTo>
                    <a:pt x="776" y="526"/>
                  </a:lnTo>
                  <a:lnTo>
                    <a:pt x="776" y="520"/>
                  </a:lnTo>
                  <a:lnTo>
                    <a:pt x="774" y="516"/>
                  </a:lnTo>
                  <a:lnTo>
                    <a:pt x="773" y="514"/>
                  </a:lnTo>
                  <a:lnTo>
                    <a:pt x="770" y="508"/>
                  </a:lnTo>
                  <a:lnTo>
                    <a:pt x="766" y="501"/>
                  </a:lnTo>
                  <a:lnTo>
                    <a:pt x="764" y="495"/>
                  </a:lnTo>
                  <a:lnTo>
                    <a:pt x="764" y="488"/>
                  </a:lnTo>
                  <a:lnTo>
                    <a:pt x="765" y="484"/>
                  </a:lnTo>
                  <a:lnTo>
                    <a:pt x="767" y="479"/>
                  </a:lnTo>
                  <a:lnTo>
                    <a:pt x="770" y="477"/>
                  </a:lnTo>
                  <a:lnTo>
                    <a:pt x="775" y="476"/>
                  </a:lnTo>
                  <a:lnTo>
                    <a:pt x="781" y="475"/>
                  </a:lnTo>
                  <a:lnTo>
                    <a:pt x="791" y="472"/>
                  </a:lnTo>
                  <a:lnTo>
                    <a:pt x="796" y="464"/>
                  </a:lnTo>
                  <a:lnTo>
                    <a:pt x="800" y="460"/>
                  </a:lnTo>
                  <a:lnTo>
                    <a:pt x="805" y="453"/>
                  </a:lnTo>
                  <a:lnTo>
                    <a:pt x="809" y="447"/>
                  </a:lnTo>
                  <a:lnTo>
                    <a:pt x="814" y="440"/>
                  </a:lnTo>
                  <a:lnTo>
                    <a:pt x="817" y="434"/>
                  </a:lnTo>
                  <a:lnTo>
                    <a:pt x="820" y="431"/>
                  </a:lnTo>
                  <a:lnTo>
                    <a:pt x="825" y="427"/>
                  </a:lnTo>
                  <a:lnTo>
                    <a:pt x="830" y="424"/>
                  </a:lnTo>
                  <a:lnTo>
                    <a:pt x="836" y="423"/>
                  </a:lnTo>
                  <a:lnTo>
                    <a:pt x="841" y="422"/>
                  </a:lnTo>
                  <a:lnTo>
                    <a:pt x="853" y="420"/>
                  </a:lnTo>
                  <a:lnTo>
                    <a:pt x="861" y="415"/>
                  </a:lnTo>
                  <a:lnTo>
                    <a:pt x="866" y="411"/>
                  </a:lnTo>
                  <a:lnTo>
                    <a:pt x="871" y="405"/>
                  </a:lnTo>
                  <a:lnTo>
                    <a:pt x="876" y="398"/>
                  </a:lnTo>
                  <a:lnTo>
                    <a:pt x="878" y="397"/>
                  </a:lnTo>
                  <a:lnTo>
                    <a:pt x="882" y="395"/>
                  </a:lnTo>
                  <a:lnTo>
                    <a:pt x="888" y="391"/>
                  </a:lnTo>
                  <a:lnTo>
                    <a:pt x="896" y="382"/>
                  </a:lnTo>
                  <a:lnTo>
                    <a:pt x="902" y="374"/>
                  </a:lnTo>
                  <a:lnTo>
                    <a:pt x="902" y="367"/>
                  </a:lnTo>
                  <a:lnTo>
                    <a:pt x="902" y="362"/>
                  </a:lnTo>
                  <a:lnTo>
                    <a:pt x="903" y="359"/>
                  </a:lnTo>
                  <a:lnTo>
                    <a:pt x="905" y="358"/>
                  </a:lnTo>
                  <a:lnTo>
                    <a:pt x="919" y="360"/>
                  </a:lnTo>
                  <a:lnTo>
                    <a:pt x="927" y="362"/>
                  </a:lnTo>
                  <a:lnTo>
                    <a:pt x="933" y="362"/>
                  </a:lnTo>
                  <a:lnTo>
                    <a:pt x="936" y="360"/>
                  </a:lnTo>
                  <a:lnTo>
                    <a:pt x="943" y="360"/>
                  </a:lnTo>
                  <a:lnTo>
                    <a:pt x="948" y="360"/>
                  </a:lnTo>
                  <a:lnTo>
                    <a:pt x="950" y="360"/>
                  </a:lnTo>
                  <a:lnTo>
                    <a:pt x="951" y="359"/>
                  </a:lnTo>
                  <a:lnTo>
                    <a:pt x="952" y="357"/>
                  </a:lnTo>
                  <a:lnTo>
                    <a:pt x="950" y="352"/>
                  </a:lnTo>
                  <a:lnTo>
                    <a:pt x="946" y="346"/>
                  </a:lnTo>
                  <a:lnTo>
                    <a:pt x="945" y="341"/>
                  </a:lnTo>
                  <a:lnTo>
                    <a:pt x="943" y="338"/>
                  </a:lnTo>
                  <a:lnTo>
                    <a:pt x="940" y="335"/>
                  </a:lnTo>
                  <a:lnTo>
                    <a:pt x="937" y="334"/>
                  </a:lnTo>
                  <a:lnTo>
                    <a:pt x="929" y="333"/>
                  </a:lnTo>
                  <a:lnTo>
                    <a:pt x="924" y="333"/>
                  </a:lnTo>
                  <a:lnTo>
                    <a:pt x="913" y="331"/>
                  </a:lnTo>
                  <a:lnTo>
                    <a:pt x="906" y="328"/>
                  </a:lnTo>
                  <a:lnTo>
                    <a:pt x="900" y="327"/>
                  </a:lnTo>
                  <a:lnTo>
                    <a:pt x="892" y="320"/>
                  </a:lnTo>
                  <a:lnTo>
                    <a:pt x="886" y="315"/>
                  </a:lnTo>
                  <a:lnTo>
                    <a:pt x="878" y="306"/>
                  </a:lnTo>
                  <a:lnTo>
                    <a:pt x="871" y="299"/>
                  </a:lnTo>
                  <a:lnTo>
                    <a:pt x="864" y="294"/>
                  </a:lnTo>
                  <a:lnTo>
                    <a:pt x="861" y="293"/>
                  </a:lnTo>
                  <a:lnTo>
                    <a:pt x="855" y="292"/>
                  </a:lnTo>
                  <a:lnTo>
                    <a:pt x="853" y="288"/>
                  </a:lnTo>
                  <a:lnTo>
                    <a:pt x="845" y="287"/>
                  </a:lnTo>
                  <a:lnTo>
                    <a:pt x="839" y="284"/>
                  </a:lnTo>
                  <a:lnTo>
                    <a:pt x="833" y="283"/>
                  </a:lnTo>
                  <a:lnTo>
                    <a:pt x="830" y="279"/>
                  </a:lnTo>
                  <a:lnTo>
                    <a:pt x="830" y="275"/>
                  </a:lnTo>
                  <a:lnTo>
                    <a:pt x="826" y="272"/>
                  </a:lnTo>
                  <a:lnTo>
                    <a:pt x="820" y="272"/>
                  </a:lnTo>
                  <a:lnTo>
                    <a:pt x="816" y="275"/>
                  </a:lnTo>
                  <a:lnTo>
                    <a:pt x="812" y="278"/>
                  </a:lnTo>
                  <a:lnTo>
                    <a:pt x="808" y="280"/>
                  </a:lnTo>
                  <a:lnTo>
                    <a:pt x="807" y="280"/>
                  </a:lnTo>
                  <a:lnTo>
                    <a:pt x="804" y="279"/>
                  </a:lnTo>
                  <a:lnTo>
                    <a:pt x="800" y="277"/>
                  </a:lnTo>
                  <a:lnTo>
                    <a:pt x="796" y="274"/>
                  </a:lnTo>
                  <a:lnTo>
                    <a:pt x="791" y="270"/>
                  </a:lnTo>
                  <a:lnTo>
                    <a:pt x="784" y="268"/>
                  </a:lnTo>
                  <a:lnTo>
                    <a:pt x="781" y="266"/>
                  </a:lnTo>
                  <a:lnTo>
                    <a:pt x="774" y="264"/>
                  </a:lnTo>
                  <a:lnTo>
                    <a:pt x="769" y="264"/>
                  </a:lnTo>
                  <a:lnTo>
                    <a:pt x="762" y="262"/>
                  </a:lnTo>
                  <a:lnTo>
                    <a:pt x="757" y="259"/>
                  </a:lnTo>
                  <a:lnTo>
                    <a:pt x="752" y="254"/>
                  </a:lnTo>
                  <a:lnTo>
                    <a:pt x="748" y="253"/>
                  </a:lnTo>
                  <a:lnTo>
                    <a:pt x="743" y="251"/>
                  </a:lnTo>
                  <a:lnTo>
                    <a:pt x="738" y="250"/>
                  </a:lnTo>
                  <a:lnTo>
                    <a:pt x="733" y="250"/>
                  </a:lnTo>
                  <a:lnTo>
                    <a:pt x="729" y="248"/>
                  </a:lnTo>
                  <a:lnTo>
                    <a:pt x="726" y="245"/>
                  </a:lnTo>
                  <a:lnTo>
                    <a:pt x="724" y="243"/>
                  </a:lnTo>
                  <a:lnTo>
                    <a:pt x="721" y="236"/>
                  </a:lnTo>
                  <a:lnTo>
                    <a:pt x="721" y="228"/>
                  </a:lnTo>
                  <a:lnTo>
                    <a:pt x="722" y="219"/>
                  </a:lnTo>
                  <a:lnTo>
                    <a:pt x="724" y="213"/>
                  </a:lnTo>
                  <a:lnTo>
                    <a:pt x="728" y="206"/>
                  </a:lnTo>
                  <a:lnTo>
                    <a:pt x="730" y="200"/>
                  </a:lnTo>
                  <a:lnTo>
                    <a:pt x="730" y="198"/>
                  </a:lnTo>
                  <a:lnTo>
                    <a:pt x="729" y="196"/>
                  </a:lnTo>
                  <a:lnTo>
                    <a:pt x="727" y="196"/>
                  </a:lnTo>
                  <a:lnTo>
                    <a:pt x="724" y="196"/>
                  </a:lnTo>
                  <a:lnTo>
                    <a:pt x="719" y="196"/>
                  </a:lnTo>
                  <a:lnTo>
                    <a:pt x="717" y="196"/>
                  </a:lnTo>
                  <a:lnTo>
                    <a:pt x="712" y="194"/>
                  </a:lnTo>
                  <a:lnTo>
                    <a:pt x="711" y="190"/>
                  </a:lnTo>
                  <a:lnTo>
                    <a:pt x="711" y="189"/>
                  </a:lnTo>
                  <a:lnTo>
                    <a:pt x="711" y="186"/>
                  </a:lnTo>
                  <a:lnTo>
                    <a:pt x="709" y="184"/>
                  </a:lnTo>
                  <a:lnTo>
                    <a:pt x="705" y="184"/>
                  </a:lnTo>
                  <a:lnTo>
                    <a:pt x="702" y="186"/>
                  </a:lnTo>
                  <a:lnTo>
                    <a:pt x="700" y="188"/>
                  </a:lnTo>
                  <a:lnTo>
                    <a:pt x="693" y="188"/>
                  </a:lnTo>
                  <a:lnTo>
                    <a:pt x="689" y="187"/>
                  </a:lnTo>
                  <a:lnTo>
                    <a:pt x="685" y="183"/>
                  </a:lnTo>
                  <a:lnTo>
                    <a:pt x="681" y="180"/>
                  </a:lnTo>
                  <a:lnTo>
                    <a:pt x="674" y="176"/>
                  </a:lnTo>
                  <a:lnTo>
                    <a:pt x="664" y="170"/>
                  </a:lnTo>
                  <a:lnTo>
                    <a:pt x="655" y="162"/>
                  </a:lnTo>
                  <a:lnTo>
                    <a:pt x="650" y="160"/>
                  </a:lnTo>
                  <a:lnTo>
                    <a:pt x="647" y="159"/>
                  </a:lnTo>
                  <a:lnTo>
                    <a:pt x="642" y="158"/>
                  </a:lnTo>
                  <a:lnTo>
                    <a:pt x="636" y="155"/>
                  </a:lnTo>
                  <a:lnTo>
                    <a:pt x="631" y="150"/>
                  </a:lnTo>
                  <a:lnTo>
                    <a:pt x="625" y="139"/>
                  </a:lnTo>
                  <a:lnTo>
                    <a:pt x="622" y="136"/>
                  </a:lnTo>
                  <a:lnTo>
                    <a:pt x="618" y="134"/>
                  </a:lnTo>
                  <a:lnTo>
                    <a:pt x="614" y="133"/>
                  </a:lnTo>
                  <a:lnTo>
                    <a:pt x="608" y="133"/>
                  </a:lnTo>
                  <a:lnTo>
                    <a:pt x="602" y="133"/>
                  </a:lnTo>
                  <a:lnTo>
                    <a:pt x="596" y="134"/>
                  </a:lnTo>
                  <a:lnTo>
                    <a:pt x="590" y="133"/>
                  </a:lnTo>
                  <a:lnTo>
                    <a:pt x="585" y="132"/>
                  </a:lnTo>
                  <a:lnTo>
                    <a:pt x="578" y="133"/>
                  </a:lnTo>
                  <a:lnTo>
                    <a:pt x="573" y="134"/>
                  </a:lnTo>
                  <a:lnTo>
                    <a:pt x="566" y="134"/>
                  </a:lnTo>
                  <a:lnTo>
                    <a:pt x="562" y="136"/>
                  </a:lnTo>
                  <a:lnTo>
                    <a:pt x="559" y="139"/>
                  </a:lnTo>
                  <a:lnTo>
                    <a:pt x="554" y="142"/>
                  </a:lnTo>
                  <a:lnTo>
                    <a:pt x="550" y="142"/>
                  </a:lnTo>
                  <a:lnTo>
                    <a:pt x="545" y="140"/>
                  </a:lnTo>
                  <a:lnTo>
                    <a:pt x="542" y="136"/>
                  </a:lnTo>
                  <a:lnTo>
                    <a:pt x="540" y="133"/>
                  </a:lnTo>
                  <a:lnTo>
                    <a:pt x="535" y="130"/>
                  </a:lnTo>
                  <a:lnTo>
                    <a:pt x="530" y="124"/>
                  </a:lnTo>
                  <a:lnTo>
                    <a:pt x="524" y="120"/>
                  </a:lnTo>
                  <a:lnTo>
                    <a:pt x="519" y="118"/>
                  </a:lnTo>
                  <a:lnTo>
                    <a:pt x="512" y="118"/>
                  </a:lnTo>
                  <a:lnTo>
                    <a:pt x="504" y="118"/>
                  </a:lnTo>
                  <a:lnTo>
                    <a:pt x="502" y="116"/>
                  </a:lnTo>
                  <a:lnTo>
                    <a:pt x="501" y="112"/>
                  </a:lnTo>
                  <a:lnTo>
                    <a:pt x="497" y="107"/>
                  </a:lnTo>
                  <a:lnTo>
                    <a:pt x="496" y="103"/>
                  </a:lnTo>
                  <a:lnTo>
                    <a:pt x="493" y="99"/>
                  </a:lnTo>
                  <a:lnTo>
                    <a:pt x="486" y="94"/>
                  </a:lnTo>
                  <a:lnTo>
                    <a:pt x="481" y="93"/>
                  </a:lnTo>
                  <a:lnTo>
                    <a:pt x="477" y="92"/>
                  </a:lnTo>
                  <a:lnTo>
                    <a:pt x="472" y="88"/>
                  </a:lnTo>
                  <a:lnTo>
                    <a:pt x="471" y="86"/>
                  </a:lnTo>
                  <a:lnTo>
                    <a:pt x="469" y="83"/>
                  </a:lnTo>
                  <a:lnTo>
                    <a:pt x="469" y="78"/>
                  </a:lnTo>
                  <a:lnTo>
                    <a:pt x="468" y="72"/>
                  </a:lnTo>
                  <a:lnTo>
                    <a:pt x="465" y="69"/>
                  </a:lnTo>
                  <a:lnTo>
                    <a:pt x="462" y="66"/>
                  </a:lnTo>
                  <a:lnTo>
                    <a:pt x="460" y="62"/>
                  </a:lnTo>
                  <a:lnTo>
                    <a:pt x="456" y="61"/>
                  </a:lnTo>
                  <a:lnTo>
                    <a:pt x="454" y="59"/>
                  </a:lnTo>
                  <a:lnTo>
                    <a:pt x="454" y="56"/>
                  </a:lnTo>
                  <a:lnTo>
                    <a:pt x="455" y="53"/>
                  </a:lnTo>
                  <a:lnTo>
                    <a:pt x="457" y="48"/>
                  </a:lnTo>
                  <a:lnTo>
                    <a:pt x="456" y="44"/>
                  </a:lnTo>
                  <a:lnTo>
                    <a:pt x="454" y="40"/>
                  </a:lnTo>
                  <a:lnTo>
                    <a:pt x="450" y="37"/>
                  </a:lnTo>
                  <a:lnTo>
                    <a:pt x="444" y="31"/>
                  </a:lnTo>
                  <a:lnTo>
                    <a:pt x="441" y="27"/>
                  </a:lnTo>
                  <a:lnTo>
                    <a:pt x="438" y="21"/>
                  </a:lnTo>
                  <a:lnTo>
                    <a:pt x="434" y="19"/>
                  </a:lnTo>
                  <a:lnTo>
                    <a:pt x="428" y="15"/>
                  </a:lnTo>
                  <a:lnTo>
                    <a:pt x="422" y="11"/>
                  </a:lnTo>
                  <a:lnTo>
                    <a:pt x="417" y="7"/>
                  </a:lnTo>
                  <a:lnTo>
                    <a:pt x="413" y="5"/>
                  </a:lnTo>
                  <a:lnTo>
                    <a:pt x="409" y="3"/>
                  </a:lnTo>
                  <a:lnTo>
                    <a:pt x="407" y="0"/>
                  </a:lnTo>
                  <a:lnTo>
                    <a:pt x="404" y="0"/>
                  </a:lnTo>
                  <a:lnTo>
                    <a:pt x="402" y="3"/>
                  </a:lnTo>
                  <a:lnTo>
                    <a:pt x="400" y="5"/>
                  </a:lnTo>
                  <a:lnTo>
                    <a:pt x="400" y="8"/>
                  </a:lnTo>
                  <a:lnTo>
                    <a:pt x="397" y="12"/>
                  </a:lnTo>
                  <a:lnTo>
                    <a:pt x="393" y="15"/>
                  </a:lnTo>
                  <a:lnTo>
                    <a:pt x="392" y="22"/>
                  </a:lnTo>
                  <a:lnTo>
                    <a:pt x="389" y="26"/>
                  </a:lnTo>
                  <a:lnTo>
                    <a:pt x="383" y="29"/>
                  </a:lnTo>
                  <a:lnTo>
                    <a:pt x="377" y="31"/>
                  </a:lnTo>
                  <a:lnTo>
                    <a:pt x="375" y="32"/>
                  </a:lnTo>
                  <a:lnTo>
                    <a:pt x="372" y="35"/>
                  </a:lnTo>
                  <a:lnTo>
                    <a:pt x="372" y="39"/>
                  </a:lnTo>
                  <a:lnTo>
                    <a:pt x="372" y="44"/>
                  </a:lnTo>
                  <a:lnTo>
                    <a:pt x="370" y="47"/>
                  </a:lnTo>
                  <a:lnTo>
                    <a:pt x="369" y="52"/>
                  </a:lnTo>
                  <a:lnTo>
                    <a:pt x="367" y="54"/>
                  </a:lnTo>
                  <a:lnTo>
                    <a:pt x="365" y="55"/>
                  </a:lnTo>
                  <a:lnTo>
                    <a:pt x="361" y="55"/>
                  </a:lnTo>
                  <a:lnTo>
                    <a:pt x="364" y="60"/>
                  </a:lnTo>
                  <a:lnTo>
                    <a:pt x="365" y="64"/>
                  </a:lnTo>
                  <a:lnTo>
                    <a:pt x="374" y="74"/>
                  </a:lnTo>
                  <a:lnTo>
                    <a:pt x="378" y="78"/>
                  </a:lnTo>
                  <a:lnTo>
                    <a:pt x="384" y="82"/>
                  </a:lnTo>
                  <a:lnTo>
                    <a:pt x="386" y="86"/>
                  </a:lnTo>
                  <a:lnTo>
                    <a:pt x="386" y="90"/>
                  </a:lnTo>
                  <a:lnTo>
                    <a:pt x="383" y="95"/>
                  </a:lnTo>
                  <a:lnTo>
                    <a:pt x="380" y="98"/>
                  </a:lnTo>
                  <a:lnTo>
                    <a:pt x="374" y="101"/>
                  </a:lnTo>
                  <a:lnTo>
                    <a:pt x="368" y="101"/>
                  </a:lnTo>
                  <a:lnTo>
                    <a:pt x="364" y="101"/>
                  </a:lnTo>
                  <a:lnTo>
                    <a:pt x="361" y="101"/>
                  </a:lnTo>
                  <a:lnTo>
                    <a:pt x="356" y="101"/>
                  </a:lnTo>
                  <a:lnTo>
                    <a:pt x="351" y="99"/>
                  </a:lnTo>
                  <a:lnTo>
                    <a:pt x="346" y="95"/>
                  </a:lnTo>
                  <a:lnTo>
                    <a:pt x="344" y="92"/>
                  </a:lnTo>
                  <a:lnTo>
                    <a:pt x="338" y="86"/>
                  </a:lnTo>
                  <a:lnTo>
                    <a:pt x="337" y="83"/>
                  </a:lnTo>
                  <a:lnTo>
                    <a:pt x="337" y="80"/>
                  </a:lnTo>
                  <a:lnTo>
                    <a:pt x="329" y="76"/>
                  </a:lnTo>
                  <a:lnTo>
                    <a:pt x="321" y="75"/>
                  </a:lnTo>
                  <a:lnTo>
                    <a:pt x="314" y="75"/>
                  </a:lnTo>
                  <a:lnTo>
                    <a:pt x="305" y="76"/>
                  </a:lnTo>
                  <a:lnTo>
                    <a:pt x="298" y="74"/>
                  </a:lnTo>
                  <a:lnTo>
                    <a:pt x="294" y="70"/>
                  </a:lnTo>
                  <a:lnTo>
                    <a:pt x="289" y="68"/>
                  </a:lnTo>
                  <a:lnTo>
                    <a:pt x="287" y="66"/>
                  </a:lnTo>
                  <a:lnTo>
                    <a:pt x="281" y="64"/>
                  </a:lnTo>
                  <a:lnTo>
                    <a:pt x="274" y="66"/>
                  </a:lnTo>
                  <a:lnTo>
                    <a:pt x="271" y="68"/>
                  </a:lnTo>
                  <a:lnTo>
                    <a:pt x="268" y="72"/>
                  </a:lnTo>
                  <a:lnTo>
                    <a:pt x="261" y="74"/>
                  </a:lnTo>
                  <a:lnTo>
                    <a:pt x="254" y="74"/>
                  </a:lnTo>
                  <a:lnTo>
                    <a:pt x="249" y="72"/>
                  </a:lnTo>
                  <a:lnTo>
                    <a:pt x="247" y="71"/>
                  </a:lnTo>
                  <a:lnTo>
                    <a:pt x="245" y="69"/>
                  </a:lnTo>
                  <a:lnTo>
                    <a:pt x="242" y="64"/>
                  </a:lnTo>
                  <a:lnTo>
                    <a:pt x="242" y="62"/>
                  </a:lnTo>
                  <a:lnTo>
                    <a:pt x="234" y="59"/>
                  </a:lnTo>
                  <a:lnTo>
                    <a:pt x="231" y="60"/>
                  </a:lnTo>
                  <a:lnTo>
                    <a:pt x="225" y="60"/>
                  </a:lnTo>
                  <a:lnTo>
                    <a:pt x="222" y="56"/>
                  </a:lnTo>
                  <a:lnTo>
                    <a:pt x="220" y="54"/>
                  </a:lnTo>
                  <a:lnTo>
                    <a:pt x="217" y="51"/>
                  </a:lnTo>
                  <a:lnTo>
                    <a:pt x="217" y="50"/>
                  </a:lnTo>
                  <a:lnTo>
                    <a:pt x="213" y="48"/>
                  </a:lnTo>
                  <a:lnTo>
                    <a:pt x="205" y="50"/>
                  </a:lnTo>
                  <a:lnTo>
                    <a:pt x="198" y="53"/>
                  </a:lnTo>
                  <a:lnTo>
                    <a:pt x="192" y="55"/>
                  </a:lnTo>
                  <a:lnTo>
                    <a:pt x="186" y="58"/>
                  </a:lnTo>
                  <a:lnTo>
                    <a:pt x="181" y="62"/>
                  </a:lnTo>
                  <a:lnTo>
                    <a:pt x="176" y="67"/>
                  </a:lnTo>
                  <a:lnTo>
                    <a:pt x="169" y="68"/>
                  </a:lnTo>
                  <a:lnTo>
                    <a:pt x="162" y="68"/>
                  </a:lnTo>
                  <a:lnTo>
                    <a:pt x="153" y="68"/>
                  </a:lnTo>
                  <a:lnTo>
                    <a:pt x="148" y="68"/>
                  </a:lnTo>
                  <a:lnTo>
                    <a:pt x="144" y="74"/>
                  </a:lnTo>
                  <a:lnTo>
                    <a:pt x="141" y="77"/>
                  </a:lnTo>
                  <a:lnTo>
                    <a:pt x="135" y="76"/>
                  </a:lnTo>
                  <a:lnTo>
                    <a:pt x="128" y="74"/>
                  </a:lnTo>
                  <a:lnTo>
                    <a:pt x="124" y="78"/>
                  </a:lnTo>
                  <a:lnTo>
                    <a:pt x="122" y="84"/>
                  </a:lnTo>
                  <a:lnTo>
                    <a:pt x="116" y="86"/>
                  </a:lnTo>
                  <a:lnTo>
                    <a:pt x="110" y="83"/>
                  </a:lnTo>
                  <a:lnTo>
                    <a:pt x="104" y="77"/>
                  </a:lnTo>
                  <a:lnTo>
                    <a:pt x="100" y="80"/>
                  </a:lnTo>
                  <a:lnTo>
                    <a:pt x="90" y="84"/>
                  </a:lnTo>
                  <a:lnTo>
                    <a:pt x="85" y="82"/>
                  </a:lnTo>
                  <a:lnTo>
                    <a:pt x="80" y="88"/>
                  </a:lnTo>
                  <a:lnTo>
                    <a:pt x="73" y="94"/>
                  </a:lnTo>
                  <a:lnTo>
                    <a:pt x="69" y="101"/>
                  </a:lnTo>
                  <a:lnTo>
                    <a:pt x="70" y="103"/>
                  </a:lnTo>
                  <a:lnTo>
                    <a:pt x="70" y="110"/>
                  </a:lnTo>
                  <a:lnTo>
                    <a:pt x="63" y="114"/>
                  </a:lnTo>
                  <a:lnTo>
                    <a:pt x="57" y="112"/>
                  </a:lnTo>
                  <a:lnTo>
                    <a:pt x="55" y="112"/>
                  </a:lnTo>
                  <a:lnTo>
                    <a:pt x="54" y="116"/>
                  </a:lnTo>
                  <a:lnTo>
                    <a:pt x="55" y="119"/>
                  </a:lnTo>
                  <a:lnTo>
                    <a:pt x="58" y="123"/>
                  </a:lnTo>
                  <a:lnTo>
                    <a:pt x="60" y="127"/>
                  </a:lnTo>
                  <a:lnTo>
                    <a:pt x="60" y="131"/>
                  </a:lnTo>
                  <a:lnTo>
                    <a:pt x="62" y="133"/>
                  </a:lnTo>
                  <a:lnTo>
                    <a:pt x="63" y="135"/>
                  </a:lnTo>
                  <a:lnTo>
                    <a:pt x="62" y="139"/>
                  </a:lnTo>
                  <a:lnTo>
                    <a:pt x="60" y="138"/>
                  </a:lnTo>
                  <a:lnTo>
                    <a:pt x="55" y="136"/>
                  </a:lnTo>
                  <a:lnTo>
                    <a:pt x="49" y="134"/>
                  </a:lnTo>
                  <a:lnTo>
                    <a:pt x="44" y="136"/>
                  </a:lnTo>
                  <a:lnTo>
                    <a:pt x="44" y="140"/>
                  </a:lnTo>
                  <a:lnTo>
                    <a:pt x="45" y="146"/>
                  </a:lnTo>
                  <a:lnTo>
                    <a:pt x="46" y="149"/>
                  </a:lnTo>
                  <a:lnTo>
                    <a:pt x="54" y="149"/>
                  </a:lnTo>
                  <a:lnTo>
                    <a:pt x="57" y="150"/>
                  </a:lnTo>
                  <a:lnTo>
                    <a:pt x="57" y="154"/>
                  </a:lnTo>
                  <a:lnTo>
                    <a:pt x="57" y="156"/>
                  </a:lnTo>
                  <a:lnTo>
                    <a:pt x="54" y="158"/>
                  </a:lnTo>
                  <a:lnTo>
                    <a:pt x="55" y="160"/>
                  </a:lnTo>
                  <a:lnTo>
                    <a:pt x="56" y="164"/>
                  </a:lnTo>
                  <a:lnTo>
                    <a:pt x="56" y="167"/>
                  </a:lnTo>
                  <a:lnTo>
                    <a:pt x="50" y="166"/>
                  </a:lnTo>
                  <a:lnTo>
                    <a:pt x="46" y="162"/>
                  </a:lnTo>
                  <a:lnTo>
                    <a:pt x="44" y="163"/>
                  </a:lnTo>
                  <a:lnTo>
                    <a:pt x="41" y="167"/>
                  </a:lnTo>
                  <a:lnTo>
                    <a:pt x="40" y="172"/>
                  </a:lnTo>
                  <a:lnTo>
                    <a:pt x="38" y="176"/>
                  </a:lnTo>
                  <a:lnTo>
                    <a:pt x="34" y="181"/>
                  </a:lnTo>
                  <a:lnTo>
                    <a:pt x="31" y="186"/>
                  </a:lnTo>
                  <a:lnTo>
                    <a:pt x="31" y="189"/>
                  </a:lnTo>
                  <a:lnTo>
                    <a:pt x="32" y="192"/>
                  </a:lnTo>
                  <a:lnTo>
                    <a:pt x="37" y="197"/>
                  </a:lnTo>
                  <a:lnTo>
                    <a:pt x="40" y="200"/>
                  </a:lnTo>
                  <a:lnTo>
                    <a:pt x="45" y="205"/>
                  </a:lnTo>
                  <a:lnTo>
                    <a:pt x="45" y="208"/>
                  </a:lnTo>
                  <a:lnTo>
                    <a:pt x="45" y="213"/>
                  </a:lnTo>
                  <a:lnTo>
                    <a:pt x="42" y="220"/>
                  </a:lnTo>
                  <a:lnTo>
                    <a:pt x="42" y="223"/>
                  </a:lnTo>
                  <a:lnTo>
                    <a:pt x="44" y="228"/>
                  </a:lnTo>
                  <a:lnTo>
                    <a:pt x="44" y="230"/>
                  </a:lnTo>
                  <a:lnTo>
                    <a:pt x="42" y="234"/>
                  </a:lnTo>
                  <a:lnTo>
                    <a:pt x="39" y="236"/>
                  </a:lnTo>
                  <a:lnTo>
                    <a:pt x="39" y="238"/>
                  </a:lnTo>
                  <a:lnTo>
                    <a:pt x="50" y="244"/>
                  </a:lnTo>
                  <a:lnTo>
                    <a:pt x="55" y="245"/>
                  </a:lnTo>
                  <a:lnTo>
                    <a:pt x="61" y="250"/>
                  </a:lnTo>
                  <a:lnTo>
                    <a:pt x="61" y="253"/>
                  </a:lnTo>
                  <a:lnTo>
                    <a:pt x="57" y="256"/>
                  </a:lnTo>
                  <a:lnTo>
                    <a:pt x="53" y="259"/>
                  </a:lnTo>
                  <a:lnTo>
                    <a:pt x="48" y="262"/>
                  </a:lnTo>
                  <a:lnTo>
                    <a:pt x="44" y="266"/>
                  </a:lnTo>
                  <a:lnTo>
                    <a:pt x="38" y="268"/>
                  </a:lnTo>
                  <a:lnTo>
                    <a:pt x="34" y="271"/>
                  </a:lnTo>
                  <a:lnTo>
                    <a:pt x="32" y="272"/>
                  </a:lnTo>
                  <a:lnTo>
                    <a:pt x="28" y="277"/>
                  </a:lnTo>
                  <a:lnTo>
                    <a:pt x="21" y="280"/>
                  </a:lnTo>
                  <a:lnTo>
                    <a:pt x="5" y="284"/>
                  </a:lnTo>
                  <a:lnTo>
                    <a:pt x="0" y="288"/>
                  </a:lnTo>
                  <a:lnTo>
                    <a:pt x="2" y="290"/>
                  </a:lnTo>
                  <a:lnTo>
                    <a:pt x="5" y="291"/>
                  </a:lnTo>
                  <a:lnTo>
                    <a:pt x="7" y="291"/>
                  </a:lnTo>
                  <a:lnTo>
                    <a:pt x="8" y="291"/>
                  </a:lnTo>
                  <a:lnTo>
                    <a:pt x="9" y="291"/>
                  </a:lnTo>
                  <a:lnTo>
                    <a:pt x="10" y="291"/>
                  </a:lnTo>
                  <a:lnTo>
                    <a:pt x="13" y="291"/>
                  </a:lnTo>
                  <a:lnTo>
                    <a:pt x="14" y="291"/>
                  </a:lnTo>
                  <a:lnTo>
                    <a:pt x="15" y="292"/>
                  </a:lnTo>
                  <a:lnTo>
                    <a:pt x="16" y="292"/>
                  </a:lnTo>
                  <a:lnTo>
                    <a:pt x="16" y="293"/>
                  </a:lnTo>
                  <a:lnTo>
                    <a:pt x="17" y="294"/>
                  </a:lnTo>
                  <a:lnTo>
                    <a:pt x="18" y="294"/>
                  </a:lnTo>
                  <a:lnTo>
                    <a:pt x="21" y="295"/>
                  </a:lnTo>
                  <a:lnTo>
                    <a:pt x="22" y="296"/>
                  </a:lnTo>
                  <a:lnTo>
                    <a:pt x="22" y="298"/>
                  </a:lnTo>
                  <a:lnTo>
                    <a:pt x="23" y="299"/>
                  </a:lnTo>
                  <a:lnTo>
                    <a:pt x="24" y="300"/>
                  </a:lnTo>
                  <a:lnTo>
                    <a:pt x="25" y="300"/>
                  </a:lnTo>
                  <a:lnTo>
                    <a:pt x="26" y="301"/>
                  </a:lnTo>
                  <a:lnTo>
                    <a:pt x="28" y="301"/>
                  </a:lnTo>
                  <a:lnTo>
                    <a:pt x="29" y="301"/>
                  </a:lnTo>
                  <a:lnTo>
                    <a:pt x="30" y="302"/>
                  </a:lnTo>
                  <a:lnTo>
                    <a:pt x="31" y="303"/>
                  </a:lnTo>
                  <a:lnTo>
                    <a:pt x="32" y="307"/>
                  </a:lnTo>
                  <a:lnTo>
                    <a:pt x="34" y="309"/>
                  </a:lnTo>
                  <a:lnTo>
                    <a:pt x="37" y="309"/>
                  </a:lnTo>
                  <a:lnTo>
                    <a:pt x="38" y="310"/>
                  </a:lnTo>
                  <a:lnTo>
                    <a:pt x="40" y="311"/>
                  </a:lnTo>
                  <a:lnTo>
                    <a:pt x="41" y="311"/>
                  </a:lnTo>
                  <a:lnTo>
                    <a:pt x="42" y="312"/>
                  </a:lnTo>
                  <a:lnTo>
                    <a:pt x="44" y="314"/>
                  </a:lnTo>
                  <a:lnTo>
                    <a:pt x="45" y="314"/>
                  </a:lnTo>
                  <a:lnTo>
                    <a:pt x="46" y="315"/>
                  </a:lnTo>
                  <a:lnTo>
                    <a:pt x="47" y="316"/>
                  </a:lnTo>
                  <a:lnTo>
                    <a:pt x="48" y="316"/>
                  </a:lnTo>
                  <a:lnTo>
                    <a:pt x="49" y="316"/>
                  </a:lnTo>
                  <a:lnTo>
                    <a:pt x="50" y="317"/>
                  </a:lnTo>
                  <a:lnTo>
                    <a:pt x="53" y="317"/>
                  </a:lnTo>
                  <a:lnTo>
                    <a:pt x="54" y="318"/>
                  </a:lnTo>
                  <a:lnTo>
                    <a:pt x="55" y="318"/>
                  </a:lnTo>
                  <a:lnTo>
                    <a:pt x="55" y="319"/>
                  </a:lnTo>
                  <a:lnTo>
                    <a:pt x="57" y="320"/>
                  </a:lnTo>
                  <a:lnTo>
                    <a:pt x="58" y="322"/>
                  </a:lnTo>
                  <a:lnTo>
                    <a:pt x="60" y="323"/>
                  </a:lnTo>
                  <a:lnTo>
                    <a:pt x="61" y="322"/>
                  </a:lnTo>
                  <a:lnTo>
                    <a:pt x="62" y="324"/>
                  </a:lnTo>
                  <a:lnTo>
                    <a:pt x="63" y="325"/>
                  </a:lnTo>
                  <a:lnTo>
                    <a:pt x="65" y="326"/>
                  </a:lnTo>
                  <a:lnTo>
                    <a:pt x="66" y="326"/>
                  </a:lnTo>
                  <a:lnTo>
                    <a:pt x="69" y="327"/>
                  </a:lnTo>
                  <a:lnTo>
                    <a:pt x="70" y="327"/>
                  </a:lnTo>
                  <a:lnTo>
                    <a:pt x="72" y="328"/>
                  </a:lnTo>
                  <a:lnTo>
                    <a:pt x="73" y="330"/>
                  </a:lnTo>
                  <a:lnTo>
                    <a:pt x="74" y="330"/>
                  </a:lnTo>
                  <a:lnTo>
                    <a:pt x="77" y="331"/>
                  </a:lnTo>
                  <a:lnTo>
                    <a:pt x="78" y="331"/>
                  </a:lnTo>
                  <a:lnTo>
                    <a:pt x="79" y="331"/>
                  </a:lnTo>
                  <a:lnTo>
                    <a:pt x="81" y="331"/>
                  </a:lnTo>
                  <a:lnTo>
                    <a:pt x="82" y="332"/>
                  </a:lnTo>
                  <a:lnTo>
                    <a:pt x="85" y="332"/>
                  </a:lnTo>
                  <a:lnTo>
                    <a:pt x="86" y="332"/>
                  </a:lnTo>
                  <a:lnTo>
                    <a:pt x="87" y="332"/>
                  </a:lnTo>
                  <a:lnTo>
                    <a:pt x="88" y="331"/>
                  </a:lnTo>
                  <a:lnTo>
                    <a:pt x="90" y="331"/>
                  </a:lnTo>
                  <a:lnTo>
                    <a:pt x="92" y="332"/>
                  </a:lnTo>
                  <a:lnTo>
                    <a:pt x="93" y="333"/>
                  </a:lnTo>
                  <a:lnTo>
                    <a:pt x="93" y="334"/>
                  </a:lnTo>
                  <a:lnTo>
                    <a:pt x="93" y="335"/>
                  </a:lnTo>
                  <a:lnTo>
                    <a:pt x="94" y="336"/>
                  </a:lnTo>
                  <a:lnTo>
                    <a:pt x="97" y="335"/>
                  </a:lnTo>
                  <a:lnTo>
                    <a:pt x="100" y="334"/>
                  </a:lnTo>
                  <a:lnTo>
                    <a:pt x="102" y="335"/>
                  </a:lnTo>
                  <a:lnTo>
                    <a:pt x="104" y="336"/>
                  </a:lnTo>
                  <a:lnTo>
                    <a:pt x="104" y="339"/>
                  </a:lnTo>
                  <a:lnTo>
                    <a:pt x="105" y="340"/>
                  </a:lnTo>
                  <a:lnTo>
                    <a:pt x="105" y="341"/>
                  </a:lnTo>
                  <a:lnTo>
                    <a:pt x="104" y="343"/>
                  </a:lnTo>
                  <a:lnTo>
                    <a:pt x="98" y="344"/>
                  </a:lnTo>
                  <a:lnTo>
                    <a:pt x="97" y="344"/>
                  </a:lnTo>
                  <a:lnTo>
                    <a:pt x="94" y="344"/>
                  </a:lnTo>
                  <a:lnTo>
                    <a:pt x="93" y="346"/>
                  </a:lnTo>
                  <a:lnTo>
                    <a:pt x="90" y="348"/>
                  </a:lnTo>
                  <a:lnTo>
                    <a:pt x="88" y="349"/>
                  </a:lnTo>
                  <a:lnTo>
                    <a:pt x="87" y="350"/>
                  </a:lnTo>
                  <a:lnTo>
                    <a:pt x="86" y="351"/>
                  </a:lnTo>
                  <a:lnTo>
                    <a:pt x="84" y="352"/>
                  </a:lnTo>
                  <a:lnTo>
                    <a:pt x="82" y="354"/>
                  </a:lnTo>
                  <a:lnTo>
                    <a:pt x="81" y="354"/>
                  </a:lnTo>
                  <a:lnTo>
                    <a:pt x="78" y="356"/>
                  </a:lnTo>
                  <a:lnTo>
                    <a:pt x="77" y="357"/>
                  </a:lnTo>
                  <a:lnTo>
                    <a:pt x="74" y="358"/>
                  </a:lnTo>
                  <a:lnTo>
                    <a:pt x="72" y="359"/>
                  </a:lnTo>
                  <a:lnTo>
                    <a:pt x="70" y="360"/>
                  </a:lnTo>
                  <a:lnTo>
                    <a:pt x="68" y="363"/>
                  </a:lnTo>
                  <a:lnTo>
                    <a:pt x="66" y="364"/>
                  </a:lnTo>
                  <a:lnTo>
                    <a:pt x="65" y="366"/>
                  </a:lnTo>
                  <a:lnTo>
                    <a:pt x="63" y="370"/>
                  </a:lnTo>
                  <a:lnTo>
                    <a:pt x="63" y="372"/>
                  </a:lnTo>
                  <a:lnTo>
                    <a:pt x="63" y="373"/>
                  </a:lnTo>
                  <a:lnTo>
                    <a:pt x="63" y="375"/>
                  </a:lnTo>
                  <a:lnTo>
                    <a:pt x="63" y="378"/>
                  </a:lnTo>
                  <a:lnTo>
                    <a:pt x="60" y="380"/>
                  </a:lnTo>
                  <a:lnTo>
                    <a:pt x="58" y="381"/>
                  </a:lnTo>
                  <a:lnTo>
                    <a:pt x="56" y="382"/>
                  </a:lnTo>
                  <a:lnTo>
                    <a:pt x="53" y="383"/>
                  </a:lnTo>
                  <a:lnTo>
                    <a:pt x="52" y="384"/>
                  </a:lnTo>
                  <a:lnTo>
                    <a:pt x="49" y="384"/>
                  </a:lnTo>
                  <a:lnTo>
                    <a:pt x="47" y="384"/>
                  </a:lnTo>
                  <a:lnTo>
                    <a:pt x="47" y="388"/>
                  </a:lnTo>
                  <a:lnTo>
                    <a:pt x="48" y="389"/>
                  </a:lnTo>
                  <a:lnTo>
                    <a:pt x="50" y="390"/>
                  </a:lnTo>
                  <a:lnTo>
                    <a:pt x="52" y="391"/>
                  </a:lnTo>
                  <a:lnTo>
                    <a:pt x="54" y="394"/>
                  </a:lnTo>
                  <a:lnTo>
                    <a:pt x="54" y="396"/>
                  </a:lnTo>
                  <a:lnTo>
                    <a:pt x="54" y="398"/>
                  </a:lnTo>
                  <a:lnTo>
                    <a:pt x="53" y="399"/>
                  </a:lnTo>
                  <a:lnTo>
                    <a:pt x="50" y="400"/>
                  </a:lnTo>
                  <a:lnTo>
                    <a:pt x="48" y="404"/>
                  </a:lnTo>
                  <a:lnTo>
                    <a:pt x="45" y="406"/>
                  </a:lnTo>
                  <a:lnTo>
                    <a:pt x="42" y="406"/>
                  </a:lnTo>
                  <a:lnTo>
                    <a:pt x="41" y="407"/>
                  </a:lnTo>
                  <a:lnTo>
                    <a:pt x="39" y="408"/>
                  </a:lnTo>
                  <a:lnTo>
                    <a:pt x="40" y="410"/>
                  </a:lnTo>
                  <a:lnTo>
                    <a:pt x="39" y="412"/>
                  </a:lnTo>
                  <a:lnTo>
                    <a:pt x="40" y="413"/>
                  </a:lnTo>
                  <a:lnTo>
                    <a:pt x="41" y="414"/>
                  </a:lnTo>
                  <a:lnTo>
                    <a:pt x="44" y="415"/>
                  </a:lnTo>
                  <a:lnTo>
                    <a:pt x="44" y="418"/>
                  </a:lnTo>
                  <a:lnTo>
                    <a:pt x="44" y="423"/>
                  </a:lnTo>
                  <a:lnTo>
                    <a:pt x="45" y="427"/>
                  </a:lnTo>
                  <a:lnTo>
                    <a:pt x="45" y="429"/>
                  </a:lnTo>
                  <a:lnTo>
                    <a:pt x="45" y="431"/>
                  </a:lnTo>
                  <a:lnTo>
                    <a:pt x="44" y="434"/>
                  </a:lnTo>
                  <a:lnTo>
                    <a:pt x="44" y="435"/>
                  </a:lnTo>
                  <a:lnTo>
                    <a:pt x="41" y="437"/>
                  </a:lnTo>
                  <a:lnTo>
                    <a:pt x="40" y="438"/>
                  </a:lnTo>
                  <a:lnTo>
                    <a:pt x="40" y="439"/>
                  </a:lnTo>
                  <a:lnTo>
                    <a:pt x="41" y="442"/>
                  </a:lnTo>
                  <a:lnTo>
                    <a:pt x="42" y="443"/>
                  </a:lnTo>
                  <a:lnTo>
                    <a:pt x="44" y="444"/>
                  </a:lnTo>
                  <a:lnTo>
                    <a:pt x="46" y="446"/>
                  </a:lnTo>
                  <a:lnTo>
                    <a:pt x="47" y="447"/>
                  </a:lnTo>
                  <a:lnTo>
                    <a:pt x="48" y="448"/>
                  </a:lnTo>
                  <a:lnTo>
                    <a:pt x="49" y="450"/>
                  </a:lnTo>
                  <a:lnTo>
                    <a:pt x="49" y="452"/>
                  </a:lnTo>
                  <a:lnTo>
                    <a:pt x="50" y="455"/>
                  </a:lnTo>
                  <a:lnTo>
                    <a:pt x="50" y="460"/>
                  </a:lnTo>
                  <a:lnTo>
                    <a:pt x="49" y="461"/>
                  </a:lnTo>
                  <a:lnTo>
                    <a:pt x="50" y="463"/>
                  </a:lnTo>
                  <a:lnTo>
                    <a:pt x="49" y="464"/>
                  </a:lnTo>
                  <a:lnTo>
                    <a:pt x="49" y="467"/>
                  </a:lnTo>
                  <a:lnTo>
                    <a:pt x="49" y="469"/>
                  </a:lnTo>
                  <a:lnTo>
                    <a:pt x="50" y="470"/>
                  </a:lnTo>
                  <a:lnTo>
                    <a:pt x="50" y="471"/>
                  </a:lnTo>
                  <a:lnTo>
                    <a:pt x="52" y="474"/>
                  </a:lnTo>
                  <a:lnTo>
                    <a:pt x="53" y="476"/>
                  </a:lnTo>
                  <a:lnTo>
                    <a:pt x="53" y="478"/>
                  </a:lnTo>
                  <a:lnTo>
                    <a:pt x="53" y="480"/>
                  </a:lnTo>
                  <a:lnTo>
                    <a:pt x="54" y="483"/>
                  </a:lnTo>
                  <a:lnTo>
                    <a:pt x="54" y="485"/>
                  </a:lnTo>
                  <a:lnTo>
                    <a:pt x="54" y="487"/>
                  </a:lnTo>
                  <a:lnTo>
                    <a:pt x="55" y="488"/>
                  </a:lnTo>
                  <a:lnTo>
                    <a:pt x="56" y="491"/>
                  </a:lnTo>
                  <a:lnTo>
                    <a:pt x="57" y="492"/>
                  </a:lnTo>
                  <a:lnTo>
                    <a:pt x="58" y="492"/>
                  </a:lnTo>
                  <a:lnTo>
                    <a:pt x="60" y="492"/>
                  </a:lnTo>
                  <a:lnTo>
                    <a:pt x="62" y="493"/>
                  </a:lnTo>
                  <a:lnTo>
                    <a:pt x="64" y="494"/>
                  </a:lnTo>
                  <a:lnTo>
                    <a:pt x="65" y="494"/>
                  </a:lnTo>
                  <a:lnTo>
                    <a:pt x="68" y="494"/>
                  </a:lnTo>
                  <a:lnTo>
                    <a:pt x="70" y="494"/>
                  </a:lnTo>
                  <a:lnTo>
                    <a:pt x="72" y="494"/>
                  </a:lnTo>
                  <a:lnTo>
                    <a:pt x="74" y="493"/>
                  </a:lnTo>
                  <a:lnTo>
                    <a:pt x="76" y="492"/>
                  </a:lnTo>
                  <a:lnTo>
                    <a:pt x="78" y="491"/>
                  </a:lnTo>
                  <a:lnTo>
                    <a:pt x="80" y="490"/>
                  </a:lnTo>
                  <a:lnTo>
                    <a:pt x="81" y="490"/>
                  </a:lnTo>
                  <a:lnTo>
                    <a:pt x="84" y="488"/>
                  </a:lnTo>
                  <a:lnTo>
                    <a:pt x="85" y="487"/>
                  </a:lnTo>
                  <a:lnTo>
                    <a:pt x="87" y="486"/>
                  </a:lnTo>
                  <a:lnTo>
                    <a:pt x="88" y="486"/>
                  </a:lnTo>
                  <a:lnTo>
                    <a:pt x="90" y="485"/>
                  </a:lnTo>
                  <a:lnTo>
                    <a:pt x="93" y="485"/>
                  </a:lnTo>
                  <a:lnTo>
                    <a:pt x="94" y="485"/>
                  </a:lnTo>
                  <a:lnTo>
                    <a:pt x="96" y="484"/>
                  </a:lnTo>
                  <a:lnTo>
                    <a:pt x="97" y="483"/>
                  </a:lnTo>
                  <a:lnTo>
                    <a:pt x="98" y="480"/>
                  </a:lnTo>
                  <a:lnTo>
                    <a:pt x="101" y="479"/>
                  </a:lnTo>
                  <a:lnTo>
                    <a:pt x="102" y="478"/>
                  </a:lnTo>
                  <a:lnTo>
                    <a:pt x="103" y="478"/>
                  </a:lnTo>
                  <a:lnTo>
                    <a:pt x="105" y="475"/>
                  </a:lnTo>
                  <a:lnTo>
                    <a:pt x="105" y="474"/>
                  </a:lnTo>
                  <a:lnTo>
                    <a:pt x="106" y="472"/>
                  </a:lnTo>
                  <a:lnTo>
                    <a:pt x="109" y="471"/>
                  </a:lnTo>
                  <a:lnTo>
                    <a:pt x="110" y="471"/>
                  </a:lnTo>
                  <a:lnTo>
                    <a:pt x="111" y="471"/>
                  </a:lnTo>
                  <a:lnTo>
                    <a:pt x="113" y="474"/>
                  </a:lnTo>
                  <a:lnTo>
                    <a:pt x="113" y="475"/>
                  </a:lnTo>
                  <a:lnTo>
                    <a:pt x="113" y="476"/>
                  </a:lnTo>
                  <a:lnTo>
                    <a:pt x="113" y="477"/>
                  </a:lnTo>
                  <a:lnTo>
                    <a:pt x="113" y="479"/>
                  </a:lnTo>
                  <a:lnTo>
                    <a:pt x="114" y="479"/>
                  </a:lnTo>
                  <a:lnTo>
                    <a:pt x="114" y="482"/>
                  </a:lnTo>
                  <a:lnTo>
                    <a:pt x="114" y="483"/>
                  </a:lnTo>
                  <a:lnTo>
                    <a:pt x="113" y="484"/>
                  </a:lnTo>
                  <a:lnTo>
                    <a:pt x="112" y="485"/>
                  </a:lnTo>
                  <a:lnTo>
                    <a:pt x="111" y="485"/>
                  </a:lnTo>
                  <a:lnTo>
                    <a:pt x="110" y="487"/>
                  </a:lnTo>
                  <a:lnTo>
                    <a:pt x="110" y="488"/>
                  </a:lnTo>
                  <a:lnTo>
                    <a:pt x="111" y="492"/>
                  </a:lnTo>
                  <a:lnTo>
                    <a:pt x="111" y="494"/>
                  </a:lnTo>
                  <a:lnTo>
                    <a:pt x="112" y="495"/>
                  </a:lnTo>
                  <a:lnTo>
                    <a:pt x="113" y="496"/>
                  </a:lnTo>
                  <a:lnTo>
                    <a:pt x="114" y="498"/>
                  </a:lnTo>
                  <a:lnTo>
                    <a:pt x="116" y="499"/>
                  </a:lnTo>
                  <a:lnTo>
                    <a:pt x="118" y="500"/>
                  </a:lnTo>
                  <a:lnTo>
                    <a:pt x="119" y="501"/>
                  </a:lnTo>
                  <a:lnTo>
                    <a:pt x="120" y="503"/>
                  </a:lnTo>
                  <a:lnTo>
                    <a:pt x="119" y="506"/>
                  </a:lnTo>
                  <a:lnTo>
                    <a:pt x="119" y="508"/>
                  </a:lnTo>
                  <a:lnTo>
                    <a:pt x="118" y="509"/>
                  </a:lnTo>
                  <a:lnTo>
                    <a:pt x="117" y="511"/>
                  </a:lnTo>
                  <a:lnTo>
                    <a:pt x="117" y="512"/>
                  </a:lnTo>
                  <a:lnTo>
                    <a:pt x="116" y="514"/>
                  </a:lnTo>
                  <a:lnTo>
                    <a:pt x="116" y="516"/>
                  </a:lnTo>
                  <a:lnTo>
                    <a:pt x="116" y="517"/>
                  </a:lnTo>
                  <a:lnTo>
                    <a:pt x="118" y="517"/>
                  </a:lnTo>
                  <a:lnTo>
                    <a:pt x="119" y="517"/>
                  </a:lnTo>
                  <a:lnTo>
                    <a:pt x="121" y="517"/>
                  </a:lnTo>
                  <a:lnTo>
                    <a:pt x="124" y="516"/>
                  </a:lnTo>
                  <a:lnTo>
                    <a:pt x="125" y="515"/>
                  </a:lnTo>
                  <a:lnTo>
                    <a:pt x="127" y="515"/>
                  </a:lnTo>
                  <a:lnTo>
                    <a:pt x="129" y="515"/>
                  </a:lnTo>
                  <a:lnTo>
                    <a:pt x="130" y="515"/>
                  </a:lnTo>
                  <a:lnTo>
                    <a:pt x="130" y="514"/>
                  </a:lnTo>
                  <a:lnTo>
                    <a:pt x="130" y="512"/>
                  </a:lnTo>
                  <a:lnTo>
                    <a:pt x="130" y="511"/>
                  </a:lnTo>
                  <a:lnTo>
                    <a:pt x="130" y="510"/>
                  </a:lnTo>
                  <a:lnTo>
                    <a:pt x="130" y="509"/>
                  </a:lnTo>
                  <a:lnTo>
                    <a:pt x="132" y="507"/>
                  </a:lnTo>
                  <a:lnTo>
                    <a:pt x="133" y="506"/>
                  </a:lnTo>
                  <a:lnTo>
                    <a:pt x="135" y="504"/>
                  </a:lnTo>
                  <a:lnTo>
                    <a:pt x="136" y="504"/>
                  </a:lnTo>
                  <a:lnTo>
                    <a:pt x="137" y="504"/>
                  </a:lnTo>
                  <a:lnTo>
                    <a:pt x="140" y="504"/>
                  </a:lnTo>
                  <a:lnTo>
                    <a:pt x="142" y="504"/>
                  </a:lnTo>
                  <a:lnTo>
                    <a:pt x="143" y="504"/>
                  </a:lnTo>
                  <a:lnTo>
                    <a:pt x="145" y="504"/>
                  </a:lnTo>
                  <a:lnTo>
                    <a:pt x="148" y="502"/>
                  </a:lnTo>
                  <a:lnTo>
                    <a:pt x="148" y="501"/>
                  </a:lnTo>
                  <a:lnTo>
                    <a:pt x="149" y="499"/>
                  </a:lnTo>
                  <a:lnTo>
                    <a:pt x="151" y="498"/>
                  </a:lnTo>
                  <a:lnTo>
                    <a:pt x="154" y="498"/>
                  </a:lnTo>
                  <a:lnTo>
                    <a:pt x="158" y="498"/>
                  </a:lnTo>
                  <a:lnTo>
                    <a:pt x="160" y="498"/>
                  </a:lnTo>
                  <a:lnTo>
                    <a:pt x="164" y="496"/>
                  </a:lnTo>
                  <a:lnTo>
                    <a:pt x="165" y="495"/>
                  </a:lnTo>
                  <a:lnTo>
                    <a:pt x="167" y="494"/>
                  </a:lnTo>
                  <a:lnTo>
                    <a:pt x="168" y="493"/>
                  </a:lnTo>
                  <a:lnTo>
                    <a:pt x="169" y="491"/>
                  </a:lnTo>
                  <a:lnTo>
                    <a:pt x="170" y="490"/>
                  </a:lnTo>
                  <a:lnTo>
                    <a:pt x="170" y="488"/>
                  </a:lnTo>
                  <a:lnTo>
                    <a:pt x="170" y="486"/>
                  </a:lnTo>
                  <a:lnTo>
                    <a:pt x="170" y="485"/>
                  </a:lnTo>
                  <a:lnTo>
                    <a:pt x="172" y="484"/>
                  </a:lnTo>
                  <a:lnTo>
                    <a:pt x="173" y="482"/>
                  </a:lnTo>
                  <a:lnTo>
                    <a:pt x="173" y="480"/>
                  </a:lnTo>
                  <a:lnTo>
                    <a:pt x="173" y="479"/>
                  </a:lnTo>
                  <a:lnTo>
                    <a:pt x="174" y="478"/>
                  </a:lnTo>
                  <a:lnTo>
                    <a:pt x="175" y="477"/>
                  </a:lnTo>
                  <a:lnTo>
                    <a:pt x="177" y="477"/>
                  </a:lnTo>
                  <a:lnTo>
                    <a:pt x="180" y="477"/>
                  </a:lnTo>
                  <a:lnTo>
                    <a:pt x="182" y="477"/>
                  </a:lnTo>
                  <a:lnTo>
                    <a:pt x="183" y="479"/>
                  </a:lnTo>
                  <a:lnTo>
                    <a:pt x="185" y="480"/>
                  </a:lnTo>
                  <a:lnTo>
                    <a:pt x="188" y="480"/>
                  </a:lnTo>
                  <a:lnTo>
                    <a:pt x="189" y="478"/>
                  </a:lnTo>
                  <a:lnTo>
                    <a:pt x="190" y="477"/>
                  </a:lnTo>
                  <a:lnTo>
                    <a:pt x="192" y="476"/>
                  </a:lnTo>
                  <a:lnTo>
                    <a:pt x="194" y="474"/>
                  </a:lnTo>
                  <a:lnTo>
                    <a:pt x="196" y="472"/>
                  </a:lnTo>
                  <a:lnTo>
                    <a:pt x="197" y="471"/>
                  </a:lnTo>
                  <a:lnTo>
                    <a:pt x="202" y="467"/>
                  </a:lnTo>
                  <a:lnTo>
                    <a:pt x="204" y="466"/>
                  </a:lnTo>
                  <a:lnTo>
                    <a:pt x="205" y="464"/>
                  </a:lnTo>
                  <a:lnTo>
                    <a:pt x="207" y="463"/>
                  </a:lnTo>
                  <a:lnTo>
                    <a:pt x="208" y="463"/>
                  </a:lnTo>
                  <a:lnTo>
                    <a:pt x="212" y="463"/>
                  </a:lnTo>
                  <a:lnTo>
                    <a:pt x="214" y="464"/>
                  </a:lnTo>
                  <a:lnTo>
                    <a:pt x="218" y="466"/>
                  </a:lnTo>
                  <a:lnTo>
                    <a:pt x="221" y="466"/>
                  </a:lnTo>
                  <a:lnTo>
                    <a:pt x="223" y="467"/>
                  </a:lnTo>
                  <a:lnTo>
                    <a:pt x="225" y="468"/>
                  </a:lnTo>
                  <a:lnTo>
                    <a:pt x="226" y="469"/>
                  </a:lnTo>
                  <a:lnTo>
                    <a:pt x="230" y="470"/>
                  </a:lnTo>
                  <a:lnTo>
                    <a:pt x="232" y="471"/>
                  </a:lnTo>
                  <a:lnTo>
                    <a:pt x="234" y="472"/>
                  </a:lnTo>
                  <a:lnTo>
                    <a:pt x="238" y="474"/>
                  </a:lnTo>
                  <a:lnTo>
                    <a:pt x="241" y="475"/>
                  </a:lnTo>
                  <a:lnTo>
                    <a:pt x="244" y="476"/>
                  </a:lnTo>
                  <a:lnTo>
                    <a:pt x="247" y="477"/>
                  </a:lnTo>
                  <a:lnTo>
                    <a:pt x="249" y="478"/>
                  </a:lnTo>
                  <a:lnTo>
                    <a:pt x="252" y="479"/>
                  </a:lnTo>
                  <a:lnTo>
                    <a:pt x="254" y="482"/>
                  </a:lnTo>
                  <a:lnTo>
                    <a:pt x="255" y="483"/>
                  </a:lnTo>
                  <a:lnTo>
                    <a:pt x="256" y="484"/>
                  </a:lnTo>
                  <a:lnTo>
                    <a:pt x="257" y="485"/>
                  </a:lnTo>
                  <a:lnTo>
                    <a:pt x="258" y="487"/>
                  </a:lnTo>
                  <a:lnTo>
                    <a:pt x="260" y="495"/>
                  </a:lnTo>
                  <a:lnTo>
                    <a:pt x="260" y="498"/>
                  </a:lnTo>
                  <a:lnTo>
                    <a:pt x="261" y="500"/>
                  </a:lnTo>
                  <a:lnTo>
                    <a:pt x="262" y="502"/>
                  </a:lnTo>
                  <a:lnTo>
                    <a:pt x="263" y="506"/>
                  </a:lnTo>
                  <a:lnTo>
                    <a:pt x="266" y="509"/>
                  </a:lnTo>
                  <a:lnTo>
                    <a:pt x="273" y="516"/>
                  </a:lnTo>
                  <a:lnTo>
                    <a:pt x="276" y="518"/>
                  </a:lnTo>
                  <a:lnTo>
                    <a:pt x="280" y="520"/>
                  </a:lnTo>
                  <a:lnTo>
                    <a:pt x="282" y="523"/>
                  </a:lnTo>
                  <a:lnTo>
                    <a:pt x="286" y="525"/>
                  </a:lnTo>
                  <a:lnTo>
                    <a:pt x="292" y="528"/>
                  </a:lnTo>
                  <a:lnTo>
                    <a:pt x="295" y="531"/>
                  </a:lnTo>
                  <a:lnTo>
                    <a:pt x="297" y="533"/>
                  </a:lnTo>
                  <a:lnTo>
                    <a:pt x="301" y="535"/>
                  </a:lnTo>
                  <a:lnTo>
                    <a:pt x="303" y="535"/>
                  </a:lnTo>
                  <a:lnTo>
                    <a:pt x="305" y="536"/>
                  </a:lnTo>
                  <a:lnTo>
                    <a:pt x="309" y="536"/>
                  </a:lnTo>
                  <a:lnTo>
                    <a:pt x="312" y="538"/>
                  </a:lnTo>
                  <a:lnTo>
                    <a:pt x="314" y="538"/>
                  </a:lnTo>
                  <a:lnTo>
                    <a:pt x="320" y="540"/>
                  </a:lnTo>
                  <a:lnTo>
                    <a:pt x="321" y="540"/>
                  </a:lnTo>
                  <a:lnTo>
                    <a:pt x="324" y="541"/>
                  </a:lnTo>
                  <a:lnTo>
                    <a:pt x="326" y="542"/>
                  </a:lnTo>
                  <a:lnTo>
                    <a:pt x="327" y="543"/>
                  </a:lnTo>
                  <a:lnTo>
                    <a:pt x="330" y="544"/>
                  </a:lnTo>
                  <a:lnTo>
                    <a:pt x="333" y="547"/>
                  </a:lnTo>
                  <a:lnTo>
                    <a:pt x="335" y="549"/>
                  </a:lnTo>
                  <a:lnTo>
                    <a:pt x="337" y="550"/>
                  </a:lnTo>
                  <a:lnTo>
                    <a:pt x="340" y="551"/>
                  </a:lnTo>
                  <a:lnTo>
                    <a:pt x="343" y="551"/>
                  </a:lnTo>
                  <a:lnTo>
                    <a:pt x="345" y="551"/>
                  </a:lnTo>
                  <a:lnTo>
                    <a:pt x="346" y="551"/>
                  </a:lnTo>
                  <a:lnTo>
                    <a:pt x="349" y="552"/>
                  </a:lnTo>
                  <a:lnTo>
                    <a:pt x="352" y="554"/>
                  </a:lnTo>
                  <a:lnTo>
                    <a:pt x="354" y="555"/>
                  </a:lnTo>
                  <a:lnTo>
                    <a:pt x="358" y="555"/>
                  </a:lnTo>
                  <a:lnTo>
                    <a:pt x="359" y="556"/>
                  </a:lnTo>
                  <a:lnTo>
                    <a:pt x="361" y="556"/>
                  </a:lnTo>
                  <a:lnTo>
                    <a:pt x="365" y="556"/>
                  </a:lnTo>
                  <a:lnTo>
                    <a:pt x="367" y="556"/>
                  </a:lnTo>
                  <a:lnTo>
                    <a:pt x="369" y="557"/>
                  </a:lnTo>
                  <a:lnTo>
                    <a:pt x="373" y="558"/>
                  </a:lnTo>
                  <a:lnTo>
                    <a:pt x="373" y="559"/>
                  </a:lnTo>
                  <a:lnTo>
                    <a:pt x="373" y="562"/>
                  </a:lnTo>
                  <a:lnTo>
                    <a:pt x="372" y="564"/>
                  </a:lnTo>
                  <a:lnTo>
                    <a:pt x="369" y="564"/>
                  </a:lnTo>
                  <a:lnTo>
                    <a:pt x="367" y="565"/>
                  </a:lnTo>
                  <a:lnTo>
                    <a:pt x="366" y="567"/>
                  </a:lnTo>
                  <a:lnTo>
                    <a:pt x="366" y="568"/>
                  </a:lnTo>
                  <a:lnTo>
                    <a:pt x="364" y="568"/>
                  </a:lnTo>
                  <a:lnTo>
                    <a:pt x="361" y="570"/>
                  </a:lnTo>
                  <a:lnTo>
                    <a:pt x="360" y="573"/>
                  </a:lnTo>
                  <a:lnTo>
                    <a:pt x="359" y="575"/>
                  </a:lnTo>
                  <a:lnTo>
                    <a:pt x="358" y="578"/>
                  </a:lnTo>
                  <a:lnTo>
                    <a:pt x="357" y="579"/>
                  </a:lnTo>
                  <a:lnTo>
                    <a:pt x="354" y="579"/>
                  </a:lnTo>
                  <a:lnTo>
                    <a:pt x="352" y="580"/>
                  </a:lnTo>
                  <a:lnTo>
                    <a:pt x="350" y="580"/>
                  </a:lnTo>
                  <a:lnTo>
                    <a:pt x="349" y="581"/>
                  </a:lnTo>
                  <a:lnTo>
                    <a:pt x="349" y="582"/>
                  </a:lnTo>
                  <a:lnTo>
                    <a:pt x="348" y="582"/>
                  </a:lnTo>
                  <a:lnTo>
                    <a:pt x="346" y="582"/>
                  </a:lnTo>
                  <a:lnTo>
                    <a:pt x="345" y="581"/>
                  </a:lnTo>
                  <a:lnTo>
                    <a:pt x="344" y="580"/>
                  </a:lnTo>
                  <a:lnTo>
                    <a:pt x="343" y="580"/>
                  </a:lnTo>
                  <a:lnTo>
                    <a:pt x="341" y="580"/>
                  </a:lnTo>
                  <a:lnTo>
                    <a:pt x="340" y="581"/>
                  </a:lnTo>
                  <a:lnTo>
                    <a:pt x="337" y="583"/>
                  </a:lnTo>
                  <a:lnTo>
                    <a:pt x="336" y="584"/>
                  </a:lnTo>
                  <a:lnTo>
                    <a:pt x="335" y="587"/>
                  </a:lnTo>
                  <a:lnTo>
                    <a:pt x="335" y="589"/>
                  </a:lnTo>
                  <a:lnTo>
                    <a:pt x="337" y="590"/>
                  </a:lnTo>
                  <a:lnTo>
                    <a:pt x="337" y="591"/>
                  </a:lnTo>
                  <a:lnTo>
                    <a:pt x="337" y="592"/>
                  </a:lnTo>
                  <a:lnTo>
                    <a:pt x="337" y="595"/>
                  </a:lnTo>
                  <a:lnTo>
                    <a:pt x="336" y="595"/>
                  </a:lnTo>
                  <a:lnTo>
                    <a:pt x="335" y="595"/>
                  </a:lnTo>
                  <a:lnTo>
                    <a:pt x="334" y="595"/>
                  </a:lnTo>
                  <a:lnTo>
                    <a:pt x="332" y="594"/>
                  </a:lnTo>
                  <a:lnTo>
                    <a:pt x="332" y="592"/>
                  </a:lnTo>
                  <a:lnTo>
                    <a:pt x="330" y="591"/>
                  </a:lnTo>
                  <a:lnTo>
                    <a:pt x="330" y="590"/>
                  </a:lnTo>
                  <a:lnTo>
                    <a:pt x="328" y="589"/>
                  </a:lnTo>
                  <a:lnTo>
                    <a:pt x="328" y="588"/>
                  </a:lnTo>
                  <a:lnTo>
                    <a:pt x="328" y="586"/>
                  </a:lnTo>
                  <a:lnTo>
                    <a:pt x="327" y="584"/>
                  </a:lnTo>
                  <a:lnTo>
                    <a:pt x="326" y="584"/>
                  </a:lnTo>
                  <a:lnTo>
                    <a:pt x="325" y="586"/>
                  </a:lnTo>
                  <a:lnTo>
                    <a:pt x="325" y="587"/>
                  </a:lnTo>
                  <a:lnTo>
                    <a:pt x="324" y="588"/>
                  </a:lnTo>
                  <a:lnTo>
                    <a:pt x="322" y="588"/>
                  </a:lnTo>
                  <a:lnTo>
                    <a:pt x="321" y="589"/>
                  </a:lnTo>
                  <a:lnTo>
                    <a:pt x="320" y="589"/>
                  </a:lnTo>
                  <a:lnTo>
                    <a:pt x="319" y="590"/>
                  </a:lnTo>
                  <a:lnTo>
                    <a:pt x="317" y="590"/>
                  </a:lnTo>
                  <a:lnTo>
                    <a:pt x="317" y="591"/>
                  </a:lnTo>
                  <a:lnTo>
                    <a:pt x="316" y="592"/>
                  </a:lnTo>
                  <a:lnTo>
                    <a:pt x="316" y="594"/>
                  </a:lnTo>
                  <a:lnTo>
                    <a:pt x="316" y="595"/>
                  </a:lnTo>
                  <a:lnTo>
                    <a:pt x="314" y="596"/>
                  </a:lnTo>
                  <a:lnTo>
                    <a:pt x="314" y="597"/>
                  </a:lnTo>
                  <a:lnTo>
                    <a:pt x="314" y="598"/>
                  </a:lnTo>
                  <a:lnTo>
                    <a:pt x="313" y="599"/>
                  </a:lnTo>
                  <a:lnTo>
                    <a:pt x="314" y="599"/>
                  </a:lnTo>
                  <a:lnTo>
                    <a:pt x="316" y="599"/>
                  </a:lnTo>
                  <a:lnTo>
                    <a:pt x="318" y="599"/>
                  </a:lnTo>
                  <a:lnTo>
                    <a:pt x="320" y="600"/>
                  </a:lnTo>
                  <a:lnTo>
                    <a:pt x="321" y="602"/>
                  </a:lnTo>
                  <a:lnTo>
                    <a:pt x="324" y="603"/>
                  </a:lnTo>
                  <a:lnTo>
                    <a:pt x="325" y="604"/>
                  </a:lnTo>
                  <a:lnTo>
                    <a:pt x="326" y="605"/>
                  </a:lnTo>
                  <a:lnTo>
                    <a:pt x="327" y="606"/>
                  </a:lnTo>
                  <a:lnTo>
                    <a:pt x="328" y="607"/>
                  </a:lnTo>
                  <a:lnTo>
                    <a:pt x="332" y="610"/>
                  </a:lnTo>
                  <a:lnTo>
                    <a:pt x="333" y="611"/>
                  </a:lnTo>
                  <a:lnTo>
                    <a:pt x="333" y="612"/>
                  </a:lnTo>
                  <a:lnTo>
                    <a:pt x="334" y="612"/>
                  </a:lnTo>
                  <a:lnTo>
                    <a:pt x="334" y="613"/>
                  </a:lnTo>
                  <a:lnTo>
                    <a:pt x="335" y="613"/>
                  </a:lnTo>
                  <a:lnTo>
                    <a:pt x="336" y="613"/>
                  </a:lnTo>
                  <a:lnTo>
                    <a:pt x="338" y="614"/>
                  </a:lnTo>
                  <a:lnTo>
                    <a:pt x="340" y="614"/>
                  </a:lnTo>
                  <a:lnTo>
                    <a:pt x="342" y="614"/>
                  </a:lnTo>
                  <a:lnTo>
                    <a:pt x="345" y="614"/>
                  </a:lnTo>
                  <a:lnTo>
                    <a:pt x="346" y="613"/>
                  </a:lnTo>
                  <a:lnTo>
                    <a:pt x="348" y="613"/>
                  </a:lnTo>
                  <a:lnTo>
                    <a:pt x="349" y="612"/>
                  </a:lnTo>
                  <a:lnTo>
                    <a:pt x="350" y="612"/>
                  </a:lnTo>
                  <a:lnTo>
                    <a:pt x="351" y="611"/>
                  </a:lnTo>
                  <a:lnTo>
                    <a:pt x="352" y="612"/>
                  </a:lnTo>
                  <a:lnTo>
                    <a:pt x="353" y="613"/>
                  </a:lnTo>
                  <a:lnTo>
                    <a:pt x="353" y="614"/>
                  </a:lnTo>
                  <a:lnTo>
                    <a:pt x="354" y="615"/>
                  </a:lnTo>
                  <a:lnTo>
                    <a:pt x="354" y="616"/>
                  </a:lnTo>
                  <a:lnTo>
                    <a:pt x="354" y="619"/>
                  </a:lnTo>
                  <a:lnTo>
                    <a:pt x="356" y="620"/>
                  </a:lnTo>
                  <a:lnTo>
                    <a:pt x="357" y="620"/>
                  </a:lnTo>
                  <a:lnTo>
                    <a:pt x="358" y="621"/>
                  </a:lnTo>
                  <a:lnTo>
                    <a:pt x="359" y="622"/>
                  </a:lnTo>
                  <a:lnTo>
                    <a:pt x="359" y="624"/>
                  </a:lnTo>
                  <a:lnTo>
                    <a:pt x="361" y="626"/>
                  </a:lnTo>
                  <a:lnTo>
                    <a:pt x="361" y="628"/>
                  </a:lnTo>
                  <a:lnTo>
                    <a:pt x="361" y="629"/>
                  </a:lnTo>
                  <a:lnTo>
                    <a:pt x="362" y="631"/>
                  </a:lnTo>
                  <a:lnTo>
                    <a:pt x="362" y="634"/>
                  </a:lnTo>
                  <a:lnTo>
                    <a:pt x="364" y="635"/>
                  </a:lnTo>
                  <a:lnTo>
                    <a:pt x="365" y="636"/>
                  </a:lnTo>
                  <a:lnTo>
                    <a:pt x="365" y="638"/>
                  </a:lnTo>
                  <a:lnTo>
                    <a:pt x="365" y="640"/>
                  </a:lnTo>
                  <a:lnTo>
                    <a:pt x="365" y="642"/>
                  </a:lnTo>
                  <a:lnTo>
                    <a:pt x="366" y="643"/>
                  </a:lnTo>
                  <a:lnTo>
                    <a:pt x="366" y="644"/>
                  </a:lnTo>
                  <a:lnTo>
                    <a:pt x="367" y="645"/>
                  </a:lnTo>
                  <a:lnTo>
                    <a:pt x="368" y="645"/>
                  </a:lnTo>
                  <a:lnTo>
                    <a:pt x="369" y="646"/>
                  </a:lnTo>
                  <a:lnTo>
                    <a:pt x="370" y="646"/>
                  </a:lnTo>
                  <a:lnTo>
                    <a:pt x="372" y="646"/>
                  </a:lnTo>
                  <a:lnTo>
                    <a:pt x="374" y="646"/>
                  </a:lnTo>
                  <a:lnTo>
                    <a:pt x="375" y="646"/>
                  </a:lnTo>
                  <a:lnTo>
                    <a:pt x="377" y="646"/>
                  </a:lnTo>
                  <a:lnTo>
                    <a:pt x="378" y="646"/>
                  </a:lnTo>
                  <a:lnTo>
                    <a:pt x="381" y="646"/>
                  </a:lnTo>
                  <a:lnTo>
                    <a:pt x="382" y="646"/>
                  </a:lnTo>
                  <a:lnTo>
                    <a:pt x="383" y="646"/>
                  </a:lnTo>
                  <a:lnTo>
                    <a:pt x="384" y="645"/>
                  </a:lnTo>
                  <a:lnTo>
                    <a:pt x="385" y="645"/>
                  </a:lnTo>
                  <a:lnTo>
                    <a:pt x="386" y="644"/>
                  </a:lnTo>
                  <a:lnTo>
                    <a:pt x="388" y="644"/>
                  </a:lnTo>
                  <a:lnTo>
                    <a:pt x="389" y="644"/>
                  </a:lnTo>
                  <a:lnTo>
                    <a:pt x="391" y="644"/>
                  </a:lnTo>
                  <a:lnTo>
                    <a:pt x="392" y="644"/>
                  </a:lnTo>
                  <a:lnTo>
                    <a:pt x="393" y="644"/>
                  </a:lnTo>
                  <a:lnTo>
                    <a:pt x="394" y="644"/>
                  </a:lnTo>
                  <a:lnTo>
                    <a:pt x="396" y="643"/>
                  </a:lnTo>
                  <a:lnTo>
                    <a:pt x="397" y="643"/>
                  </a:lnTo>
                  <a:lnTo>
                    <a:pt x="397" y="642"/>
                  </a:lnTo>
                  <a:lnTo>
                    <a:pt x="398" y="640"/>
                  </a:lnTo>
                  <a:lnTo>
                    <a:pt x="400" y="637"/>
                  </a:lnTo>
                  <a:lnTo>
                    <a:pt x="401" y="635"/>
                  </a:lnTo>
                  <a:lnTo>
                    <a:pt x="404" y="635"/>
                  </a:lnTo>
                  <a:lnTo>
                    <a:pt x="405" y="635"/>
                  </a:lnTo>
                  <a:lnTo>
                    <a:pt x="406" y="635"/>
                  </a:lnTo>
                  <a:lnTo>
                    <a:pt x="407" y="636"/>
                  </a:lnTo>
                  <a:lnTo>
                    <a:pt x="409" y="638"/>
                  </a:lnTo>
                  <a:lnTo>
                    <a:pt x="412" y="639"/>
                  </a:lnTo>
                  <a:lnTo>
                    <a:pt x="414" y="642"/>
                  </a:lnTo>
                  <a:lnTo>
                    <a:pt x="416" y="643"/>
                  </a:lnTo>
                  <a:lnTo>
                    <a:pt x="418" y="643"/>
                  </a:lnTo>
                  <a:lnTo>
                    <a:pt x="420" y="643"/>
                  </a:lnTo>
                  <a:lnTo>
                    <a:pt x="422" y="643"/>
                  </a:lnTo>
                  <a:lnTo>
                    <a:pt x="423" y="643"/>
                  </a:lnTo>
                  <a:lnTo>
                    <a:pt x="424" y="644"/>
                  </a:lnTo>
                  <a:lnTo>
                    <a:pt x="428" y="645"/>
                  </a:lnTo>
                  <a:lnTo>
                    <a:pt x="430" y="645"/>
                  </a:lnTo>
                  <a:lnTo>
                    <a:pt x="432" y="646"/>
                  </a:lnTo>
                  <a:lnTo>
                    <a:pt x="433" y="646"/>
                  </a:lnTo>
                  <a:lnTo>
                    <a:pt x="433" y="647"/>
                  </a:lnTo>
                  <a:lnTo>
                    <a:pt x="433" y="650"/>
                  </a:lnTo>
                  <a:lnTo>
                    <a:pt x="433" y="651"/>
                  </a:lnTo>
                  <a:lnTo>
                    <a:pt x="432" y="652"/>
                  </a:lnTo>
                  <a:lnTo>
                    <a:pt x="432" y="653"/>
                  </a:lnTo>
                  <a:lnTo>
                    <a:pt x="431" y="654"/>
                  </a:lnTo>
                  <a:lnTo>
                    <a:pt x="430" y="655"/>
                  </a:lnTo>
                  <a:lnTo>
                    <a:pt x="430" y="656"/>
                  </a:lnTo>
                  <a:lnTo>
                    <a:pt x="430" y="659"/>
                  </a:lnTo>
                  <a:lnTo>
                    <a:pt x="430" y="660"/>
                  </a:lnTo>
                  <a:lnTo>
                    <a:pt x="431" y="661"/>
                  </a:lnTo>
                  <a:lnTo>
                    <a:pt x="432" y="662"/>
                  </a:lnTo>
                  <a:lnTo>
                    <a:pt x="434" y="664"/>
                  </a:lnTo>
                  <a:lnTo>
                    <a:pt x="436" y="664"/>
                  </a:lnTo>
                  <a:lnTo>
                    <a:pt x="439" y="667"/>
                  </a:lnTo>
                  <a:lnTo>
                    <a:pt x="440" y="668"/>
                  </a:lnTo>
                  <a:lnTo>
                    <a:pt x="442" y="669"/>
                  </a:lnTo>
                  <a:lnTo>
                    <a:pt x="444" y="669"/>
                  </a:lnTo>
                  <a:lnTo>
                    <a:pt x="446" y="670"/>
                  </a:lnTo>
                  <a:lnTo>
                    <a:pt x="448" y="671"/>
                  </a:lnTo>
                  <a:lnTo>
                    <a:pt x="450" y="672"/>
                  </a:lnTo>
                  <a:lnTo>
                    <a:pt x="453" y="675"/>
                  </a:lnTo>
                  <a:lnTo>
                    <a:pt x="455" y="676"/>
                  </a:lnTo>
                  <a:lnTo>
                    <a:pt x="457" y="678"/>
                  </a:lnTo>
                  <a:lnTo>
                    <a:pt x="458" y="679"/>
                  </a:lnTo>
                  <a:lnTo>
                    <a:pt x="461" y="682"/>
                  </a:lnTo>
                  <a:lnTo>
                    <a:pt x="463" y="683"/>
                  </a:lnTo>
                  <a:lnTo>
                    <a:pt x="464" y="684"/>
                  </a:lnTo>
                  <a:lnTo>
                    <a:pt x="468" y="686"/>
                  </a:lnTo>
                  <a:lnTo>
                    <a:pt x="470" y="687"/>
                  </a:lnTo>
                  <a:lnTo>
                    <a:pt x="471" y="688"/>
                  </a:lnTo>
                  <a:lnTo>
                    <a:pt x="473" y="690"/>
                  </a:lnTo>
                  <a:lnTo>
                    <a:pt x="477" y="691"/>
                  </a:lnTo>
                  <a:lnTo>
                    <a:pt x="478" y="690"/>
                  </a:lnTo>
                  <a:lnTo>
                    <a:pt x="480" y="690"/>
                  </a:lnTo>
                  <a:lnTo>
                    <a:pt x="482" y="690"/>
                  </a:lnTo>
                  <a:lnTo>
                    <a:pt x="485" y="690"/>
                  </a:lnTo>
                  <a:lnTo>
                    <a:pt x="486" y="688"/>
                  </a:lnTo>
                  <a:lnTo>
                    <a:pt x="487" y="688"/>
                  </a:lnTo>
                  <a:lnTo>
                    <a:pt x="488" y="688"/>
                  </a:lnTo>
                  <a:lnTo>
                    <a:pt x="490" y="687"/>
                  </a:lnTo>
                  <a:lnTo>
                    <a:pt x="492" y="686"/>
                  </a:lnTo>
                  <a:lnTo>
                    <a:pt x="494" y="686"/>
                  </a:lnTo>
                  <a:lnTo>
                    <a:pt x="495" y="686"/>
                  </a:lnTo>
                  <a:lnTo>
                    <a:pt x="496" y="687"/>
                  </a:lnTo>
                  <a:lnTo>
                    <a:pt x="497" y="688"/>
                  </a:lnTo>
                  <a:lnTo>
                    <a:pt x="498" y="688"/>
                  </a:lnTo>
                  <a:lnTo>
                    <a:pt x="500" y="691"/>
                  </a:lnTo>
                  <a:lnTo>
                    <a:pt x="501" y="692"/>
                  </a:lnTo>
                  <a:lnTo>
                    <a:pt x="502" y="693"/>
                  </a:lnTo>
                  <a:lnTo>
                    <a:pt x="503" y="695"/>
                  </a:lnTo>
                  <a:lnTo>
                    <a:pt x="505" y="699"/>
                  </a:lnTo>
                  <a:lnTo>
                    <a:pt x="505" y="700"/>
                  </a:lnTo>
                  <a:lnTo>
                    <a:pt x="506" y="701"/>
                  </a:lnTo>
                  <a:lnTo>
                    <a:pt x="508" y="703"/>
                  </a:lnTo>
                  <a:lnTo>
                    <a:pt x="506" y="706"/>
                  </a:lnTo>
                  <a:lnTo>
                    <a:pt x="506" y="707"/>
                  </a:lnTo>
                  <a:lnTo>
                    <a:pt x="506" y="709"/>
                  </a:lnTo>
                  <a:lnTo>
                    <a:pt x="508" y="711"/>
                  </a:lnTo>
                  <a:lnTo>
                    <a:pt x="508" y="714"/>
                  </a:lnTo>
                  <a:lnTo>
                    <a:pt x="508" y="715"/>
                  </a:lnTo>
                  <a:lnTo>
                    <a:pt x="509" y="717"/>
                  </a:lnTo>
                  <a:lnTo>
                    <a:pt x="510" y="718"/>
                  </a:lnTo>
                  <a:lnTo>
                    <a:pt x="511" y="718"/>
                  </a:lnTo>
                  <a:lnTo>
                    <a:pt x="512" y="718"/>
                  </a:lnTo>
                  <a:lnTo>
                    <a:pt x="513" y="718"/>
                  </a:lnTo>
                  <a:lnTo>
                    <a:pt x="514" y="718"/>
                  </a:lnTo>
                  <a:lnTo>
                    <a:pt x="516" y="717"/>
                  </a:lnTo>
                  <a:lnTo>
                    <a:pt x="517" y="716"/>
                  </a:lnTo>
                  <a:lnTo>
                    <a:pt x="518" y="716"/>
                  </a:lnTo>
                  <a:lnTo>
                    <a:pt x="519" y="715"/>
                  </a:lnTo>
                  <a:lnTo>
                    <a:pt x="520" y="715"/>
                  </a:lnTo>
                  <a:lnTo>
                    <a:pt x="521" y="715"/>
                  </a:lnTo>
                  <a:lnTo>
                    <a:pt x="522" y="716"/>
                  </a:lnTo>
                  <a:lnTo>
                    <a:pt x="524" y="716"/>
                  </a:lnTo>
                  <a:lnTo>
                    <a:pt x="525" y="716"/>
                  </a:lnTo>
                  <a:lnTo>
                    <a:pt x="527" y="716"/>
                  </a:lnTo>
                  <a:lnTo>
                    <a:pt x="528" y="716"/>
                  </a:lnTo>
                  <a:lnTo>
                    <a:pt x="529" y="716"/>
                  </a:lnTo>
                  <a:lnTo>
                    <a:pt x="530" y="716"/>
                  </a:lnTo>
                  <a:lnTo>
                    <a:pt x="533" y="717"/>
                  </a:lnTo>
                  <a:lnTo>
                    <a:pt x="534" y="717"/>
                  </a:lnTo>
                  <a:lnTo>
                    <a:pt x="535" y="716"/>
                  </a:lnTo>
                  <a:lnTo>
                    <a:pt x="536" y="715"/>
                  </a:lnTo>
                  <a:lnTo>
                    <a:pt x="537" y="714"/>
                  </a:lnTo>
                  <a:lnTo>
                    <a:pt x="540" y="711"/>
                  </a:lnTo>
                  <a:lnTo>
                    <a:pt x="541" y="711"/>
                  </a:lnTo>
                  <a:lnTo>
                    <a:pt x="542" y="711"/>
                  </a:lnTo>
                  <a:lnTo>
                    <a:pt x="543" y="710"/>
                  </a:lnTo>
                  <a:lnTo>
                    <a:pt x="544" y="711"/>
                  </a:lnTo>
                  <a:lnTo>
                    <a:pt x="545" y="712"/>
                  </a:lnTo>
                  <a:lnTo>
                    <a:pt x="545" y="714"/>
                  </a:lnTo>
                  <a:lnTo>
                    <a:pt x="545" y="717"/>
                  </a:lnTo>
                  <a:lnTo>
                    <a:pt x="545" y="718"/>
                  </a:lnTo>
                  <a:lnTo>
                    <a:pt x="545" y="720"/>
                  </a:lnTo>
                  <a:lnTo>
                    <a:pt x="548" y="722"/>
                  </a:lnTo>
                  <a:lnTo>
                    <a:pt x="549" y="723"/>
                  </a:lnTo>
                  <a:lnTo>
                    <a:pt x="551" y="724"/>
                  </a:lnTo>
                  <a:lnTo>
                    <a:pt x="553" y="723"/>
                  </a:lnTo>
                  <a:lnTo>
                    <a:pt x="554" y="723"/>
                  </a:lnTo>
                  <a:lnTo>
                    <a:pt x="557" y="720"/>
                  </a:lnTo>
                  <a:lnTo>
                    <a:pt x="559" y="719"/>
                  </a:lnTo>
                  <a:lnTo>
                    <a:pt x="560" y="718"/>
                  </a:lnTo>
                  <a:lnTo>
                    <a:pt x="561" y="718"/>
                  </a:lnTo>
                  <a:lnTo>
                    <a:pt x="564" y="717"/>
                  </a:lnTo>
                  <a:lnTo>
                    <a:pt x="566" y="716"/>
                  </a:lnTo>
                  <a:lnTo>
                    <a:pt x="567" y="716"/>
                  </a:lnTo>
                  <a:lnTo>
                    <a:pt x="568" y="716"/>
                  </a:lnTo>
                  <a:lnTo>
                    <a:pt x="572" y="717"/>
                  </a:lnTo>
                  <a:lnTo>
                    <a:pt x="573" y="717"/>
                  </a:lnTo>
                  <a:lnTo>
                    <a:pt x="575" y="718"/>
                  </a:lnTo>
                  <a:lnTo>
                    <a:pt x="576" y="719"/>
                  </a:lnTo>
                  <a:lnTo>
                    <a:pt x="577" y="720"/>
                  </a:lnTo>
                  <a:lnTo>
                    <a:pt x="580" y="722"/>
                  </a:lnTo>
                  <a:lnTo>
                    <a:pt x="581" y="723"/>
                  </a:lnTo>
                  <a:lnTo>
                    <a:pt x="582" y="723"/>
                  </a:lnTo>
                  <a:lnTo>
                    <a:pt x="583" y="723"/>
                  </a:lnTo>
                  <a:lnTo>
                    <a:pt x="584" y="723"/>
                  </a:lnTo>
                  <a:lnTo>
                    <a:pt x="585" y="722"/>
                  </a:lnTo>
                  <a:lnTo>
                    <a:pt x="585" y="720"/>
                  </a:lnTo>
                  <a:lnTo>
                    <a:pt x="586" y="719"/>
                  </a:lnTo>
                  <a:lnTo>
                    <a:pt x="588" y="718"/>
                  </a:lnTo>
                  <a:lnTo>
                    <a:pt x="589" y="718"/>
                  </a:lnTo>
                  <a:lnTo>
                    <a:pt x="590" y="718"/>
                  </a:lnTo>
                  <a:lnTo>
                    <a:pt x="591" y="718"/>
                  </a:lnTo>
                  <a:lnTo>
                    <a:pt x="592" y="717"/>
                  </a:lnTo>
                  <a:lnTo>
                    <a:pt x="592" y="716"/>
                  </a:lnTo>
                  <a:lnTo>
                    <a:pt x="592" y="715"/>
                  </a:lnTo>
                  <a:lnTo>
                    <a:pt x="591" y="715"/>
                  </a:lnTo>
                  <a:lnTo>
                    <a:pt x="590" y="714"/>
                  </a:lnTo>
                  <a:lnTo>
                    <a:pt x="588" y="712"/>
                  </a:lnTo>
                  <a:lnTo>
                    <a:pt x="588" y="710"/>
                  </a:lnTo>
                  <a:lnTo>
                    <a:pt x="589" y="709"/>
                  </a:lnTo>
                  <a:lnTo>
                    <a:pt x="589" y="708"/>
                  </a:lnTo>
                  <a:lnTo>
                    <a:pt x="591" y="708"/>
                  </a:lnTo>
                  <a:lnTo>
                    <a:pt x="592" y="708"/>
                  </a:lnTo>
                  <a:lnTo>
                    <a:pt x="594" y="709"/>
                  </a:lnTo>
                  <a:lnTo>
                    <a:pt x="594" y="710"/>
                  </a:lnTo>
                  <a:lnTo>
                    <a:pt x="596" y="711"/>
                  </a:lnTo>
                  <a:lnTo>
                    <a:pt x="594" y="714"/>
                  </a:lnTo>
                  <a:lnTo>
                    <a:pt x="594" y="715"/>
                  </a:lnTo>
                  <a:lnTo>
                    <a:pt x="596" y="716"/>
                  </a:lnTo>
                  <a:lnTo>
                    <a:pt x="598" y="716"/>
                  </a:lnTo>
                  <a:lnTo>
                    <a:pt x="599" y="715"/>
                  </a:lnTo>
                  <a:lnTo>
                    <a:pt x="599" y="714"/>
                  </a:lnTo>
                  <a:lnTo>
                    <a:pt x="600" y="712"/>
                  </a:lnTo>
                  <a:lnTo>
                    <a:pt x="602" y="712"/>
                  </a:lnTo>
                  <a:lnTo>
                    <a:pt x="604" y="714"/>
                  </a:lnTo>
                  <a:lnTo>
                    <a:pt x="605" y="714"/>
                  </a:lnTo>
                  <a:lnTo>
                    <a:pt x="606" y="714"/>
                  </a:lnTo>
                  <a:lnTo>
                    <a:pt x="607" y="712"/>
                  </a:lnTo>
                  <a:lnTo>
                    <a:pt x="608" y="712"/>
                  </a:lnTo>
                  <a:lnTo>
                    <a:pt x="610" y="711"/>
                  </a:lnTo>
                  <a:lnTo>
                    <a:pt x="612" y="711"/>
                  </a:lnTo>
                  <a:lnTo>
                    <a:pt x="614" y="711"/>
                  </a:lnTo>
                  <a:lnTo>
                    <a:pt x="616" y="712"/>
                  </a:lnTo>
                  <a:lnTo>
                    <a:pt x="618" y="714"/>
                  </a:lnTo>
                  <a:lnTo>
                    <a:pt x="618" y="715"/>
                  </a:lnTo>
                  <a:lnTo>
                    <a:pt x="620" y="716"/>
                  </a:lnTo>
                  <a:lnTo>
                    <a:pt x="621" y="717"/>
                  </a:lnTo>
                  <a:lnTo>
                    <a:pt x="621" y="719"/>
                  </a:lnTo>
                  <a:lnTo>
                    <a:pt x="620" y="720"/>
                  </a:lnTo>
                  <a:lnTo>
                    <a:pt x="618" y="722"/>
                  </a:lnTo>
                  <a:lnTo>
                    <a:pt x="617" y="722"/>
                  </a:lnTo>
                  <a:lnTo>
                    <a:pt x="617" y="723"/>
                  </a:lnTo>
                  <a:lnTo>
                    <a:pt x="617" y="724"/>
                  </a:lnTo>
                  <a:lnTo>
                    <a:pt x="617" y="725"/>
                  </a:lnTo>
                  <a:lnTo>
                    <a:pt x="617" y="726"/>
                  </a:lnTo>
                  <a:lnTo>
                    <a:pt x="617" y="727"/>
                  </a:lnTo>
                  <a:lnTo>
                    <a:pt x="616" y="728"/>
                  </a:lnTo>
                  <a:lnTo>
                    <a:pt x="615" y="730"/>
                  </a:lnTo>
                  <a:lnTo>
                    <a:pt x="614" y="731"/>
                  </a:lnTo>
                  <a:lnTo>
                    <a:pt x="614" y="732"/>
                  </a:lnTo>
                  <a:lnTo>
                    <a:pt x="614" y="733"/>
                  </a:lnTo>
                  <a:lnTo>
                    <a:pt x="615" y="734"/>
                  </a:lnTo>
                  <a:lnTo>
                    <a:pt x="617" y="735"/>
                  </a:lnTo>
                  <a:lnTo>
                    <a:pt x="618" y="735"/>
                  </a:lnTo>
                  <a:lnTo>
                    <a:pt x="620" y="735"/>
                  </a:lnTo>
                  <a:lnTo>
                    <a:pt x="622" y="733"/>
                  </a:lnTo>
                  <a:lnTo>
                    <a:pt x="622" y="732"/>
                  </a:lnTo>
                  <a:lnTo>
                    <a:pt x="622" y="731"/>
                  </a:lnTo>
                  <a:lnTo>
                    <a:pt x="622" y="730"/>
                  </a:lnTo>
                  <a:lnTo>
                    <a:pt x="624" y="726"/>
                  </a:lnTo>
                  <a:lnTo>
                    <a:pt x="625" y="726"/>
                  </a:lnTo>
                  <a:lnTo>
                    <a:pt x="626" y="726"/>
                  </a:lnTo>
                  <a:lnTo>
                    <a:pt x="629" y="726"/>
                  </a:lnTo>
                  <a:lnTo>
                    <a:pt x="630" y="727"/>
                  </a:lnTo>
                  <a:lnTo>
                    <a:pt x="631" y="728"/>
                  </a:lnTo>
                  <a:lnTo>
                    <a:pt x="632" y="728"/>
                  </a:lnTo>
                  <a:lnTo>
                    <a:pt x="633" y="728"/>
                  </a:lnTo>
                  <a:lnTo>
                    <a:pt x="634" y="727"/>
                  </a:lnTo>
                  <a:lnTo>
                    <a:pt x="636" y="727"/>
                  </a:lnTo>
                  <a:lnTo>
                    <a:pt x="638" y="728"/>
                  </a:lnTo>
                  <a:lnTo>
                    <a:pt x="639" y="728"/>
                  </a:lnTo>
                  <a:lnTo>
                    <a:pt x="640" y="730"/>
                  </a:lnTo>
                  <a:lnTo>
                    <a:pt x="640" y="731"/>
                  </a:lnTo>
                  <a:lnTo>
                    <a:pt x="640" y="732"/>
                  </a:lnTo>
                  <a:lnTo>
                    <a:pt x="639" y="733"/>
                  </a:lnTo>
                  <a:lnTo>
                    <a:pt x="638" y="733"/>
                  </a:lnTo>
                  <a:lnTo>
                    <a:pt x="636" y="733"/>
                  </a:lnTo>
                  <a:lnTo>
                    <a:pt x="634" y="733"/>
                  </a:lnTo>
                  <a:lnTo>
                    <a:pt x="632" y="733"/>
                  </a:lnTo>
                  <a:lnTo>
                    <a:pt x="631" y="734"/>
                  </a:lnTo>
                  <a:lnTo>
                    <a:pt x="630" y="735"/>
                  </a:lnTo>
                  <a:lnTo>
                    <a:pt x="630" y="736"/>
                  </a:lnTo>
                  <a:lnTo>
                    <a:pt x="630" y="739"/>
                  </a:lnTo>
                  <a:lnTo>
                    <a:pt x="631" y="739"/>
                  </a:lnTo>
                  <a:lnTo>
                    <a:pt x="633" y="739"/>
                  </a:lnTo>
                  <a:lnTo>
                    <a:pt x="634" y="739"/>
                  </a:lnTo>
                  <a:lnTo>
                    <a:pt x="637" y="739"/>
                  </a:lnTo>
                  <a:lnTo>
                    <a:pt x="638" y="739"/>
                  </a:lnTo>
                  <a:lnTo>
                    <a:pt x="640" y="738"/>
                  </a:lnTo>
                  <a:lnTo>
                    <a:pt x="641" y="738"/>
                  </a:lnTo>
                  <a:lnTo>
                    <a:pt x="642" y="736"/>
                  </a:lnTo>
                  <a:lnTo>
                    <a:pt x="644" y="736"/>
                  </a:lnTo>
                  <a:lnTo>
                    <a:pt x="646" y="736"/>
                  </a:lnTo>
                  <a:lnTo>
                    <a:pt x="647" y="736"/>
                  </a:lnTo>
                  <a:lnTo>
                    <a:pt x="648" y="736"/>
                  </a:lnTo>
                  <a:lnTo>
                    <a:pt x="649" y="736"/>
                  </a:lnTo>
                  <a:lnTo>
                    <a:pt x="649" y="739"/>
                  </a:lnTo>
                  <a:lnTo>
                    <a:pt x="649" y="740"/>
                  </a:lnTo>
                  <a:lnTo>
                    <a:pt x="648" y="741"/>
                  </a:lnTo>
                  <a:lnTo>
                    <a:pt x="647" y="742"/>
                  </a:lnTo>
                  <a:lnTo>
                    <a:pt x="646" y="742"/>
                  </a:lnTo>
                  <a:lnTo>
                    <a:pt x="645" y="743"/>
                  </a:lnTo>
                  <a:lnTo>
                    <a:pt x="645" y="744"/>
                  </a:lnTo>
                  <a:lnTo>
                    <a:pt x="645" y="746"/>
                  </a:lnTo>
                  <a:lnTo>
                    <a:pt x="646" y="747"/>
                  </a:lnTo>
                  <a:lnTo>
                    <a:pt x="647" y="748"/>
                  </a:lnTo>
                  <a:lnTo>
                    <a:pt x="648" y="749"/>
                  </a:lnTo>
                  <a:lnTo>
                    <a:pt x="648" y="750"/>
                  </a:lnTo>
                  <a:lnTo>
                    <a:pt x="649" y="754"/>
                  </a:lnTo>
                  <a:lnTo>
                    <a:pt x="650" y="755"/>
                  </a:lnTo>
                  <a:lnTo>
                    <a:pt x="650" y="756"/>
                  </a:lnTo>
                  <a:lnTo>
                    <a:pt x="652" y="756"/>
                  </a:lnTo>
                  <a:lnTo>
                    <a:pt x="653" y="757"/>
                  </a:lnTo>
                  <a:lnTo>
                    <a:pt x="655" y="757"/>
                  </a:lnTo>
                  <a:lnTo>
                    <a:pt x="656" y="756"/>
                  </a:lnTo>
                  <a:lnTo>
                    <a:pt x="657" y="755"/>
                  </a:lnTo>
                  <a:lnTo>
                    <a:pt x="658" y="755"/>
                  </a:lnTo>
                  <a:lnTo>
                    <a:pt x="660" y="754"/>
                  </a:lnTo>
                  <a:lnTo>
                    <a:pt x="662" y="754"/>
                  </a:lnTo>
                  <a:lnTo>
                    <a:pt x="664" y="754"/>
                  </a:lnTo>
                  <a:lnTo>
                    <a:pt x="666" y="752"/>
                  </a:lnTo>
                  <a:lnTo>
                    <a:pt x="668" y="752"/>
                  </a:lnTo>
                  <a:lnTo>
                    <a:pt x="670" y="751"/>
                  </a:lnTo>
                  <a:lnTo>
                    <a:pt x="672" y="750"/>
                  </a:lnTo>
                  <a:lnTo>
                    <a:pt x="676" y="748"/>
                  </a:lnTo>
                  <a:lnTo>
                    <a:pt x="677" y="747"/>
                  </a:lnTo>
                  <a:lnTo>
                    <a:pt x="677" y="746"/>
                  </a:lnTo>
                  <a:lnTo>
                    <a:pt x="678" y="743"/>
                  </a:lnTo>
                  <a:lnTo>
                    <a:pt x="679" y="742"/>
                  </a:lnTo>
                  <a:lnTo>
                    <a:pt x="680" y="741"/>
                  </a:lnTo>
                  <a:lnTo>
                    <a:pt x="681" y="739"/>
                  </a:lnTo>
                  <a:lnTo>
                    <a:pt x="682" y="738"/>
                  </a:lnTo>
                  <a:lnTo>
                    <a:pt x="684" y="736"/>
                  </a:lnTo>
                  <a:lnTo>
                    <a:pt x="684" y="734"/>
                  </a:lnTo>
                  <a:lnTo>
                    <a:pt x="684" y="733"/>
                  </a:lnTo>
                  <a:lnTo>
                    <a:pt x="684" y="732"/>
                  </a:lnTo>
                  <a:lnTo>
                    <a:pt x="684" y="731"/>
                  </a:lnTo>
                  <a:lnTo>
                    <a:pt x="681" y="730"/>
                  </a:lnTo>
                  <a:lnTo>
                    <a:pt x="680" y="727"/>
                  </a:lnTo>
                  <a:lnTo>
                    <a:pt x="678" y="725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25" name="KA"/>
            <p:cNvSpPr>
              <a:spLocks/>
            </p:cNvSpPr>
            <p:nvPr/>
          </p:nvSpPr>
          <p:spPr bwMode="auto">
            <a:xfrm>
              <a:off x="5982796" y="3918294"/>
              <a:ext cx="492795" cy="730110"/>
            </a:xfrm>
            <a:custGeom>
              <a:avLst/>
              <a:gdLst>
                <a:gd name="T0" fmla="*/ 35 w 1230"/>
                <a:gd name="T1" fmla="*/ 990 h 1887"/>
                <a:gd name="T2" fmla="*/ 53 w 1230"/>
                <a:gd name="T3" fmla="*/ 1030 h 1887"/>
                <a:gd name="T4" fmla="*/ 91 w 1230"/>
                <a:gd name="T5" fmla="*/ 1097 h 1887"/>
                <a:gd name="T6" fmla="*/ 93 w 1230"/>
                <a:gd name="T7" fmla="*/ 1141 h 1887"/>
                <a:gd name="T8" fmla="*/ 123 w 1230"/>
                <a:gd name="T9" fmla="*/ 1224 h 1887"/>
                <a:gd name="T10" fmla="*/ 164 w 1230"/>
                <a:gd name="T11" fmla="*/ 1345 h 1887"/>
                <a:gd name="T12" fmla="*/ 170 w 1230"/>
                <a:gd name="T13" fmla="*/ 1403 h 1887"/>
                <a:gd name="T14" fmla="*/ 247 w 1230"/>
                <a:gd name="T15" fmla="*/ 1565 h 1887"/>
                <a:gd name="T16" fmla="*/ 323 w 1230"/>
                <a:gd name="T17" fmla="*/ 1621 h 1887"/>
                <a:gd name="T18" fmla="*/ 386 w 1230"/>
                <a:gd name="T19" fmla="*/ 1699 h 1887"/>
                <a:gd name="T20" fmla="*/ 502 w 1230"/>
                <a:gd name="T21" fmla="*/ 1799 h 1887"/>
                <a:gd name="T22" fmla="*/ 637 w 1230"/>
                <a:gd name="T23" fmla="*/ 1863 h 1887"/>
                <a:gd name="T24" fmla="*/ 763 w 1230"/>
                <a:gd name="T25" fmla="*/ 1862 h 1887"/>
                <a:gd name="T26" fmla="*/ 895 w 1230"/>
                <a:gd name="T27" fmla="*/ 1837 h 1887"/>
                <a:gd name="T28" fmla="*/ 983 w 1230"/>
                <a:gd name="T29" fmla="*/ 1717 h 1887"/>
                <a:gd name="T30" fmla="*/ 962 w 1230"/>
                <a:gd name="T31" fmla="*/ 1637 h 1887"/>
                <a:gd name="T32" fmla="*/ 1086 w 1230"/>
                <a:gd name="T33" fmla="*/ 1542 h 1887"/>
                <a:gd name="T34" fmla="*/ 1204 w 1230"/>
                <a:gd name="T35" fmla="*/ 1490 h 1887"/>
                <a:gd name="T36" fmla="*/ 1186 w 1230"/>
                <a:gd name="T37" fmla="*/ 1354 h 1887"/>
                <a:gd name="T38" fmla="*/ 1082 w 1230"/>
                <a:gd name="T39" fmla="*/ 1265 h 1887"/>
                <a:gd name="T40" fmla="*/ 974 w 1230"/>
                <a:gd name="T41" fmla="*/ 1287 h 1887"/>
                <a:gd name="T42" fmla="*/ 875 w 1230"/>
                <a:gd name="T43" fmla="*/ 1267 h 1887"/>
                <a:gd name="T44" fmla="*/ 826 w 1230"/>
                <a:gd name="T45" fmla="*/ 1296 h 1887"/>
                <a:gd name="T46" fmla="*/ 790 w 1230"/>
                <a:gd name="T47" fmla="*/ 1211 h 1887"/>
                <a:gd name="T48" fmla="*/ 836 w 1230"/>
                <a:gd name="T49" fmla="*/ 1223 h 1887"/>
                <a:gd name="T50" fmla="*/ 911 w 1230"/>
                <a:gd name="T51" fmla="*/ 1232 h 1887"/>
                <a:gd name="T52" fmla="*/ 904 w 1230"/>
                <a:gd name="T53" fmla="*/ 1168 h 1887"/>
                <a:gd name="T54" fmla="*/ 820 w 1230"/>
                <a:gd name="T55" fmla="*/ 1168 h 1887"/>
                <a:gd name="T56" fmla="*/ 774 w 1230"/>
                <a:gd name="T57" fmla="*/ 1098 h 1887"/>
                <a:gd name="T58" fmla="*/ 762 w 1230"/>
                <a:gd name="T59" fmla="*/ 969 h 1887"/>
                <a:gd name="T60" fmla="*/ 799 w 1230"/>
                <a:gd name="T61" fmla="*/ 945 h 1887"/>
                <a:gd name="T62" fmla="*/ 805 w 1230"/>
                <a:gd name="T63" fmla="*/ 851 h 1887"/>
                <a:gd name="T64" fmla="*/ 822 w 1230"/>
                <a:gd name="T65" fmla="*/ 760 h 1887"/>
                <a:gd name="T66" fmla="*/ 941 w 1230"/>
                <a:gd name="T67" fmla="*/ 695 h 1887"/>
                <a:gd name="T68" fmla="*/ 885 w 1230"/>
                <a:gd name="T69" fmla="*/ 537 h 1887"/>
                <a:gd name="T70" fmla="*/ 928 w 1230"/>
                <a:gd name="T71" fmla="*/ 448 h 1887"/>
                <a:gd name="T72" fmla="*/ 982 w 1230"/>
                <a:gd name="T73" fmla="*/ 266 h 1887"/>
                <a:gd name="T74" fmla="*/ 956 w 1230"/>
                <a:gd name="T75" fmla="*/ 109 h 1887"/>
                <a:gd name="T76" fmla="*/ 898 w 1230"/>
                <a:gd name="T77" fmla="*/ 2 h 1887"/>
                <a:gd name="T78" fmla="*/ 794 w 1230"/>
                <a:gd name="T79" fmla="*/ 78 h 1887"/>
                <a:gd name="T80" fmla="*/ 741 w 1230"/>
                <a:gd name="T81" fmla="*/ 159 h 1887"/>
                <a:gd name="T82" fmla="*/ 695 w 1230"/>
                <a:gd name="T83" fmla="*/ 203 h 1887"/>
                <a:gd name="T84" fmla="*/ 623 w 1230"/>
                <a:gd name="T85" fmla="*/ 231 h 1887"/>
                <a:gd name="T86" fmla="*/ 620 w 1230"/>
                <a:gd name="T87" fmla="*/ 311 h 1887"/>
                <a:gd name="T88" fmla="*/ 562 w 1230"/>
                <a:gd name="T89" fmla="*/ 310 h 1887"/>
                <a:gd name="T90" fmla="*/ 487 w 1230"/>
                <a:gd name="T91" fmla="*/ 289 h 1887"/>
                <a:gd name="T92" fmla="*/ 413 w 1230"/>
                <a:gd name="T93" fmla="*/ 285 h 1887"/>
                <a:gd name="T94" fmla="*/ 432 w 1230"/>
                <a:gd name="T95" fmla="*/ 368 h 1887"/>
                <a:gd name="T96" fmla="*/ 389 w 1230"/>
                <a:gd name="T97" fmla="*/ 409 h 1887"/>
                <a:gd name="T98" fmla="*/ 326 w 1230"/>
                <a:gd name="T99" fmla="*/ 422 h 1887"/>
                <a:gd name="T100" fmla="*/ 274 w 1230"/>
                <a:gd name="T101" fmla="*/ 410 h 1887"/>
                <a:gd name="T102" fmla="*/ 230 w 1230"/>
                <a:gd name="T103" fmla="*/ 455 h 1887"/>
                <a:gd name="T104" fmla="*/ 168 w 1230"/>
                <a:gd name="T105" fmla="*/ 499 h 1887"/>
                <a:gd name="T106" fmla="*/ 106 w 1230"/>
                <a:gd name="T107" fmla="*/ 488 h 1887"/>
                <a:gd name="T108" fmla="*/ 58 w 1230"/>
                <a:gd name="T109" fmla="*/ 522 h 1887"/>
                <a:gd name="T110" fmla="*/ 67 w 1230"/>
                <a:gd name="T111" fmla="*/ 567 h 1887"/>
                <a:gd name="T112" fmla="*/ 115 w 1230"/>
                <a:gd name="T113" fmla="*/ 622 h 1887"/>
                <a:gd name="T114" fmla="*/ 109 w 1230"/>
                <a:gd name="T115" fmla="*/ 665 h 1887"/>
                <a:gd name="T116" fmla="*/ 69 w 1230"/>
                <a:gd name="T117" fmla="*/ 736 h 1887"/>
                <a:gd name="T118" fmla="*/ 13 w 1230"/>
                <a:gd name="T119" fmla="*/ 770 h 1887"/>
                <a:gd name="T120" fmla="*/ 55 w 1230"/>
                <a:gd name="T121" fmla="*/ 802 h 1887"/>
                <a:gd name="T122" fmla="*/ 56 w 1230"/>
                <a:gd name="T123" fmla="*/ 873 h 1887"/>
                <a:gd name="T124" fmla="*/ 58 w 1230"/>
                <a:gd name="T125" fmla="*/ 947 h 1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0" h="1887">
                  <a:moveTo>
                    <a:pt x="2" y="973"/>
                  </a:moveTo>
                  <a:lnTo>
                    <a:pt x="0" y="973"/>
                  </a:lnTo>
                  <a:lnTo>
                    <a:pt x="2" y="974"/>
                  </a:lnTo>
                  <a:lnTo>
                    <a:pt x="4" y="976"/>
                  </a:lnTo>
                  <a:lnTo>
                    <a:pt x="5" y="977"/>
                  </a:lnTo>
                  <a:lnTo>
                    <a:pt x="7" y="981"/>
                  </a:lnTo>
                  <a:lnTo>
                    <a:pt x="8" y="983"/>
                  </a:lnTo>
                  <a:lnTo>
                    <a:pt x="10" y="985"/>
                  </a:lnTo>
                  <a:lnTo>
                    <a:pt x="11" y="986"/>
                  </a:lnTo>
                  <a:lnTo>
                    <a:pt x="12" y="987"/>
                  </a:lnTo>
                  <a:lnTo>
                    <a:pt x="12" y="990"/>
                  </a:lnTo>
                  <a:lnTo>
                    <a:pt x="13" y="991"/>
                  </a:lnTo>
                  <a:lnTo>
                    <a:pt x="15" y="992"/>
                  </a:lnTo>
                  <a:lnTo>
                    <a:pt x="15" y="993"/>
                  </a:lnTo>
                  <a:lnTo>
                    <a:pt x="16" y="993"/>
                  </a:lnTo>
                  <a:lnTo>
                    <a:pt x="18" y="993"/>
                  </a:lnTo>
                  <a:lnTo>
                    <a:pt x="19" y="992"/>
                  </a:lnTo>
                  <a:lnTo>
                    <a:pt x="20" y="991"/>
                  </a:lnTo>
                  <a:lnTo>
                    <a:pt x="21" y="990"/>
                  </a:lnTo>
                  <a:lnTo>
                    <a:pt x="21" y="989"/>
                  </a:lnTo>
                  <a:lnTo>
                    <a:pt x="22" y="989"/>
                  </a:lnTo>
                  <a:lnTo>
                    <a:pt x="23" y="986"/>
                  </a:lnTo>
                  <a:lnTo>
                    <a:pt x="23" y="985"/>
                  </a:lnTo>
                  <a:lnTo>
                    <a:pt x="24" y="984"/>
                  </a:lnTo>
                  <a:lnTo>
                    <a:pt x="26" y="983"/>
                  </a:lnTo>
                  <a:lnTo>
                    <a:pt x="32" y="984"/>
                  </a:lnTo>
                  <a:lnTo>
                    <a:pt x="35" y="984"/>
                  </a:lnTo>
                  <a:lnTo>
                    <a:pt x="36" y="983"/>
                  </a:lnTo>
                  <a:lnTo>
                    <a:pt x="36" y="982"/>
                  </a:lnTo>
                  <a:lnTo>
                    <a:pt x="37" y="982"/>
                  </a:lnTo>
                  <a:lnTo>
                    <a:pt x="38" y="982"/>
                  </a:lnTo>
                  <a:lnTo>
                    <a:pt x="39" y="982"/>
                  </a:lnTo>
                  <a:lnTo>
                    <a:pt x="40" y="982"/>
                  </a:lnTo>
                  <a:lnTo>
                    <a:pt x="40" y="981"/>
                  </a:lnTo>
                  <a:lnTo>
                    <a:pt x="40" y="979"/>
                  </a:lnTo>
                  <a:lnTo>
                    <a:pt x="42" y="979"/>
                  </a:lnTo>
                  <a:lnTo>
                    <a:pt x="43" y="981"/>
                  </a:lnTo>
                  <a:lnTo>
                    <a:pt x="44" y="982"/>
                  </a:lnTo>
                  <a:lnTo>
                    <a:pt x="44" y="983"/>
                  </a:lnTo>
                  <a:lnTo>
                    <a:pt x="45" y="983"/>
                  </a:lnTo>
                  <a:lnTo>
                    <a:pt x="47" y="983"/>
                  </a:lnTo>
                  <a:lnTo>
                    <a:pt x="48" y="983"/>
                  </a:lnTo>
                  <a:lnTo>
                    <a:pt x="50" y="983"/>
                  </a:lnTo>
                  <a:lnTo>
                    <a:pt x="50" y="984"/>
                  </a:lnTo>
                  <a:lnTo>
                    <a:pt x="48" y="984"/>
                  </a:lnTo>
                  <a:lnTo>
                    <a:pt x="48" y="985"/>
                  </a:lnTo>
                  <a:lnTo>
                    <a:pt x="47" y="986"/>
                  </a:lnTo>
                  <a:lnTo>
                    <a:pt x="46" y="986"/>
                  </a:lnTo>
                  <a:lnTo>
                    <a:pt x="45" y="987"/>
                  </a:lnTo>
                  <a:lnTo>
                    <a:pt x="43" y="989"/>
                  </a:lnTo>
                  <a:lnTo>
                    <a:pt x="42" y="990"/>
                  </a:lnTo>
                  <a:lnTo>
                    <a:pt x="40" y="990"/>
                  </a:lnTo>
                  <a:lnTo>
                    <a:pt x="38" y="989"/>
                  </a:lnTo>
                  <a:lnTo>
                    <a:pt x="37" y="989"/>
                  </a:lnTo>
                  <a:lnTo>
                    <a:pt x="36" y="989"/>
                  </a:lnTo>
                  <a:lnTo>
                    <a:pt x="35" y="989"/>
                  </a:lnTo>
                  <a:lnTo>
                    <a:pt x="35" y="990"/>
                  </a:lnTo>
                  <a:lnTo>
                    <a:pt x="34" y="990"/>
                  </a:lnTo>
                  <a:lnTo>
                    <a:pt x="32" y="990"/>
                  </a:lnTo>
                  <a:lnTo>
                    <a:pt x="31" y="991"/>
                  </a:lnTo>
                  <a:lnTo>
                    <a:pt x="30" y="992"/>
                  </a:lnTo>
                  <a:lnTo>
                    <a:pt x="30" y="993"/>
                  </a:lnTo>
                  <a:lnTo>
                    <a:pt x="29" y="994"/>
                  </a:lnTo>
                  <a:lnTo>
                    <a:pt x="28" y="995"/>
                  </a:lnTo>
                  <a:lnTo>
                    <a:pt x="28" y="997"/>
                  </a:lnTo>
                  <a:lnTo>
                    <a:pt x="27" y="997"/>
                  </a:lnTo>
                  <a:lnTo>
                    <a:pt x="24" y="997"/>
                  </a:lnTo>
                  <a:lnTo>
                    <a:pt x="22" y="995"/>
                  </a:lnTo>
                  <a:lnTo>
                    <a:pt x="21" y="997"/>
                  </a:lnTo>
                  <a:lnTo>
                    <a:pt x="19" y="997"/>
                  </a:lnTo>
                  <a:lnTo>
                    <a:pt x="18" y="997"/>
                  </a:lnTo>
                  <a:lnTo>
                    <a:pt x="16" y="998"/>
                  </a:lnTo>
                  <a:lnTo>
                    <a:pt x="14" y="999"/>
                  </a:lnTo>
                  <a:lnTo>
                    <a:pt x="13" y="1000"/>
                  </a:lnTo>
                  <a:lnTo>
                    <a:pt x="12" y="1001"/>
                  </a:lnTo>
                  <a:lnTo>
                    <a:pt x="11" y="1001"/>
                  </a:lnTo>
                  <a:lnTo>
                    <a:pt x="10" y="1001"/>
                  </a:lnTo>
                  <a:lnTo>
                    <a:pt x="10" y="1003"/>
                  </a:lnTo>
                  <a:lnTo>
                    <a:pt x="10" y="1005"/>
                  </a:lnTo>
                  <a:lnTo>
                    <a:pt x="10" y="1006"/>
                  </a:lnTo>
                  <a:lnTo>
                    <a:pt x="11" y="1006"/>
                  </a:lnTo>
                  <a:lnTo>
                    <a:pt x="12" y="1006"/>
                  </a:lnTo>
                  <a:lnTo>
                    <a:pt x="13" y="1007"/>
                  </a:lnTo>
                  <a:lnTo>
                    <a:pt x="14" y="1009"/>
                  </a:lnTo>
                  <a:lnTo>
                    <a:pt x="15" y="1009"/>
                  </a:lnTo>
                  <a:lnTo>
                    <a:pt x="16" y="1010"/>
                  </a:lnTo>
                  <a:lnTo>
                    <a:pt x="20" y="1011"/>
                  </a:lnTo>
                  <a:lnTo>
                    <a:pt x="21" y="1013"/>
                  </a:lnTo>
                  <a:lnTo>
                    <a:pt x="22" y="1014"/>
                  </a:lnTo>
                  <a:lnTo>
                    <a:pt x="22" y="1015"/>
                  </a:lnTo>
                  <a:lnTo>
                    <a:pt x="22" y="1016"/>
                  </a:lnTo>
                  <a:lnTo>
                    <a:pt x="23" y="1016"/>
                  </a:lnTo>
                  <a:lnTo>
                    <a:pt x="24" y="1016"/>
                  </a:lnTo>
                  <a:lnTo>
                    <a:pt x="26" y="1015"/>
                  </a:lnTo>
                  <a:lnTo>
                    <a:pt x="27" y="1015"/>
                  </a:lnTo>
                  <a:lnTo>
                    <a:pt x="28" y="1016"/>
                  </a:lnTo>
                  <a:lnTo>
                    <a:pt x="29" y="1017"/>
                  </a:lnTo>
                  <a:lnTo>
                    <a:pt x="29" y="1018"/>
                  </a:lnTo>
                  <a:lnTo>
                    <a:pt x="30" y="1019"/>
                  </a:lnTo>
                  <a:lnTo>
                    <a:pt x="31" y="1021"/>
                  </a:lnTo>
                  <a:lnTo>
                    <a:pt x="34" y="1021"/>
                  </a:lnTo>
                  <a:lnTo>
                    <a:pt x="35" y="1021"/>
                  </a:lnTo>
                  <a:lnTo>
                    <a:pt x="37" y="1019"/>
                  </a:lnTo>
                  <a:lnTo>
                    <a:pt x="37" y="1018"/>
                  </a:lnTo>
                  <a:lnTo>
                    <a:pt x="39" y="1018"/>
                  </a:lnTo>
                  <a:lnTo>
                    <a:pt x="42" y="1018"/>
                  </a:lnTo>
                  <a:lnTo>
                    <a:pt x="43" y="1017"/>
                  </a:lnTo>
                  <a:lnTo>
                    <a:pt x="45" y="1018"/>
                  </a:lnTo>
                  <a:lnTo>
                    <a:pt x="46" y="1021"/>
                  </a:lnTo>
                  <a:lnTo>
                    <a:pt x="47" y="1022"/>
                  </a:lnTo>
                  <a:lnTo>
                    <a:pt x="50" y="1024"/>
                  </a:lnTo>
                  <a:lnTo>
                    <a:pt x="51" y="1025"/>
                  </a:lnTo>
                  <a:lnTo>
                    <a:pt x="52" y="1029"/>
                  </a:lnTo>
                  <a:lnTo>
                    <a:pt x="53" y="1030"/>
                  </a:lnTo>
                  <a:lnTo>
                    <a:pt x="54" y="1032"/>
                  </a:lnTo>
                  <a:lnTo>
                    <a:pt x="54" y="1035"/>
                  </a:lnTo>
                  <a:lnTo>
                    <a:pt x="54" y="1037"/>
                  </a:lnTo>
                  <a:lnTo>
                    <a:pt x="55" y="1039"/>
                  </a:lnTo>
                  <a:lnTo>
                    <a:pt x="55" y="1041"/>
                  </a:lnTo>
                  <a:lnTo>
                    <a:pt x="55" y="1043"/>
                  </a:lnTo>
                  <a:lnTo>
                    <a:pt x="55" y="1046"/>
                  </a:lnTo>
                  <a:lnTo>
                    <a:pt x="56" y="1047"/>
                  </a:lnTo>
                  <a:lnTo>
                    <a:pt x="56" y="1050"/>
                  </a:lnTo>
                  <a:lnTo>
                    <a:pt x="56" y="1053"/>
                  </a:lnTo>
                  <a:lnTo>
                    <a:pt x="56" y="1055"/>
                  </a:lnTo>
                  <a:lnTo>
                    <a:pt x="56" y="1057"/>
                  </a:lnTo>
                  <a:lnTo>
                    <a:pt x="58" y="1061"/>
                  </a:lnTo>
                  <a:lnTo>
                    <a:pt x="59" y="1065"/>
                  </a:lnTo>
                  <a:lnTo>
                    <a:pt x="59" y="1070"/>
                  </a:lnTo>
                  <a:lnTo>
                    <a:pt x="60" y="1071"/>
                  </a:lnTo>
                  <a:lnTo>
                    <a:pt x="61" y="1072"/>
                  </a:lnTo>
                  <a:lnTo>
                    <a:pt x="62" y="1074"/>
                  </a:lnTo>
                  <a:lnTo>
                    <a:pt x="63" y="1079"/>
                  </a:lnTo>
                  <a:lnTo>
                    <a:pt x="63" y="1080"/>
                  </a:lnTo>
                  <a:lnTo>
                    <a:pt x="64" y="1081"/>
                  </a:lnTo>
                  <a:lnTo>
                    <a:pt x="64" y="1083"/>
                  </a:lnTo>
                  <a:lnTo>
                    <a:pt x="66" y="1085"/>
                  </a:lnTo>
                  <a:lnTo>
                    <a:pt x="66" y="1087"/>
                  </a:lnTo>
                  <a:lnTo>
                    <a:pt x="67" y="1088"/>
                  </a:lnTo>
                  <a:lnTo>
                    <a:pt x="67" y="1089"/>
                  </a:lnTo>
                  <a:lnTo>
                    <a:pt x="68" y="1090"/>
                  </a:lnTo>
                  <a:lnTo>
                    <a:pt x="69" y="1090"/>
                  </a:lnTo>
                  <a:lnTo>
                    <a:pt x="70" y="1089"/>
                  </a:lnTo>
                  <a:lnTo>
                    <a:pt x="71" y="1087"/>
                  </a:lnTo>
                  <a:lnTo>
                    <a:pt x="75" y="1085"/>
                  </a:lnTo>
                  <a:lnTo>
                    <a:pt x="76" y="1082"/>
                  </a:lnTo>
                  <a:lnTo>
                    <a:pt x="77" y="1081"/>
                  </a:lnTo>
                  <a:lnTo>
                    <a:pt x="77" y="1080"/>
                  </a:lnTo>
                  <a:lnTo>
                    <a:pt x="78" y="1080"/>
                  </a:lnTo>
                  <a:lnTo>
                    <a:pt x="77" y="1078"/>
                  </a:lnTo>
                  <a:lnTo>
                    <a:pt x="77" y="1077"/>
                  </a:lnTo>
                  <a:lnTo>
                    <a:pt x="78" y="1075"/>
                  </a:lnTo>
                  <a:lnTo>
                    <a:pt x="78" y="1074"/>
                  </a:lnTo>
                  <a:lnTo>
                    <a:pt x="79" y="1073"/>
                  </a:lnTo>
                  <a:lnTo>
                    <a:pt x="80" y="1073"/>
                  </a:lnTo>
                  <a:lnTo>
                    <a:pt x="80" y="1074"/>
                  </a:lnTo>
                  <a:lnTo>
                    <a:pt x="80" y="1075"/>
                  </a:lnTo>
                  <a:lnTo>
                    <a:pt x="84" y="1079"/>
                  </a:lnTo>
                  <a:lnTo>
                    <a:pt x="84" y="1080"/>
                  </a:lnTo>
                  <a:lnTo>
                    <a:pt x="86" y="1083"/>
                  </a:lnTo>
                  <a:lnTo>
                    <a:pt x="86" y="1086"/>
                  </a:lnTo>
                  <a:lnTo>
                    <a:pt x="87" y="1086"/>
                  </a:lnTo>
                  <a:lnTo>
                    <a:pt x="88" y="1088"/>
                  </a:lnTo>
                  <a:lnTo>
                    <a:pt x="88" y="1089"/>
                  </a:lnTo>
                  <a:lnTo>
                    <a:pt x="88" y="1090"/>
                  </a:lnTo>
                  <a:lnTo>
                    <a:pt x="90" y="1091"/>
                  </a:lnTo>
                  <a:lnTo>
                    <a:pt x="90" y="1093"/>
                  </a:lnTo>
                  <a:lnTo>
                    <a:pt x="91" y="1094"/>
                  </a:lnTo>
                  <a:lnTo>
                    <a:pt x="90" y="1095"/>
                  </a:lnTo>
                  <a:lnTo>
                    <a:pt x="90" y="1096"/>
                  </a:lnTo>
                  <a:lnTo>
                    <a:pt x="91" y="1097"/>
                  </a:lnTo>
                  <a:lnTo>
                    <a:pt x="91" y="1098"/>
                  </a:lnTo>
                  <a:lnTo>
                    <a:pt x="93" y="1099"/>
                  </a:lnTo>
                  <a:lnTo>
                    <a:pt x="93" y="1101"/>
                  </a:lnTo>
                  <a:lnTo>
                    <a:pt x="93" y="1102"/>
                  </a:lnTo>
                  <a:lnTo>
                    <a:pt x="93" y="1103"/>
                  </a:lnTo>
                  <a:lnTo>
                    <a:pt x="94" y="1104"/>
                  </a:lnTo>
                  <a:lnTo>
                    <a:pt x="95" y="1104"/>
                  </a:lnTo>
                  <a:lnTo>
                    <a:pt x="95" y="1105"/>
                  </a:lnTo>
                  <a:lnTo>
                    <a:pt x="96" y="1105"/>
                  </a:lnTo>
                  <a:lnTo>
                    <a:pt x="96" y="1106"/>
                  </a:lnTo>
                  <a:lnTo>
                    <a:pt x="96" y="1107"/>
                  </a:lnTo>
                  <a:lnTo>
                    <a:pt x="96" y="1109"/>
                  </a:lnTo>
                  <a:lnTo>
                    <a:pt x="95" y="1109"/>
                  </a:lnTo>
                  <a:lnTo>
                    <a:pt x="94" y="1110"/>
                  </a:lnTo>
                  <a:lnTo>
                    <a:pt x="92" y="1109"/>
                  </a:lnTo>
                  <a:lnTo>
                    <a:pt x="90" y="1107"/>
                  </a:lnTo>
                  <a:lnTo>
                    <a:pt x="90" y="1106"/>
                  </a:lnTo>
                  <a:lnTo>
                    <a:pt x="88" y="1104"/>
                  </a:lnTo>
                  <a:lnTo>
                    <a:pt x="87" y="1103"/>
                  </a:lnTo>
                  <a:lnTo>
                    <a:pt x="86" y="1102"/>
                  </a:lnTo>
                  <a:lnTo>
                    <a:pt x="85" y="1101"/>
                  </a:lnTo>
                  <a:lnTo>
                    <a:pt x="84" y="1099"/>
                  </a:lnTo>
                  <a:lnTo>
                    <a:pt x="83" y="1097"/>
                  </a:lnTo>
                  <a:lnTo>
                    <a:pt x="83" y="1095"/>
                  </a:lnTo>
                  <a:lnTo>
                    <a:pt x="82" y="1094"/>
                  </a:lnTo>
                  <a:lnTo>
                    <a:pt x="83" y="1091"/>
                  </a:lnTo>
                  <a:lnTo>
                    <a:pt x="82" y="1090"/>
                  </a:lnTo>
                  <a:lnTo>
                    <a:pt x="82" y="1088"/>
                  </a:lnTo>
                  <a:lnTo>
                    <a:pt x="80" y="1087"/>
                  </a:lnTo>
                  <a:lnTo>
                    <a:pt x="79" y="1087"/>
                  </a:lnTo>
                  <a:lnTo>
                    <a:pt x="78" y="1087"/>
                  </a:lnTo>
                  <a:lnTo>
                    <a:pt x="77" y="1088"/>
                  </a:lnTo>
                  <a:lnTo>
                    <a:pt x="77" y="1089"/>
                  </a:lnTo>
                  <a:lnTo>
                    <a:pt x="77" y="1090"/>
                  </a:lnTo>
                  <a:lnTo>
                    <a:pt x="77" y="1093"/>
                  </a:lnTo>
                  <a:lnTo>
                    <a:pt x="77" y="1095"/>
                  </a:lnTo>
                  <a:lnTo>
                    <a:pt x="77" y="1097"/>
                  </a:lnTo>
                  <a:lnTo>
                    <a:pt x="78" y="1099"/>
                  </a:lnTo>
                  <a:lnTo>
                    <a:pt x="79" y="1102"/>
                  </a:lnTo>
                  <a:lnTo>
                    <a:pt x="80" y="1103"/>
                  </a:lnTo>
                  <a:lnTo>
                    <a:pt x="82" y="1105"/>
                  </a:lnTo>
                  <a:lnTo>
                    <a:pt x="83" y="1107"/>
                  </a:lnTo>
                  <a:lnTo>
                    <a:pt x="84" y="1109"/>
                  </a:lnTo>
                  <a:lnTo>
                    <a:pt x="86" y="1110"/>
                  </a:lnTo>
                  <a:lnTo>
                    <a:pt x="86" y="1113"/>
                  </a:lnTo>
                  <a:lnTo>
                    <a:pt x="86" y="1115"/>
                  </a:lnTo>
                  <a:lnTo>
                    <a:pt x="87" y="1118"/>
                  </a:lnTo>
                  <a:lnTo>
                    <a:pt x="87" y="1119"/>
                  </a:lnTo>
                  <a:lnTo>
                    <a:pt x="87" y="1121"/>
                  </a:lnTo>
                  <a:lnTo>
                    <a:pt x="87" y="1122"/>
                  </a:lnTo>
                  <a:lnTo>
                    <a:pt x="90" y="1127"/>
                  </a:lnTo>
                  <a:lnTo>
                    <a:pt x="90" y="1129"/>
                  </a:lnTo>
                  <a:lnTo>
                    <a:pt x="90" y="1131"/>
                  </a:lnTo>
                  <a:lnTo>
                    <a:pt x="91" y="1135"/>
                  </a:lnTo>
                  <a:lnTo>
                    <a:pt x="92" y="1137"/>
                  </a:lnTo>
                  <a:lnTo>
                    <a:pt x="93" y="1139"/>
                  </a:lnTo>
                  <a:lnTo>
                    <a:pt x="93" y="1141"/>
                  </a:lnTo>
                  <a:lnTo>
                    <a:pt x="94" y="1143"/>
                  </a:lnTo>
                  <a:lnTo>
                    <a:pt x="95" y="1146"/>
                  </a:lnTo>
                  <a:lnTo>
                    <a:pt x="96" y="1147"/>
                  </a:lnTo>
                  <a:lnTo>
                    <a:pt x="96" y="1150"/>
                  </a:lnTo>
                  <a:lnTo>
                    <a:pt x="99" y="1151"/>
                  </a:lnTo>
                  <a:lnTo>
                    <a:pt x="99" y="1152"/>
                  </a:lnTo>
                  <a:lnTo>
                    <a:pt x="100" y="1153"/>
                  </a:lnTo>
                  <a:lnTo>
                    <a:pt x="101" y="1153"/>
                  </a:lnTo>
                  <a:lnTo>
                    <a:pt x="104" y="1155"/>
                  </a:lnTo>
                  <a:lnTo>
                    <a:pt x="106" y="1155"/>
                  </a:lnTo>
                  <a:lnTo>
                    <a:pt x="107" y="1157"/>
                  </a:lnTo>
                  <a:lnTo>
                    <a:pt x="109" y="1157"/>
                  </a:lnTo>
                  <a:lnTo>
                    <a:pt x="110" y="1158"/>
                  </a:lnTo>
                  <a:lnTo>
                    <a:pt x="111" y="1159"/>
                  </a:lnTo>
                  <a:lnTo>
                    <a:pt x="112" y="1160"/>
                  </a:lnTo>
                  <a:lnTo>
                    <a:pt x="116" y="1162"/>
                  </a:lnTo>
                  <a:lnTo>
                    <a:pt x="117" y="1163"/>
                  </a:lnTo>
                  <a:lnTo>
                    <a:pt x="116" y="1163"/>
                  </a:lnTo>
                  <a:lnTo>
                    <a:pt x="114" y="1163"/>
                  </a:lnTo>
                  <a:lnTo>
                    <a:pt x="110" y="1162"/>
                  </a:lnTo>
                  <a:lnTo>
                    <a:pt x="108" y="1161"/>
                  </a:lnTo>
                  <a:lnTo>
                    <a:pt x="106" y="1161"/>
                  </a:lnTo>
                  <a:lnTo>
                    <a:pt x="103" y="1160"/>
                  </a:lnTo>
                  <a:lnTo>
                    <a:pt x="102" y="1160"/>
                  </a:lnTo>
                  <a:lnTo>
                    <a:pt x="101" y="1158"/>
                  </a:lnTo>
                  <a:lnTo>
                    <a:pt x="100" y="1157"/>
                  </a:lnTo>
                  <a:lnTo>
                    <a:pt x="99" y="1157"/>
                  </a:lnTo>
                  <a:lnTo>
                    <a:pt x="98" y="1158"/>
                  </a:lnTo>
                  <a:lnTo>
                    <a:pt x="98" y="1159"/>
                  </a:lnTo>
                  <a:lnTo>
                    <a:pt x="99" y="1161"/>
                  </a:lnTo>
                  <a:lnTo>
                    <a:pt x="100" y="1163"/>
                  </a:lnTo>
                  <a:lnTo>
                    <a:pt x="101" y="1167"/>
                  </a:lnTo>
                  <a:lnTo>
                    <a:pt x="102" y="1169"/>
                  </a:lnTo>
                  <a:lnTo>
                    <a:pt x="104" y="1174"/>
                  </a:lnTo>
                  <a:lnTo>
                    <a:pt x="106" y="1176"/>
                  </a:lnTo>
                  <a:lnTo>
                    <a:pt x="107" y="1178"/>
                  </a:lnTo>
                  <a:lnTo>
                    <a:pt x="108" y="1179"/>
                  </a:lnTo>
                  <a:lnTo>
                    <a:pt x="109" y="1182"/>
                  </a:lnTo>
                  <a:lnTo>
                    <a:pt x="110" y="1183"/>
                  </a:lnTo>
                  <a:lnTo>
                    <a:pt x="110" y="1184"/>
                  </a:lnTo>
                  <a:lnTo>
                    <a:pt x="111" y="1186"/>
                  </a:lnTo>
                  <a:lnTo>
                    <a:pt x="111" y="1189"/>
                  </a:lnTo>
                  <a:lnTo>
                    <a:pt x="112" y="1191"/>
                  </a:lnTo>
                  <a:lnTo>
                    <a:pt x="112" y="1193"/>
                  </a:lnTo>
                  <a:lnTo>
                    <a:pt x="112" y="1198"/>
                  </a:lnTo>
                  <a:lnTo>
                    <a:pt x="112" y="1201"/>
                  </a:lnTo>
                  <a:lnTo>
                    <a:pt x="114" y="1203"/>
                  </a:lnTo>
                  <a:lnTo>
                    <a:pt x="114" y="1206"/>
                  </a:lnTo>
                  <a:lnTo>
                    <a:pt x="114" y="1207"/>
                  </a:lnTo>
                  <a:lnTo>
                    <a:pt x="115" y="1209"/>
                  </a:lnTo>
                  <a:lnTo>
                    <a:pt x="115" y="1210"/>
                  </a:lnTo>
                  <a:lnTo>
                    <a:pt x="117" y="1213"/>
                  </a:lnTo>
                  <a:lnTo>
                    <a:pt x="118" y="1214"/>
                  </a:lnTo>
                  <a:lnTo>
                    <a:pt x="120" y="1217"/>
                  </a:lnTo>
                  <a:lnTo>
                    <a:pt x="122" y="1218"/>
                  </a:lnTo>
                  <a:lnTo>
                    <a:pt x="122" y="1222"/>
                  </a:lnTo>
                  <a:lnTo>
                    <a:pt x="123" y="1224"/>
                  </a:lnTo>
                  <a:lnTo>
                    <a:pt x="123" y="1227"/>
                  </a:lnTo>
                  <a:lnTo>
                    <a:pt x="123" y="1230"/>
                  </a:lnTo>
                  <a:lnTo>
                    <a:pt x="124" y="1233"/>
                  </a:lnTo>
                  <a:lnTo>
                    <a:pt x="127" y="1238"/>
                  </a:lnTo>
                  <a:lnTo>
                    <a:pt x="130" y="1239"/>
                  </a:lnTo>
                  <a:lnTo>
                    <a:pt x="131" y="1241"/>
                  </a:lnTo>
                  <a:lnTo>
                    <a:pt x="133" y="1243"/>
                  </a:lnTo>
                  <a:lnTo>
                    <a:pt x="134" y="1245"/>
                  </a:lnTo>
                  <a:lnTo>
                    <a:pt x="135" y="1247"/>
                  </a:lnTo>
                  <a:lnTo>
                    <a:pt x="136" y="1248"/>
                  </a:lnTo>
                  <a:lnTo>
                    <a:pt x="138" y="1251"/>
                  </a:lnTo>
                  <a:lnTo>
                    <a:pt x="140" y="1254"/>
                  </a:lnTo>
                  <a:lnTo>
                    <a:pt x="140" y="1255"/>
                  </a:lnTo>
                  <a:lnTo>
                    <a:pt x="141" y="1256"/>
                  </a:lnTo>
                  <a:lnTo>
                    <a:pt x="141" y="1257"/>
                  </a:lnTo>
                  <a:lnTo>
                    <a:pt x="143" y="1259"/>
                  </a:lnTo>
                  <a:lnTo>
                    <a:pt x="143" y="1261"/>
                  </a:lnTo>
                  <a:lnTo>
                    <a:pt x="144" y="1264"/>
                  </a:lnTo>
                  <a:lnTo>
                    <a:pt x="144" y="1266"/>
                  </a:lnTo>
                  <a:lnTo>
                    <a:pt x="146" y="1270"/>
                  </a:lnTo>
                  <a:lnTo>
                    <a:pt x="147" y="1272"/>
                  </a:lnTo>
                  <a:lnTo>
                    <a:pt x="147" y="1273"/>
                  </a:lnTo>
                  <a:lnTo>
                    <a:pt x="147" y="1275"/>
                  </a:lnTo>
                  <a:lnTo>
                    <a:pt x="148" y="1278"/>
                  </a:lnTo>
                  <a:lnTo>
                    <a:pt x="148" y="1279"/>
                  </a:lnTo>
                  <a:lnTo>
                    <a:pt x="149" y="1282"/>
                  </a:lnTo>
                  <a:lnTo>
                    <a:pt x="149" y="1287"/>
                  </a:lnTo>
                  <a:lnTo>
                    <a:pt x="150" y="1288"/>
                  </a:lnTo>
                  <a:lnTo>
                    <a:pt x="151" y="1290"/>
                  </a:lnTo>
                  <a:lnTo>
                    <a:pt x="151" y="1291"/>
                  </a:lnTo>
                  <a:lnTo>
                    <a:pt x="152" y="1294"/>
                  </a:lnTo>
                  <a:lnTo>
                    <a:pt x="152" y="1295"/>
                  </a:lnTo>
                  <a:lnTo>
                    <a:pt x="152" y="1297"/>
                  </a:lnTo>
                  <a:lnTo>
                    <a:pt x="151" y="1298"/>
                  </a:lnTo>
                  <a:lnTo>
                    <a:pt x="152" y="1301"/>
                  </a:lnTo>
                  <a:lnTo>
                    <a:pt x="152" y="1302"/>
                  </a:lnTo>
                  <a:lnTo>
                    <a:pt x="152" y="1303"/>
                  </a:lnTo>
                  <a:lnTo>
                    <a:pt x="154" y="1304"/>
                  </a:lnTo>
                  <a:lnTo>
                    <a:pt x="154" y="1306"/>
                  </a:lnTo>
                  <a:lnTo>
                    <a:pt x="155" y="1309"/>
                  </a:lnTo>
                  <a:lnTo>
                    <a:pt x="155" y="1311"/>
                  </a:lnTo>
                  <a:lnTo>
                    <a:pt x="156" y="1313"/>
                  </a:lnTo>
                  <a:lnTo>
                    <a:pt x="156" y="1314"/>
                  </a:lnTo>
                  <a:lnTo>
                    <a:pt x="157" y="1318"/>
                  </a:lnTo>
                  <a:lnTo>
                    <a:pt x="157" y="1320"/>
                  </a:lnTo>
                  <a:lnTo>
                    <a:pt x="158" y="1322"/>
                  </a:lnTo>
                  <a:lnTo>
                    <a:pt x="159" y="1325"/>
                  </a:lnTo>
                  <a:lnTo>
                    <a:pt x="159" y="1326"/>
                  </a:lnTo>
                  <a:lnTo>
                    <a:pt x="160" y="1328"/>
                  </a:lnTo>
                  <a:lnTo>
                    <a:pt x="160" y="1329"/>
                  </a:lnTo>
                  <a:lnTo>
                    <a:pt x="160" y="1331"/>
                  </a:lnTo>
                  <a:lnTo>
                    <a:pt x="162" y="1334"/>
                  </a:lnTo>
                  <a:lnTo>
                    <a:pt x="162" y="1336"/>
                  </a:lnTo>
                  <a:lnTo>
                    <a:pt x="162" y="1337"/>
                  </a:lnTo>
                  <a:lnTo>
                    <a:pt x="163" y="1339"/>
                  </a:lnTo>
                  <a:lnTo>
                    <a:pt x="164" y="1344"/>
                  </a:lnTo>
                  <a:lnTo>
                    <a:pt x="164" y="1345"/>
                  </a:lnTo>
                  <a:lnTo>
                    <a:pt x="165" y="1350"/>
                  </a:lnTo>
                  <a:lnTo>
                    <a:pt x="165" y="1351"/>
                  </a:lnTo>
                  <a:lnTo>
                    <a:pt x="165" y="1354"/>
                  </a:lnTo>
                  <a:lnTo>
                    <a:pt x="165" y="1357"/>
                  </a:lnTo>
                  <a:lnTo>
                    <a:pt x="166" y="1359"/>
                  </a:lnTo>
                  <a:lnTo>
                    <a:pt x="166" y="1361"/>
                  </a:lnTo>
                  <a:lnTo>
                    <a:pt x="166" y="1362"/>
                  </a:lnTo>
                  <a:lnTo>
                    <a:pt x="165" y="1363"/>
                  </a:lnTo>
                  <a:lnTo>
                    <a:pt x="165" y="1368"/>
                  </a:lnTo>
                  <a:lnTo>
                    <a:pt x="166" y="1371"/>
                  </a:lnTo>
                  <a:lnTo>
                    <a:pt x="167" y="1373"/>
                  </a:lnTo>
                  <a:lnTo>
                    <a:pt x="168" y="1373"/>
                  </a:lnTo>
                  <a:lnTo>
                    <a:pt x="171" y="1373"/>
                  </a:lnTo>
                  <a:lnTo>
                    <a:pt x="172" y="1373"/>
                  </a:lnTo>
                  <a:lnTo>
                    <a:pt x="173" y="1374"/>
                  </a:lnTo>
                  <a:lnTo>
                    <a:pt x="173" y="1375"/>
                  </a:lnTo>
                  <a:lnTo>
                    <a:pt x="173" y="1376"/>
                  </a:lnTo>
                  <a:lnTo>
                    <a:pt x="173" y="1377"/>
                  </a:lnTo>
                  <a:lnTo>
                    <a:pt x="173" y="1378"/>
                  </a:lnTo>
                  <a:lnTo>
                    <a:pt x="175" y="1378"/>
                  </a:lnTo>
                  <a:lnTo>
                    <a:pt x="176" y="1377"/>
                  </a:lnTo>
                  <a:lnTo>
                    <a:pt x="179" y="1378"/>
                  </a:lnTo>
                  <a:lnTo>
                    <a:pt x="180" y="1379"/>
                  </a:lnTo>
                  <a:lnTo>
                    <a:pt x="182" y="1379"/>
                  </a:lnTo>
                  <a:lnTo>
                    <a:pt x="183" y="1381"/>
                  </a:lnTo>
                  <a:lnTo>
                    <a:pt x="184" y="1381"/>
                  </a:lnTo>
                  <a:lnTo>
                    <a:pt x="184" y="1382"/>
                  </a:lnTo>
                  <a:lnTo>
                    <a:pt x="183" y="1384"/>
                  </a:lnTo>
                  <a:lnTo>
                    <a:pt x="182" y="1384"/>
                  </a:lnTo>
                  <a:lnTo>
                    <a:pt x="182" y="1385"/>
                  </a:lnTo>
                  <a:lnTo>
                    <a:pt x="181" y="1387"/>
                  </a:lnTo>
                  <a:lnTo>
                    <a:pt x="181" y="1389"/>
                  </a:lnTo>
                  <a:lnTo>
                    <a:pt x="181" y="1390"/>
                  </a:lnTo>
                  <a:lnTo>
                    <a:pt x="181" y="1391"/>
                  </a:lnTo>
                  <a:lnTo>
                    <a:pt x="182" y="1393"/>
                  </a:lnTo>
                  <a:lnTo>
                    <a:pt x="182" y="1394"/>
                  </a:lnTo>
                  <a:lnTo>
                    <a:pt x="182" y="1395"/>
                  </a:lnTo>
                  <a:lnTo>
                    <a:pt x="182" y="1397"/>
                  </a:lnTo>
                  <a:lnTo>
                    <a:pt x="182" y="1398"/>
                  </a:lnTo>
                  <a:lnTo>
                    <a:pt x="181" y="1399"/>
                  </a:lnTo>
                  <a:lnTo>
                    <a:pt x="180" y="1399"/>
                  </a:lnTo>
                  <a:lnTo>
                    <a:pt x="179" y="1399"/>
                  </a:lnTo>
                  <a:lnTo>
                    <a:pt x="179" y="1398"/>
                  </a:lnTo>
                  <a:lnTo>
                    <a:pt x="178" y="1395"/>
                  </a:lnTo>
                  <a:lnTo>
                    <a:pt x="178" y="1394"/>
                  </a:lnTo>
                  <a:lnTo>
                    <a:pt x="176" y="1393"/>
                  </a:lnTo>
                  <a:lnTo>
                    <a:pt x="174" y="1392"/>
                  </a:lnTo>
                  <a:lnTo>
                    <a:pt x="172" y="1390"/>
                  </a:lnTo>
                  <a:lnTo>
                    <a:pt x="171" y="1391"/>
                  </a:lnTo>
                  <a:lnTo>
                    <a:pt x="171" y="1392"/>
                  </a:lnTo>
                  <a:lnTo>
                    <a:pt x="170" y="1393"/>
                  </a:lnTo>
                  <a:lnTo>
                    <a:pt x="171" y="1394"/>
                  </a:lnTo>
                  <a:lnTo>
                    <a:pt x="171" y="1395"/>
                  </a:lnTo>
                  <a:lnTo>
                    <a:pt x="170" y="1397"/>
                  </a:lnTo>
                  <a:lnTo>
                    <a:pt x="170" y="1399"/>
                  </a:lnTo>
                  <a:lnTo>
                    <a:pt x="170" y="1401"/>
                  </a:lnTo>
                  <a:lnTo>
                    <a:pt x="170" y="1403"/>
                  </a:lnTo>
                  <a:lnTo>
                    <a:pt x="171" y="1406"/>
                  </a:lnTo>
                  <a:lnTo>
                    <a:pt x="171" y="1407"/>
                  </a:lnTo>
                  <a:lnTo>
                    <a:pt x="171" y="1409"/>
                  </a:lnTo>
                  <a:lnTo>
                    <a:pt x="171" y="1410"/>
                  </a:lnTo>
                  <a:lnTo>
                    <a:pt x="172" y="1417"/>
                  </a:lnTo>
                  <a:lnTo>
                    <a:pt x="173" y="1418"/>
                  </a:lnTo>
                  <a:lnTo>
                    <a:pt x="174" y="1423"/>
                  </a:lnTo>
                  <a:lnTo>
                    <a:pt x="175" y="1427"/>
                  </a:lnTo>
                  <a:lnTo>
                    <a:pt x="176" y="1429"/>
                  </a:lnTo>
                  <a:lnTo>
                    <a:pt x="176" y="1430"/>
                  </a:lnTo>
                  <a:lnTo>
                    <a:pt x="178" y="1431"/>
                  </a:lnTo>
                  <a:lnTo>
                    <a:pt x="179" y="1432"/>
                  </a:lnTo>
                  <a:lnTo>
                    <a:pt x="179" y="1434"/>
                  </a:lnTo>
                  <a:lnTo>
                    <a:pt x="179" y="1437"/>
                  </a:lnTo>
                  <a:lnTo>
                    <a:pt x="179" y="1440"/>
                  </a:lnTo>
                  <a:lnTo>
                    <a:pt x="180" y="1442"/>
                  </a:lnTo>
                  <a:lnTo>
                    <a:pt x="180" y="1445"/>
                  </a:lnTo>
                  <a:lnTo>
                    <a:pt x="181" y="1446"/>
                  </a:lnTo>
                  <a:lnTo>
                    <a:pt x="182" y="1448"/>
                  </a:lnTo>
                  <a:lnTo>
                    <a:pt x="182" y="1449"/>
                  </a:lnTo>
                  <a:lnTo>
                    <a:pt x="183" y="1450"/>
                  </a:lnTo>
                  <a:lnTo>
                    <a:pt x="194" y="1478"/>
                  </a:lnTo>
                  <a:lnTo>
                    <a:pt x="195" y="1488"/>
                  </a:lnTo>
                  <a:lnTo>
                    <a:pt x="196" y="1496"/>
                  </a:lnTo>
                  <a:lnTo>
                    <a:pt x="197" y="1505"/>
                  </a:lnTo>
                  <a:lnTo>
                    <a:pt x="198" y="1512"/>
                  </a:lnTo>
                  <a:lnTo>
                    <a:pt x="199" y="1520"/>
                  </a:lnTo>
                  <a:lnTo>
                    <a:pt x="200" y="1525"/>
                  </a:lnTo>
                  <a:lnTo>
                    <a:pt x="203" y="1530"/>
                  </a:lnTo>
                  <a:lnTo>
                    <a:pt x="205" y="1535"/>
                  </a:lnTo>
                  <a:lnTo>
                    <a:pt x="206" y="1539"/>
                  </a:lnTo>
                  <a:lnTo>
                    <a:pt x="207" y="1543"/>
                  </a:lnTo>
                  <a:lnTo>
                    <a:pt x="208" y="1544"/>
                  </a:lnTo>
                  <a:lnTo>
                    <a:pt x="212" y="1546"/>
                  </a:lnTo>
                  <a:lnTo>
                    <a:pt x="214" y="1546"/>
                  </a:lnTo>
                  <a:lnTo>
                    <a:pt x="216" y="1546"/>
                  </a:lnTo>
                  <a:lnTo>
                    <a:pt x="219" y="1545"/>
                  </a:lnTo>
                  <a:lnTo>
                    <a:pt x="220" y="1544"/>
                  </a:lnTo>
                  <a:lnTo>
                    <a:pt x="222" y="1543"/>
                  </a:lnTo>
                  <a:lnTo>
                    <a:pt x="223" y="1544"/>
                  </a:lnTo>
                  <a:lnTo>
                    <a:pt x="223" y="1546"/>
                  </a:lnTo>
                  <a:lnTo>
                    <a:pt x="222" y="1549"/>
                  </a:lnTo>
                  <a:lnTo>
                    <a:pt x="221" y="1551"/>
                  </a:lnTo>
                  <a:lnTo>
                    <a:pt x="219" y="1551"/>
                  </a:lnTo>
                  <a:lnTo>
                    <a:pt x="215" y="1552"/>
                  </a:lnTo>
                  <a:lnTo>
                    <a:pt x="213" y="1553"/>
                  </a:lnTo>
                  <a:lnTo>
                    <a:pt x="211" y="1554"/>
                  </a:lnTo>
                  <a:lnTo>
                    <a:pt x="212" y="1558"/>
                  </a:lnTo>
                  <a:lnTo>
                    <a:pt x="213" y="1561"/>
                  </a:lnTo>
                  <a:lnTo>
                    <a:pt x="214" y="1566"/>
                  </a:lnTo>
                  <a:lnTo>
                    <a:pt x="215" y="1571"/>
                  </a:lnTo>
                  <a:lnTo>
                    <a:pt x="220" y="1573"/>
                  </a:lnTo>
                  <a:lnTo>
                    <a:pt x="227" y="1571"/>
                  </a:lnTo>
                  <a:lnTo>
                    <a:pt x="230" y="1570"/>
                  </a:lnTo>
                  <a:lnTo>
                    <a:pt x="238" y="1568"/>
                  </a:lnTo>
                  <a:lnTo>
                    <a:pt x="242" y="1566"/>
                  </a:lnTo>
                  <a:lnTo>
                    <a:pt x="247" y="1565"/>
                  </a:lnTo>
                  <a:lnTo>
                    <a:pt x="253" y="1563"/>
                  </a:lnTo>
                  <a:lnTo>
                    <a:pt x="255" y="1562"/>
                  </a:lnTo>
                  <a:lnTo>
                    <a:pt x="258" y="1563"/>
                  </a:lnTo>
                  <a:lnTo>
                    <a:pt x="259" y="1565"/>
                  </a:lnTo>
                  <a:lnTo>
                    <a:pt x="259" y="1566"/>
                  </a:lnTo>
                  <a:lnTo>
                    <a:pt x="259" y="1570"/>
                  </a:lnTo>
                  <a:lnTo>
                    <a:pt x="258" y="1574"/>
                  </a:lnTo>
                  <a:lnTo>
                    <a:pt x="256" y="1575"/>
                  </a:lnTo>
                  <a:lnTo>
                    <a:pt x="256" y="1577"/>
                  </a:lnTo>
                  <a:lnTo>
                    <a:pt x="258" y="1578"/>
                  </a:lnTo>
                  <a:lnTo>
                    <a:pt x="258" y="1581"/>
                  </a:lnTo>
                  <a:lnTo>
                    <a:pt x="260" y="1581"/>
                  </a:lnTo>
                  <a:lnTo>
                    <a:pt x="263" y="1581"/>
                  </a:lnTo>
                  <a:lnTo>
                    <a:pt x="266" y="1581"/>
                  </a:lnTo>
                  <a:lnTo>
                    <a:pt x="268" y="1581"/>
                  </a:lnTo>
                  <a:lnTo>
                    <a:pt x="269" y="1582"/>
                  </a:lnTo>
                  <a:lnTo>
                    <a:pt x="269" y="1586"/>
                  </a:lnTo>
                  <a:lnTo>
                    <a:pt x="270" y="1589"/>
                  </a:lnTo>
                  <a:lnTo>
                    <a:pt x="270" y="1591"/>
                  </a:lnTo>
                  <a:lnTo>
                    <a:pt x="270" y="1593"/>
                  </a:lnTo>
                  <a:lnTo>
                    <a:pt x="271" y="1597"/>
                  </a:lnTo>
                  <a:lnTo>
                    <a:pt x="272" y="1599"/>
                  </a:lnTo>
                  <a:lnTo>
                    <a:pt x="274" y="1600"/>
                  </a:lnTo>
                  <a:lnTo>
                    <a:pt x="276" y="1600"/>
                  </a:lnTo>
                  <a:lnTo>
                    <a:pt x="277" y="1598"/>
                  </a:lnTo>
                  <a:lnTo>
                    <a:pt x="278" y="1594"/>
                  </a:lnTo>
                  <a:lnTo>
                    <a:pt x="279" y="1591"/>
                  </a:lnTo>
                  <a:lnTo>
                    <a:pt x="282" y="1589"/>
                  </a:lnTo>
                  <a:lnTo>
                    <a:pt x="284" y="1589"/>
                  </a:lnTo>
                  <a:lnTo>
                    <a:pt x="286" y="1587"/>
                  </a:lnTo>
                  <a:lnTo>
                    <a:pt x="290" y="1587"/>
                  </a:lnTo>
                  <a:lnTo>
                    <a:pt x="292" y="1589"/>
                  </a:lnTo>
                  <a:lnTo>
                    <a:pt x="293" y="1591"/>
                  </a:lnTo>
                  <a:lnTo>
                    <a:pt x="294" y="1592"/>
                  </a:lnTo>
                  <a:lnTo>
                    <a:pt x="294" y="1595"/>
                  </a:lnTo>
                  <a:lnTo>
                    <a:pt x="294" y="1598"/>
                  </a:lnTo>
                  <a:lnTo>
                    <a:pt x="294" y="1600"/>
                  </a:lnTo>
                  <a:lnTo>
                    <a:pt x="294" y="1606"/>
                  </a:lnTo>
                  <a:lnTo>
                    <a:pt x="294" y="1607"/>
                  </a:lnTo>
                  <a:lnTo>
                    <a:pt x="296" y="1608"/>
                  </a:lnTo>
                  <a:lnTo>
                    <a:pt x="299" y="1607"/>
                  </a:lnTo>
                  <a:lnTo>
                    <a:pt x="302" y="1606"/>
                  </a:lnTo>
                  <a:lnTo>
                    <a:pt x="304" y="1605"/>
                  </a:lnTo>
                  <a:lnTo>
                    <a:pt x="307" y="1605"/>
                  </a:lnTo>
                  <a:lnTo>
                    <a:pt x="308" y="1606"/>
                  </a:lnTo>
                  <a:lnTo>
                    <a:pt x="309" y="1608"/>
                  </a:lnTo>
                  <a:lnTo>
                    <a:pt x="309" y="1610"/>
                  </a:lnTo>
                  <a:lnTo>
                    <a:pt x="310" y="1616"/>
                  </a:lnTo>
                  <a:lnTo>
                    <a:pt x="311" y="1618"/>
                  </a:lnTo>
                  <a:lnTo>
                    <a:pt x="311" y="1621"/>
                  </a:lnTo>
                  <a:lnTo>
                    <a:pt x="312" y="1624"/>
                  </a:lnTo>
                  <a:lnTo>
                    <a:pt x="314" y="1625"/>
                  </a:lnTo>
                  <a:lnTo>
                    <a:pt x="315" y="1625"/>
                  </a:lnTo>
                  <a:lnTo>
                    <a:pt x="318" y="1624"/>
                  </a:lnTo>
                  <a:lnTo>
                    <a:pt x="319" y="1623"/>
                  </a:lnTo>
                  <a:lnTo>
                    <a:pt x="322" y="1622"/>
                  </a:lnTo>
                  <a:lnTo>
                    <a:pt x="323" y="1621"/>
                  </a:lnTo>
                  <a:lnTo>
                    <a:pt x="324" y="1619"/>
                  </a:lnTo>
                  <a:lnTo>
                    <a:pt x="326" y="1619"/>
                  </a:lnTo>
                  <a:lnTo>
                    <a:pt x="328" y="1619"/>
                  </a:lnTo>
                  <a:lnTo>
                    <a:pt x="332" y="1622"/>
                  </a:lnTo>
                  <a:lnTo>
                    <a:pt x="333" y="1624"/>
                  </a:lnTo>
                  <a:lnTo>
                    <a:pt x="333" y="1625"/>
                  </a:lnTo>
                  <a:lnTo>
                    <a:pt x="333" y="1627"/>
                  </a:lnTo>
                  <a:lnTo>
                    <a:pt x="333" y="1630"/>
                  </a:lnTo>
                  <a:lnTo>
                    <a:pt x="332" y="1631"/>
                  </a:lnTo>
                  <a:lnTo>
                    <a:pt x="332" y="1634"/>
                  </a:lnTo>
                  <a:lnTo>
                    <a:pt x="332" y="1635"/>
                  </a:lnTo>
                  <a:lnTo>
                    <a:pt x="333" y="1638"/>
                  </a:lnTo>
                  <a:lnTo>
                    <a:pt x="334" y="1640"/>
                  </a:lnTo>
                  <a:lnTo>
                    <a:pt x="335" y="1641"/>
                  </a:lnTo>
                  <a:lnTo>
                    <a:pt x="338" y="1641"/>
                  </a:lnTo>
                  <a:lnTo>
                    <a:pt x="340" y="1642"/>
                  </a:lnTo>
                  <a:lnTo>
                    <a:pt x="341" y="1643"/>
                  </a:lnTo>
                  <a:lnTo>
                    <a:pt x="343" y="1645"/>
                  </a:lnTo>
                  <a:lnTo>
                    <a:pt x="346" y="1646"/>
                  </a:lnTo>
                  <a:lnTo>
                    <a:pt x="348" y="1646"/>
                  </a:lnTo>
                  <a:lnTo>
                    <a:pt x="350" y="1646"/>
                  </a:lnTo>
                  <a:lnTo>
                    <a:pt x="352" y="1645"/>
                  </a:lnTo>
                  <a:lnTo>
                    <a:pt x="357" y="1643"/>
                  </a:lnTo>
                  <a:lnTo>
                    <a:pt x="359" y="1642"/>
                  </a:lnTo>
                  <a:lnTo>
                    <a:pt x="363" y="1642"/>
                  </a:lnTo>
                  <a:lnTo>
                    <a:pt x="365" y="1642"/>
                  </a:lnTo>
                  <a:lnTo>
                    <a:pt x="367" y="1643"/>
                  </a:lnTo>
                  <a:lnTo>
                    <a:pt x="368" y="1645"/>
                  </a:lnTo>
                  <a:lnTo>
                    <a:pt x="370" y="1647"/>
                  </a:lnTo>
                  <a:lnTo>
                    <a:pt x="367" y="1649"/>
                  </a:lnTo>
                  <a:lnTo>
                    <a:pt x="365" y="1651"/>
                  </a:lnTo>
                  <a:lnTo>
                    <a:pt x="362" y="1653"/>
                  </a:lnTo>
                  <a:lnTo>
                    <a:pt x="359" y="1654"/>
                  </a:lnTo>
                  <a:lnTo>
                    <a:pt x="356" y="1655"/>
                  </a:lnTo>
                  <a:lnTo>
                    <a:pt x="354" y="1657"/>
                  </a:lnTo>
                  <a:lnTo>
                    <a:pt x="351" y="1659"/>
                  </a:lnTo>
                  <a:lnTo>
                    <a:pt x="351" y="1663"/>
                  </a:lnTo>
                  <a:lnTo>
                    <a:pt x="352" y="1665"/>
                  </a:lnTo>
                  <a:lnTo>
                    <a:pt x="355" y="1667"/>
                  </a:lnTo>
                  <a:lnTo>
                    <a:pt x="356" y="1669"/>
                  </a:lnTo>
                  <a:lnTo>
                    <a:pt x="357" y="1670"/>
                  </a:lnTo>
                  <a:lnTo>
                    <a:pt x="359" y="1672"/>
                  </a:lnTo>
                  <a:lnTo>
                    <a:pt x="363" y="1674"/>
                  </a:lnTo>
                  <a:lnTo>
                    <a:pt x="364" y="1677"/>
                  </a:lnTo>
                  <a:lnTo>
                    <a:pt x="366" y="1677"/>
                  </a:lnTo>
                  <a:lnTo>
                    <a:pt x="367" y="1679"/>
                  </a:lnTo>
                  <a:lnTo>
                    <a:pt x="368" y="1681"/>
                  </a:lnTo>
                  <a:lnTo>
                    <a:pt x="368" y="1682"/>
                  </a:lnTo>
                  <a:lnTo>
                    <a:pt x="368" y="1687"/>
                  </a:lnTo>
                  <a:lnTo>
                    <a:pt x="368" y="1690"/>
                  </a:lnTo>
                  <a:lnTo>
                    <a:pt x="370" y="1691"/>
                  </a:lnTo>
                  <a:lnTo>
                    <a:pt x="372" y="1695"/>
                  </a:lnTo>
                  <a:lnTo>
                    <a:pt x="374" y="1697"/>
                  </a:lnTo>
                  <a:lnTo>
                    <a:pt x="378" y="1697"/>
                  </a:lnTo>
                  <a:lnTo>
                    <a:pt x="380" y="1698"/>
                  </a:lnTo>
                  <a:lnTo>
                    <a:pt x="383" y="1698"/>
                  </a:lnTo>
                  <a:lnTo>
                    <a:pt x="386" y="1699"/>
                  </a:lnTo>
                  <a:lnTo>
                    <a:pt x="389" y="1701"/>
                  </a:lnTo>
                  <a:lnTo>
                    <a:pt x="391" y="1704"/>
                  </a:lnTo>
                  <a:lnTo>
                    <a:pt x="392" y="1705"/>
                  </a:lnTo>
                  <a:lnTo>
                    <a:pt x="396" y="1709"/>
                  </a:lnTo>
                  <a:lnTo>
                    <a:pt x="396" y="1711"/>
                  </a:lnTo>
                  <a:lnTo>
                    <a:pt x="397" y="1710"/>
                  </a:lnTo>
                  <a:lnTo>
                    <a:pt x="399" y="1710"/>
                  </a:lnTo>
                  <a:lnTo>
                    <a:pt x="402" y="1710"/>
                  </a:lnTo>
                  <a:lnTo>
                    <a:pt x="404" y="1710"/>
                  </a:lnTo>
                  <a:lnTo>
                    <a:pt x="405" y="1711"/>
                  </a:lnTo>
                  <a:lnTo>
                    <a:pt x="405" y="1713"/>
                  </a:lnTo>
                  <a:lnTo>
                    <a:pt x="405" y="1714"/>
                  </a:lnTo>
                  <a:lnTo>
                    <a:pt x="404" y="1717"/>
                  </a:lnTo>
                  <a:lnTo>
                    <a:pt x="404" y="1719"/>
                  </a:lnTo>
                  <a:lnTo>
                    <a:pt x="403" y="1722"/>
                  </a:lnTo>
                  <a:lnTo>
                    <a:pt x="403" y="1725"/>
                  </a:lnTo>
                  <a:lnTo>
                    <a:pt x="404" y="1727"/>
                  </a:lnTo>
                  <a:lnTo>
                    <a:pt x="405" y="1729"/>
                  </a:lnTo>
                  <a:lnTo>
                    <a:pt x="407" y="1730"/>
                  </a:lnTo>
                  <a:lnTo>
                    <a:pt x="410" y="1733"/>
                  </a:lnTo>
                  <a:lnTo>
                    <a:pt x="418" y="1737"/>
                  </a:lnTo>
                  <a:lnTo>
                    <a:pt x="420" y="1738"/>
                  </a:lnTo>
                  <a:lnTo>
                    <a:pt x="422" y="1738"/>
                  </a:lnTo>
                  <a:lnTo>
                    <a:pt x="424" y="1739"/>
                  </a:lnTo>
                  <a:lnTo>
                    <a:pt x="428" y="1739"/>
                  </a:lnTo>
                  <a:lnTo>
                    <a:pt x="429" y="1739"/>
                  </a:lnTo>
                  <a:lnTo>
                    <a:pt x="431" y="1741"/>
                  </a:lnTo>
                  <a:lnTo>
                    <a:pt x="432" y="1742"/>
                  </a:lnTo>
                  <a:lnTo>
                    <a:pt x="434" y="1744"/>
                  </a:lnTo>
                  <a:lnTo>
                    <a:pt x="435" y="1746"/>
                  </a:lnTo>
                  <a:lnTo>
                    <a:pt x="436" y="1747"/>
                  </a:lnTo>
                  <a:lnTo>
                    <a:pt x="438" y="1749"/>
                  </a:lnTo>
                  <a:lnTo>
                    <a:pt x="440" y="1750"/>
                  </a:lnTo>
                  <a:lnTo>
                    <a:pt x="444" y="1750"/>
                  </a:lnTo>
                  <a:lnTo>
                    <a:pt x="446" y="1749"/>
                  </a:lnTo>
                  <a:lnTo>
                    <a:pt x="450" y="1750"/>
                  </a:lnTo>
                  <a:lnTo>
                    <a:pt x="451" y="1751"/>
                  </a:lnTo>
                  <a:lnTo>
                    <a:pt x="452" y="1753"/>
                  </a:lnTo>
                  <a:lnTo>
                    <a:pt x="454" y="1753"/>
                  </a:lnTo>
                  <a:lnTo>
                    <a:pt x="460" y="1753"/>
                  </a:lnTo>
                  <a:lnTo>
                    <a:pt x="462" y="1753"/>
                  </a:lnTo>
                  <a:lnTo>
                    <a:pt x="466" y="1753"/>
                  </a:lnTo>
                  <a:lnTo>
                    <a:pt x="469" y="1753"/>
                  </a:lnTo>
                  <a:lnTo>
                    <a:pt x="472" y="1753"/>
                  </a:lnTo>
                  <a:lnTo>
                    <a:pt x="476" y="1755"/>
                  </a:lnTo>
                  <a:lnTo>
                    <a:pt x="477" y="1758"/>
                  </a:lnTo>
                  <a:lnTo>
                    <a:pt x="478" y="1762"/>
                  </a:lnTo>
                  <a:lnTo>
                    <a:pt x="479" y="1768"/>
                  </a:lnTo>
                  <a:lnTo>
                    <a:pt x="479" y="1771"/>
                  </a:lnTo>
                  <a:lnTo>
                    <a:pt x="479" y="1776"/>
                  </a:lnTo>
                  <a:lnTo>
                    <a:pt x="480" y="1779"/>
                  </a:lnTo>
                  <a:lnTo>
                    <a:pt x="484" y="1786"/>
                  </a:lnTo>
                  <a:lnTo>
                    <a:pt x="486" y="1791"/>
                  </a:lnTo>
                  <a:lnTo>
                    <a:pt x="490" y="1793"/>
                  </a:lnTo>
                  <a:lnTo>
                    <a:pt x="494" y="1797"/>
                  </a:lnTo>
                  <a:lnTo>
                    <a:pt x="498" y="1799"/>
                  </a:lnTo>
                  <a:lnTo>
                    <a:pt x="502" y="1799"/>
                  </a:lnTo>
                  <a:lnTo>
                    <a:pt x="509" y="1801"/>
                  </a:lnTo>
                  <a:lnTo>
                    <a:pt x="511" y="1801"/>
                  </a:lnTo>
                  <a:lnTo>
                    <a:pt x="516" y="1801"/>
                  </a:lnTo>
                  <a:lnTo>
                    <a:pt x="520" y="1801"/>
                  </a:lnTo>
                  <a:lnTo>
                    <a:pt x="524" y="1801"/>
                  </a:lnTo>
                  <a:lnTo>
                    <a:pt x="527" y="1800"/>
                  </a:lnTo>
                  <a:lnTo>
                    <a:pt x="531" y="1799"/>
                  </a:lnTo>
                  <a:lnTo>
                    <a:pt x="534" y="1798"/>
                  </a:lnTo>
                  <a:lnTo>
                    <a:pt x="538" y="1797"/>
                  </a:lnTo>
                  <a:lnTo>
                    <a:pt x="542" y="1797"/>
                  </a:lnTo>
                  <a:lnTo>
                    <a:pt x="546" y="1795"/>
                  </a:lnTo>
                  <a:lnTo>
                    <a:pt x="550" y="1791"/>
                  </a:lnTo>
                  <a:lnTo>
                    <a:pt x="551" y="1791"/>
                  </a:lnTo>
                  <a:lnTo>
                    <a:pt x="554" y="1790"/>
                  </a:lnTo>
                  <a:lnTo>
                    <a:pt x="556" y="1789"/>
                  </a:lnTo>
                  <a:lnTo>
                    <a:pt x="558" y="1789"/>
                  </a:lnTo>
                  <a:lnTo>
                    <a:pt x="560" y="1789"/>
                  </a:lnTo>
                  <a:lnTo>
                    <a:pt x="560" y="1792"/>
                  </a:lnTo>
                  <a:lnTo>
                    <a:pt x="559" y="1797"/>
                  </a:lnTo>
                  <a:lnTo>
                    <a:pt x="559" y="1801"/>
                  </a:lnTo>
                  <a:lnTo>
                    <a:pt x="560" y="1806"/>
                  </a:lnTo>
                  <a:lnTo>
                    <a:pt x="560" y="1811"/>
                  </a:lnTo>
                  <a:lnTo>
                    <a:pt x="560" y="1816"/>
                  </a:lnTo>
                  <a:lnTo>
                    <a:pt x="562" y="1818"/>
                  </a:lnTo>
                  <a:lnTo>
                    <a:pt x="563" y="1821"/>
                  </a:lnTo>
                  <a:lnTo>
                    <a:pt x="566" y="1822"/>
                  </a:lnTo>
                  <a:lnTo>
                    <a:pt x="568" y="1822"/>
                  </a:lnTo>
                  <a:lnTo>
                    <a:pt x="572" y="1821"/>
                  </a:lnTo>
                  <a:lnTo>
                    <a:pt x="575" y="1821"/>
                  </a:lnTo>
                  <a:lnTo>
                    <a:pt x="579" y="1819"/>
                  </a:lnTo>
                  <a:lnTo>
                    <a:pt x="582" y="1819"/>
                  </a:lnTo>
                  <a:lnTo>
                    <a:pt x="584" y="1822"/>
                  </a:lnTo>
                  <a:lnTo>
                    <a:pt x="587" y="1824"/>
                  </a:lnTo>
                  <a:lnTo>
                    <a:pt x="591" y="1830"/>
                  </a:lnTo>
                  <a:lnTo>
                    <a:pt x="591" y="1832"/>
                  </a:lnTo>
                  <a:lnTo>
                    <a:pt x="595" y="1833"/>
                  </a:lnTo>
                  <a:lnTo>
                    <a:pt x="597" y="1834"/>
                  </a:lnTo>
                  <a:lnTo>
                    <a:pt x="600" y="1834"/>
                  </a:lnTo>
                  <a:lnTo>
                    <a:pt x="603" y="1834"/>
                  </a:lnTo>
                  <a:lnTo>
                    <a:pt x="606" y="1835"/>
                  </a:lnTo>
                  <a:lnTo>
                    <a:pt x="611" y="1838"/>
                  </a:lnTo>
                  <a:lnTo>
                    <a:pt x="613" y="1840"/>
                  </a:lnTo>
                  <a:lnTo>
                    <a:pt x="615" y="1842"/>
                  </a:lnTo>
                  <a:lnTo>
                    <a:pt x="616" y="1845"/>
                  </a:lnTo>
                  <a:lnTo>
                    <a:pt x="619" y="1846"/>
                  </a:lnTo>
                  <a:lnTo>
                    <a:pt x="620" y="1848"/>
                  </a:lnTo>
                  <a:lnTo>
                    <a:pt x="623" y="1849"/>
                  </a:lnTo>
                  <a:lnTo>
                    <a:pt x="627" y="1849"/>
                  </a:lnTo>
                  <a:lnTo>
                    <a:pt x="631" y="1848"/>
                  </a:lnTo>
                  <a:lnTo>
                    <a:pt x="634" y="1848"/>
                  </a:lnTo>
                  <a:lnTo>
                    <a:pt x="636" y="1848"/>
                  </a:lnTo>
                  <a:lnTo>
                    <a:pt x="637" y="1850"/>
                  </a:lnTo>
                  <a:lnTo>
                    <a:pt x="637" y="1853"/>
                  </a:lnTo>
                  <a:lnTo>
                    <a:pt x="637" y="1858"/>
                  </a:lnTo>
                  <a:lnTo>
                    <a:pt x="637" y="1859"/>
                  </a:lnTo>
                  <a:lnTo>
                    <a:pt x="637" y="1862"/>
                  </a:lnTo>
                  <a:lnTo>
                    <a:pt x="637" y="1863"/>
                  </a:lnTo>
                  <a:lnTo>
                    <a:pt x="639" y="1865"/>
                  </a:lnTo>
                  <a:lnTo>
                    <a:pt x="642" y="1866"/>
                  </a:lnTo>
                  <a:lnTo>
                    <a:pt x="644" y="1867"/>
                  </a:lnTo>
                  <a:lnTo>
                    <a:pt x="646" y="1867"/>
                  </a:lnTo>
                  <a:lnTo>
                    <a:pt x="648" y="1869"/>
                  </a:lnTo>
                  <a:lnTo>
                    <a:pt x="652" y="1869"/>
                  </a:lnTo>
                  <a:lnTo>
                    <a:pt x="656" y="1865"/>
                  </a:lnTo>
                  <a:lnTo>
                    <a:pt x="658" y="1865"/>
                  </a:lnTo>
                  <a:lnTo>
                    <a:pt x="660" y="1863"/>
                  </a:lnTo>
                  <a:lnTo>
                    <a:pt x="662" y="1862"/>
                  </a:lnTo>
                  <a:lnTo>
                    <a:pt x="666" y="1861"/>
                  </a:lnTo>
                  <a:lnTo>
                    <a:pt x="668" y="1858"/>
                  </a:lnTo>
                  <a:lnTo>
                    <a:pt x="670" y="1858"/>
                  </a:lnTo>
                  <a:lnTo>
                    <a:pt x="674" y="1858"/>
                  </a:lnTo>
                  <a:lnTo>
                    <a:pt x="676" y="1859"/>
                  </a:lnTo>
                  <a:lnTo>
                    <a:pt x="677" y="1862"/>
                  </a:lnTo>
                  <a:lnTo>
                    <a:pt x="678" y="1864"/>
                  </a:lnTo>
                  <a:lnTo>
                    <a:pt x="679" y="1866"/>
                  </a:lnTo>
                  <a:lnTo>
                    <a:pt x="679" y="1867"/>
                  </a:lnTo>
                  <a:lnTo>
                    <a:pt x="679" y="1869"/>
                  </a:lnTo>
                  <a:lnTo>
                    <a:pt x="680" y="1871"/>
                  </a:lnTo>
                  <a:lnTo>
                    <a:pt x="680" y="1873"/>
                  </a:lnTo>
                  <a:lnTo>
                    <a:pt x="682" y="1874"/>
                  </a:lnTo>
                  <a:lnTo>
                    <a:pt x="682" y="1878"/>
                  </a:lnTo>
                  <a:lnTo>
                    <a:pt x="683" y="1879"/>
                  </a:lnTo>
                  <a:lnTo>
                    <a:pt x="684" y="1880"/>
                  </a:lnTo>
                  <a:lnTo>
                    <a:pt x="684" y="1882"/>
                  </a:lnTo>
                  <a:lnTo>
                    <a:pt x="688" y="1883"/>
                  </a:lnTo>
                  <a:lnTo>
                    <a:pt x="690" y="1883"/>
                  </a:lnTo>
                  <a:lnTo>
                    <a:pt x="693" y="1883"/>
                  </a:lnTo>
                  <a:lnTo>
                    <a:pt x="694" y="1882"/>
                  </a:lnTo>
                  <a:lnTo>
                    <a:pt x="696" y="1882"/>
                  </a:lnTo>
                  <a:lnTo>
                    <a:pt x="699" y="1883"/>
                  </a:lnTo>
                  <a:lnTo>
                    <a:pt x="701" y="1883"/>
                  </a:lnTo>
                  <a:lnTo>
                    <a:pt x="703" y="1885"/>
                  </a:lnTo>
                  <a:lnTo>
                    <a:pt x="706" y="1886"/>
                  </a:lnTo>
                  <a:lnTo>
                    <a:pt x="709" y="1886"/>
                  </a:lnTo>
                  <a:lnTo>
                    <a:pt x="712" y="1886"/>
                  </a:lnTo>
                  <a:lnTo>
                    <a:pt x="716" y="1886"/>
                  </a:lnTo>
                  <a:lnTo>
                    <a:pt x="719" y="1886"/>
                  </a:lnTo>
                  <a:lnTo>
                    <a:pt x="723" y="1885"/>
                  </a:lnTo>
                  <a:lnTo>
                    <a:pt x="726" y="1885"/>
                  </a:lnTo>
                  <a:lnTo>
                    <a:pt x="730" y="1885"/>
                  </a:lnTo>
                  <a:lnTo>
                    <a:pt x="733" y="1886"/>
                  </a:lnTo>
                  <a:lnTo>
                    <a:pt x="736" y="1885"/>
                  </a:lnTo>
                  <a:lnTo>
                    <a:pt x="741" y="1885"/>
                  </a:lnTo>
                  <a:lnTo>
                    <a:pt x="746" y="1885"/>
                  </a:lnTo>
                  <a:lnTo>
                    <a:pt x="750" y="1885"/>
                  </a:lnTo>
                  <a:lnTo>
                    <a:pt x="752" y="1886"/>
                  </a:lnTo>
                  <a:lnTo>
                    <a:pt x="757" y="1887"/>
                  </a:lnTo>
                  <a:lnTo>
                    <a:pt x="758" y="1886"/>
                  </a:lnTo>
                  <a:lnTo>
                    <a:pt x="760" y="1885"/>
                  </a:lnTo>
                  <a:lnTo>
                    <a:pt x="760" y="1883"/>
                  </a:lnTo>
                  <a:lnTo>
                    <a:pt x="760" y="1882"/>
                  </a:lnTo>
                  <a:lnTo>
                    <a:pt x="760" y="1877"/>
                  </a:lnTo>
                  <a:lnTo>
                    <a:pt x="762" y="1867"/>
                  </a:lnTo>
                  <a:lnTo>
                    <a:pt x="763" y="1862"/>
                  </a:lnTo>
                  <a:lnTo>
                    <a:pt x="764" y="1858"/>
                  </a:lnTo>
                  <a:lnTo>
                    <a:pt x="766" y="1853"/>
                  </a:lnTo>
                  <a:lnTo>
                    <a:pt x="770" y="1846"/>
                  </a:lnTo>
                  <a:lnTo>
                    <a:pt x="771" y="1843"/>
                  </a:lnTo>
                  <a:lnTo>
                    <a:pt x="773" y="1841"/>
                  </a:lnTo>
                  <a:lnTo>
                    <a:pt x="776" y="1838"/>
                  </a:lnTo>
                  <a:lnTo>
                    <a:pt x="779" y="1838"/>
                  </a:lnTo>
                  <a:lnTo>
                    <a:pt x="782" y="1837"/>
                  </a:lnTo>
                  <a:lnTo>
                    <a:pt x="798" y="1834"/>
                  </a:lnTo>
                  <a:lnTo>
                    <a:pt x="800" y="1833"/>
                  </a:lnTo>
                  <a:lnTo>
                    <a:pt x="805" y="1833"/>
                  </a:lnTo>
                  <a:lnTo>
                    <a:pt x="810" y="1832"/>
                  </a:lnTo>
                  <a:lnTo>
                    <a:pt x="811" y="1833"/>
                  </a:lnTo>
                  <a:lnTo>
                    <a:pt x="813" y="1834"/>
                  </a:lnTo>
                  <a:lnTo>
                    <a:pt x="814" y="1835"/>
                  </a:lnTo>
                  <a:lnTo>
                    <a:pt x="816" y="1838"/>
                  </a:lnTo>
                  <a:lnTo>
                    <a:pt x="816" y="1840"/>
                  </a:lnTo>
                  <a:lnTo>
                    <a:pt x="818" y="1842"/>
                  </a:lnTo>
                  <a:lnTo>
                    <a:pt x="819" y="1846"/>
                  </a:lnTo>
                  <a:lnTo>
                    <a:pt x="820" y="1848"/>
                  </a:lnTo>
                  <a:lnTo>
                    <a:pt x="821" y="1850"/>
                  </a:lnTo>
                  <a:lnTo>
                    <a:pt x="822" y="1853"/>
                  </a:lnTo>
                  <a:lnTo>
                    <a:pt x="823" y="1854"/>
                  </a:lnTo>
                  <a:lnTo>
                    <a:pt x="824" y="1855"/>
                  </a:lnTo>
                  <a:lnTo>
                    <a:pt x="827" y="1855"/>
                  </a:lnTo>
                  <a:lnTo>
                    <a:pt x="829" y="1854"/>
                  </a:lnTo>
                  <a:lnTo>
                    <a:pt x="831" y="1853"/>
                  </a:lnTo>
                  <a:lnTo>
                    <a:pt x="834" y="1850"/>
                  </a:lnTo>
                  <a:lnTo>
                    <a:pt x="834" y="1848"/>
                  </a:lnTo>
                  <a:lnTo>
                    <a:pt x="835" y="1846"/>
                  </a:lnTo>
                  <a:lnTo>
                    <a:pt x="837" y="1841"/>
                  </a:lnTo>
                  <a:lnTo>
                    <a:pt x="838" y="1840"/>
                  </a:lnTo>
                  <a:lnTo>
                    <a:pt x="839" y="1838"/>
                  </a:lnTo>
                  <a:lnTo>
                    <a:pt x="842" y="1837"/>
                  </a:lnTo>
                  <a:lnTo>
                    <a:pt x="845" y="1837"/>
                  </a:lnTo>
                  <a:lnTo>
                    <a:pt x="850" y="1835"/>
                  </a:lnTo>
                  <a:lnTo>
                    <a:pt x="852" y="1837"/>
                  </a:lnTo>
                  <a:lnTo>
                    <a:pt x="854" y="1837"/>
                  </a:lnTo>
                  <a:lnTo>
                    <a:pt x="856" y="1837"/>
                  </a:lnTo>
                  <a:lnTo>
                    <a:pt x="861" y="1833"/>
                  </a:lnTo>
                  <a:lnTo>
                    <a:pt x="863" y="1831"/>
                  </a:lnTo>
                  <a:lnTo>
                    <a:pt x="867" y="1829"/>
                  </a:lnTo>
                  <a:lnTo>
                    <a:pt x="869" y="1829"/>
                  </a:lnTo>
                  <a:lnTo>
                    <a:pt x="870" y="1829"/>
                  </a:lnTo>
                  <a:lnTo>
                    <a:pt x="872" y="1829"/>
                  </a:lnTo>
                  <a:lnTo>
                    <a:pt x="875" y="1827"/>
                  </a:lnTo>
                  <a:lnTo>
                    <a:pt x="877" y="1827"/>
                  </a:lnTo>
                  <a:lnTo>
                    <a:pt x="879" y="1829"/>
                  </a:lnTo>
                  <a:lnTo>
                    <a:pt x="880" y="1829"/>
                  </a:lnTo>
                  <a:lnTo>
                    <a:pt x="883" y="1830"/>
                  </a:lnTo>
                  <a:lnTo>
                    <a:pt x="884" y="1831"/>
                  </a:lnTo>
                  <a:lnTo>
                    <a:pt x="885" y="1833"/>
                  </a:lnTo>
                  <a:lnTo>
                    <a:pt x="887" y="1835"/>
                  </a:lnTo>
                  <a:lnTo>
                    <a:pt x="888" y="1837"/>
                  </a:lnTo>
                  <a:lnTo>
                    <a:pt x="891" y="1837"/>
                  </a:lnTo>
                  <a:lnTo>
                    <a:pt x="893" y="1837"/>
                  </a:lnTo>
                  <a:lnTo>
                    <a:pt x="895" y="1837"/>
                  </a:lnTo>
                  <a:lnTo>
                    <a:pt x="898" y="1835"/>
                  </a:lnTo>
                  <a:lnTo>
                    <a:pt x="901" y="1834"/>
                  </a:lnTo>
                  <a:lnTo>
                    <a:pt x="903" y="1834"/>
                  </a:lnTo>
                  <a:lnTo>
                    <a:pt x="906" y="1835"/>
                  </a:lnTo>
                  <a:lnTo>
                    <a:pt x="909" y="1835"/>
                  </a:lnTo>
                  <a:lnTo>
                    <a:pt x="918" y="1837"/>
                  </a:lnTo>
                  <a:lnTo>
                    <a:pt x="920" y="1837"/>
                  </a:lnTo>
                  <a:lnTo>
                    <a:pt x="924" y="1835"/>
                  </a:lnTo>
                  <a:lnTo>
                    <a:pt x="926" y="1834"/>
                  </a:lnTo>
                  <a:lnTo>
                    <a:pt x="930" y="1833"/>
                  </a:lnTo>
                  <a:lnTo>
                    <a:pt x="931" y="1832"/>
                  </a:lnTo>
                  <a:lnTo>
                    <a:pt x="931" y="1830"/>
                  </a:lnTo>
                  <a:lnTo>
                    <a:pt x="931" y="1829"/>
                  </a:lnTo>
                  <a:lnTo>
                    <a:pt x="932" y="1824"/>
                  </a:lnTo>
                  <a:lnTo>
                    <a:pt x="933" y="1822"/>
                  </a:lnTo>
                  <a:lnTo>
                    <a:pt x="933" y="1819"/>
                  </a:lnTo>
                  <a:lnTo>
                    <a:pt x="934" y="1815"/>
                  </a:lnTo>
                  <a:lnTo>
                    <a:pt x="935" y="1811"/>
                  </a:lnTo>
                  <a:lnTo>
                    <a:pt x="935" y="1809"/>
                  </a:lnTo>
                  <a:lnTo>
                    <a:pt x="938" y="1806"/>
                  </a:lnTo>
                  <a:lnTo>
                    <a:pt x="939" y="1805"/>
                  </a:lnTo>
                  <a:lnTo>
                    <a:pt x="941" y="1801"/>
                  </a:lnTo>
                  <a:lnTo>
                    <a:pt x="950" y="1792"/>
                  </a:lnTo>
                  <a:lnTo>
                    <a:pt x="952" y="1790"/>
                  </a:lnTo>
                  <a:lnTo>
                    <a:pt x="956" y="1789"/>
                  </a:lnTo>
                  <a:lnTo>
                    <a:pt x="959" y="1786"/>
                  </a:lnTo>
                  <a:lnTo>
                    <a:pt x="965" y="1784"/>
                  </a:lnTo>
                  <a:lnTo>
                    <a:pt x="970" y="1783"/>
                  </a:lnTo>
                  <a:lnTo>
                    <a:pt x="976" y="1784"/>
                  </a:lnTo>
                  <a:lnTo>
                    <a:pt x="979" y="1784"/>
                  </a:lnTo>
                  <a:lnTo>
                    <a:pt x="981" y="1784"/>
                  </a:lnTo>
                  <a:lnTo>
                    <a:pt x="984" y="1785"/>
                  </a:lnTo>
                  <a:lnTo>
                    <a:pt x="987" y="1786"/>
                  </a:lnTo>
                  <a:lnTo>
                    <a:pt x="990" y="1785"/>
                  </a:lnTo>
                  <a:lnTo>
                    <a:pt x="996" y="1783"/>
                  </a:lnTo>
                  <a:lnTo>
                    <a:pt x="998" y="1779"/>
                  </a:lnTo>
                  <a:lnTo>
                    <a:pt x="1004" y="1773"/>
                  </a:lnTo>
                  <a:lnTo>
                    <a:pt x="1006" y="1768"/>
                  </a:lnTo>
                  <a:lnTo>
                    <a:pt x="1007" y="1765"/>
                  </a:lnTo>
                  <a:lnTo>
                    <a:pt x="1007" y="1761"/>
                  </a:lnTo>
                  <a:lnTo>
                    <a:pt x="1007" y="1758"/>
                  </a:lnTo>
                  <a:lnTo>
                    <a:pt x="1007" y="1753"/>
                  </a:lnTo>
                  <a:lnTo>
                    <a:pt x="1007" y="1752"/>
                  </a:lnTo>
                  <a:lnTo>
                    <a:pt x="1005" y="1749"/>
                  </a:lnTo>
                  <a:lnTo>
                    <a:pt x="1002" y="1745"/>
                  </a:lnTo>
                  <a:lnTo>
                    <a:pt x="1002" y="1743"/>
                  </a:lnTo>
                  <a:lnTo>
                    <a:pt x="1000" y="1741"/>
                  </a:lnTo>
                  <a:lnTo>
                    <a:pt x="999" y="1739"/>
                  </a:lnTo>
                  <a:lnTo>
                    <a:pt x="999" y="1735"/>
                  </a:lnTo>
                  <a:lnTo>
                    <a:pt x="998" y="1733"/>
                  </a:lnTo>
                  <a:lnTo>
                    <a:pt x="997" y="1729"/>
                  </a:lnTo>
                  <a:lnTo>
                    <a:pt x="995" y="1727"/>
                  </a:lnTo>
                  <a:lnTo>
                    <a:pt x="994" y="1726"/>
                  </a:lnTo>
                  <a:lnTo>
                    <a:pt x="990" y="1722"/>
                  </a:lnTo>
                  <a:lnTo>
                    <a:pt x="988" y="1720"/>
                  </a:lnTo>
                  <a:lnTo>
                    <a:pt x="986" y="1718"/>
                  </a:lnTo>
                  <a:lnTo>
                    <a:pt x="983" y="1717"/>
                  </a:lnTo>
                  <a:lnTo>
                    <a:pt x="979" y="1715"/>
                  </a:lnTo>
                  <a:lnTo>
                    <a:pt x="975" y="1715"/>
                  </a:lnTo>
                  <a:lnTo>
                    <a:pt x="973" y="1717"/>
                  </a:lnTo>
                  <a:lnTo>
                    <a:pt x="965" y="1718"/>
                  </a:lnTo>
                  <a:lnTo>
                    <a:pt x="962" y="1719"/>
                  </a:lnTo>
                  <a:lnTo>
                    <a:pt x="960" y="1720"/>
                  </a:lnTo>
                  <a:lnTo>
                    <a:pt x="957" y="1721"/>
                  </a:lnTo>
                  <a:lnTo>
                    <a:pt x="955" y="1723"/>
                  </a:lnTo>
                  <a:lnTo>
                    <a:pt x="951" y="1726"/>
                  </a:lnTo>
                  <a:lnTo>
                    <a:pt x="948" y="1726"/>
                  </a:lnTo>
                  <a:lnTo>
                    <a:pt x="943" y="1726"/>
                  </a:lnTo>
                  <a:lnTo>
                    <a:pt x="940" y="1726"/>
                  </a:lnTo>
                  <a:lnTo>
                    <a:pt x="935" y="1726"/>
                  </a:lnTo>
                  <a:lnTo>
                    <a:pt x="932" y="1725"/>
                  </a:lnTo>
                  <a:lnTo>
                    <a:pt x="928" y="1722"/>
                  </a:lnTo>
                  <a:lnTo>
                    <a:pt x="927" y="1721"/>
                  </a:lnTo>
                  <a:lnTo>
                    <a:pt x="925" y="1719"/>
                  </a:lnTo>
                  <a:lnTo>
                    <a:pt x="924" y="1715"/>
                  </a:lnTo>
                  <a:lnTo>
                    <a:pt x="926" y="1712"/>
                  </a:lnTo>
                  <a:lnTo>
                    <a:pt x="927" y="1709"/>
                  </a:lnTo>
                  <a:lnTo>
                    <a:pt x="931" y="1707"/>
                  </a:lnTo>
                  <a:lnTo>
                    <a:pt x="934" y="1706"/>
                  </a:lnTo>
                  <a:lnTo>
                    <a:pt x="938" y="1705"/>
                  </a:lnTo>
                  <a:lnTo>
                    <a:pt x="947" y="1701"/>
                  </a:lnTo>
                  <a:lnTo>
                    <a:pt x="951" y="1698"/>
                  </a:lnTo>
                  <a:lnTo>
                    <a:pt x="956" y="1696"/>
                  </a:lnTo>
                  <a:lnTo>
                    <a:pt x="960" y="1691"/>
                  </a:lnTo>
                  <a:lnTo>
                    <a:pt x="963" y="1690"/>
                  </a:lnTo>
                  <a:lnTo>
                    <a:pt x="964" y="1686"/>
                  </a:lnTo>
                  <a:lnTo>
                    <a:pt x="964" y="1683"/>
                  </a:lnTo>
                  <a:lnTo>
                    <a:pt x="965" y="1680"/>
                  </a:lnTo>
                  <a:lnTo>
                    <a:pt x="965" y="1678"/>
                  </a:lnTo>
                  <a:lnTo>
                    <a:pt x="967" y="1669"/>
                  </a:lnTo>
                  <a:lnTo>
                    <a:pt x="968" y="1666"/>
                  </a:lnTo>
                  <a:lnTo>
                    <a:pt x="970" y="1663"/>
                  </a:lnTo>
                  <a:lnTo>
                    <a:pt x="971" y="1661"/>
                  </a:lnTo>
                  <a:lnTo>
                    <a:pt x="973" y="1653"/>
                  </a:lnTo>
                  <a:lnTo>
                    <a:pt x="973" y="1649"/>
                  </a:lnTo>
                  <a:lnTo>
                    <a:pt x="974" y="1648"/>
                  </a:lnTo>
                  <a:lnTo>
                    <a:pt x="974" y="1646"/>
                  </a:lnTo>
                  <a:lnTo>
                    <a:pt x="973" y="1643"/>
                  </a:lnTo>
                  <a:lnTo>
                    <a:pt x="972" y="1643"/>
                  </a:lnTo>
                  <a:lnTo>
                    <a:pt x="971" y="1643"/>
                  </a:lnTo>
                  <a:lnTo>
                    <a:pt x="970" y="1643"/>
                  </a:lnTo>
                  <a:lnTo>
                    <a:pt x="968" y="1645"/>
                  </a:lnTo>
                  <a:lnTo>
                    <a:pt x="967" y="1646"/>
                  </a:lnTo>
                  <a:lnTo>
                    <a:pt x="965" y="1647"/>
                  </a:lnTo>
                  <a:lnTo>
                    <a:pt x="963" y="1648"/>
                  </a:lnTo>
                  <a:lnTo>
                    <a:pt x="962" y="1648"/>
                  </a:lnTo>
                  <a:lnTo>
                    <a:pt x="960" y="1648"/>
                  </a:lnTo>
                  <a:lnTo>
                    <a:pt x="958" y="1647"/>
                  </a:lnTo>
                  <a:lnTo>
                    <a:pt x="958" y="1646"/>
                  </a:lnTo>
                  <a:lnTo>
                    <a:pt x="959" y="1643"/>
                  </a:lnTo>
                  <a:lnTo>
                    <a:pt x="962" y="1642"/>
                  </a:lnTo>
                  <a:lnTo>
                    <a:pt x="963" y="1640"/>
                  </a:lnTo>
                  <a:lnTo>
                    <a:pt x="963" y="1639"/>
                  </a:lnTo>
                  <a:lnTo>
                    <a:pt x="962" y="1637"/>
                  </a:lnTo>
                  <a:lnTo>
                    <a:pt x="960" y="1637"/>
                  </a:lnTo>
                  <a:lnTo>
                    <a:pt x="957" y="1635"/>
                  </a:lnTo>
                  <a:lnTo>
                    <a:pt x="956" y="1634"/>
                  </a:lnTo>
                  <a:lnTo>
                    <a:pt x="956" y="1632"/>
                  </a:lnTo>
                  <a:lnTo>
                    <a:pt x="956" y="1629"/>
                  </a:lnTo>
                  <a:lnTo>
                    <a:pt x="958" y="1623"/>
                  </a:lnTo>
                  <a:lnTo>
                    <a:pt x="960" y="1614"/>
                  </a:lnTo>
                  <a:lnTo>
                    <a:pt x="964" y="1606"/>
                  </a:lnTo>
                  <a:lnTo>
                    <a:pt x="965" y="1602"/>
                  </a:lnTo>
                  <a:lnTo>
                    <a:pt x="966" y="1600"/>
                  </a:lnTo>
                  <a:lnTo>
                    <a:pt x="967" y="1597"/>
                  </a:lnTo>
                  <a:lnTo>
                    <a:pt x="968" y="1595"/>
                  </a:lnTo>
                  <a:lnTo>
                    <a:pt x="972" y="1594"/>
                  </a:lnTo>
                  <a:lnTo>
                    <a:pt x="974" y="1593"/>
                  </a:lnTo>
                  <a:lnTo>
                    <a:pt x="976" y="1592"/>
                  </a:lnTo>
                  <a:lnTo>
                    <a:pt x="979" y="1591"/>
                  </a:lnTo>
                  <a:lnTo>
                    <a:pt x="982" y="1590"/>
                  </a:lnTo>
                  <a:lnTo>
                    <a:pt x="984" y="1589"/>
                  </a:lnTo>
                  <a:lnTo>
                    <a:pt x="987" y="1586"/>
                  </a:lnTo>
                  <a:lnTo>
                    <a:pt x="989" y="1584"/>
                  </a:lnTo>
                  <a:lnTo>
                    <a:pt x="1000" y="1574"/>
                  </a:lnTo>
                  <a:lnTo>
                    <a:pt x="1006" y="1570"/>
                  </a:lnTo>
                  <a:lnTo>
                    <a:pt x="1008" y="1569"/>
                  </a:lnTo>
                  <a:lnTo>
                    <a:pt x="1011" y="1567"/>
                  </a:lnTo>
                  <a:lnTo>
                    <a:pt x="1013" y="1566"/>
                  </a:lnTo>
                  <a:lnTo>
                    <a:pt x="1016" y="1562"/>
                  </a:lnTo>
                  <a:lnTo>
                    <a:pt x="1016" y="1560"/>
                  </a:lnTo>
                  <a:lnTo>
                    <a:pt x="1016" y="1557"/>
                  </a:lnTo>
                  <a:lnTo>
                    <a:pt x="1016" y="1554"/>
                  </a:lnTo>
                  <a:lnTo>
                    <a:pt x="1018" y="1550"/>
                  </a:lnTo>
                  <a:lnTo>
                    <a:pt x="1019" y="1546"/>
                  </a:lnTo>
                  <a:lnTo>
                    <a:pt x="1021" y="1544"/>
                  </a:lnTo>
                  <a:lnTo>
                    <a:pt x="1029" y="1542"/>
                  </a:lnTo>
                  <a:lnTo>
                    <a:pt x="1031" y="1541"/>
                  </a:lnTo>
                  <a:lnTo>
                    <a:pt x="1034" y="1541"/>
                  </a:lnTo>
                  <a:lnTo>
                    <a:pt x="1036" y="1541"/>
                  </a:lnTo>
                  <a:lnTo>
                    <a:pt x="1038" y="1541"/>
                  </a:lnTo>
                  <a:lnTo>
                    <a:pt x="1040" y="1542"/>
                  </a:lnTo>
                  <a:lnTo>
                    <a:pt x="1043" y="1543"/>
                  </a:lnTo>
                  <a:lnTo>
                    <a:pt x="1046" y="1544"/>
                  </a:lnTo>
                  <a:lnTo>
                    <a:pt x="1048" y="1545"/>
                  </a:lnTo>
                  <a:lnTo>
                    <a:pt x="1051" y="1546"/>
                  </a:lnTo>
                  <a:lnTo>
                    <a:pt x="1053" y="1547"/>
                  </a:lnTo>
                  <a:lnTo>
                    <a:pt x="1055" y="1547"/>
                  </a:lnTo>
                  <a:lnTo>
                    <a:pt x="1058" y="1549"/>
                  </a:lnTo>
                  <a:lnTo>
                    <a:pt x="1060" y="1550"/>
                  </a:lnTo>
                  <a:lnTo>
                    <a:pt x="1061" y="1551"/>
                  </a:lnTo>
                  <a:lnTo>
                    <a:pt x="1062" y="1552"/>
                  </a:lnTo>
                  <a:lnTo>
                    <a:pt x="1064" y="1553"/>
                  </a:lnTo>
                  <a:lnTo>
                    <a:pt x="1067" y="1553"/>
                  </a:lnTo>
                  <a:lnTo>
                    <a:pt x="1069" y="1553"/>
                  </a:lnTo>
                  <a:lnTo>
                    <a:pt x="1071" y="1553"/>
                  </a:lnTo>
                  <a:lnTo>
                    <a:pt x="1074" y="1552"/>
                  </a:lnTo>
                  <a:lnTo>
                    <a:pt x="1080" y="1545"/>
                  </a:lnTo>
                  <a:lnTo>
                    <a:pt x="1082" y="1544"/>
                  </a:lnTo>
                  <a:lnTo>
                    <a:pt x="1084" y="1542"/>
                  </a:lnTo>
                  <a:lnTo>
                    <a:pt x="1086" y="1542"/>
                  </a:lnTo>
                  <a:lnTo>
                    <a:pt x="1088" y="1542"/>
                  </a:lnTo>
                  <a:lnTo>
                    <a:pt x="1091" y="1543"/>
                  </a:lnTo>
                  <a:lnTo>
                    <a:pt x="1094" y="1544"/>
                  </a:lnTo>
                  <a:lnTo>
                    <a:pt x="1096" y="1545"/>
                  </a:lnTo>
                  <a:lnTo>
                    <a:pt x="1100" y="1549"/>
                  </a:lnTo>
                  <a:lnTo>
                    <a:pt x="1101" y="1551"/>
                  </a:lnTo>
                  <a:lnTo>
                    <a:pt x="1104" y="1553"/>
                  </a:lnTo>
                  <a:lnTo>
                    <a:pt x="1107" y="1555"/>
                  </a:lnTo>
                  <a:lnTo>
                    <a:pt x="1110" y="1559"/>
                  </a:lnTo>
                  <a:lnTo>
                    <a:pt x="1112" y="1560"/>
                  </a:lnTo>
                  <a:lnTo>
                    <a:pt x="1116" y="1562"/>
                  </a:lnTo>
                  <a:lnTo>
                    <a:pt x="1123" y="1566"/>
                  </a:lnTo>
                  <a:lnTo>
                    <a:pt x="1125" y="1566"/>
                  </a:lnTo>
                  <a:lnTo>
                    <a:pt x="1128" y="1567"/>
                  </a:lnTo>
                  <a:lnTo>
                    <a:pt x="1130" y="1567"/>
                  </a:lnTo>
                  <a:lnTo>
                    <a:pt x="1132" y="1567"/>
                  </a:lnTo>
                  <a:lnTo>
                    <a:pt x="1134" y="1567"/>
                  </a:lnTo>
                  <a:lnTo>
                    <a:pt x="1136" y="1567"/>
                  </a:lnTo>
                  <a:lnTo>
                    <a:pt x="1138" y="1566"/>
                  </a:lnTo>
                  <a:lnTo>
                    <a:pt x="1139" y="1566"/>
                  </a:lnTo>
                  <a:lnTo>
                    <a:pt x="1140" y="1566"/>
                  </a:lnTo>
                  <a:lnTo>
                    <a:pt x="1142" y="1561"/>
                  </a:lnTo>
                  <a:lnTo>
                    <a:pt x="1143" y="1558"/>
                  </a:lnTo>
                  <a:lnTo>
                    <a:pt x="1143" y="1555"/>
                  </a:lnTo>
                  <a:lnTo>
                    <a:pt x="1143" y="1553"/>
                  </a:lnTo>
                  <a:lnTo>
                    <a:pt x="1144" y="1549"/>
                  </a:lnTo>
                  <a:lnTo>
                    <a:pt x="1143" y="1547"/>
                  </a:lnTo>
                  <a:lnTo>
                    <a:pt x="1144" y="1544"/>
                  </a:lnTo>
                  <a:lnTo>
                    <a:pt x="1144" y="1543"/>
                  </a:lnTo>
                  <a:lnTo>
                    <a:pt x="1148" y="1541"/>
                  </a:lnTo>
                  <a:lnTo>
                    <a:pt x="1150" y="1541"/>
                  </a:lnTo>
                  <a:lnTo>
                    <a:pt x="1154" y="1539"/>
                  </a:lnTo>
                  <a:lnTo>
                    <a:pt x="1157" y="1539"/>
                  </a:lnTo>
                  <a:lnTo>
                    <a:pt x="1159" y="1539"/>
                  </a:lnTo>
                  <a:lnTo>
                    <a:pt x="1162" y="1537"/>
                  </a:lnTo>
                  <a:lnTo>
                    <a:pt x="1163" y="1534"/>
                  </a:lnTo>
                  <a:lnTo>
                    <a:pt x="1163" y="1530"/>
                  </a:lnTo>
                  <a:lnTo>
                    <a:pt x="1164" y="1527"/>
                  </a:lnTo>
                  <a:lnTo>
                    <a:pt x="1165" y="1525"/>
                  </a:lnTo>
                  <a:lnTo>
                    <a:pt x="1167" y="1523"/>
                  </a:lnTo>
                  <a:lnTo>
                    <a:pt x="1175" y="1518"/>
                  </a:lnTo>
                  <a:lnTo>
                    <a:pt x="1179" y="1515"/>
                  </a:lnTo>
                  <a:lnTo>
                    <a:pt x="1181" y="1512"/>
                  </a:lnTo>
                  <a:lnTo>
                    <a:pt x="1183" y="1510"/>
                  </a:lnTo>
                  <a:lnTo>
                    <a:pt x="1187" y="1507"/>
                  </a:lnTo>
                  <a:lnTo>
                    <a:pt x="1190" y="1507"/>
                  </a:lnTo>
                  <a:lnTo>
                    <a:pt x="1194" y="1509"/>
                  </a:lnTo>
                  <a:lnTo>
                    <a:pt x="1196" y="1509"/>
                  </a:lnTo>
                  <a:lnTo>
                    <a:pt x="1200" y="1509"/>
                  </a:lnTo>
                  <a:lnTo>
                    <a:pt x="1202" y="1507"/>
                  </a:lnTo>
                  <a:lnTo>
                    <a:pt x="1202" y="1503"/>
                  </a:lnTo>
                  <a:lnTo>
                    <a:pt x="1199" y="1501"/>
                  </a:lnTo>
                  <a:lnTo>
                    <a:pt x="1198" y="1498"/>
                  </a:lnTo>
                  <a:lnTo>
                    <a:pt x="1198" y="1496"/>
                  </a:lnTo>
                  <a:lnTo>
                    <a:pt x="1199" y="1494"/>
                  </a:lnTo>
                  <a:lnTo>
                    <a:pt x="1200" y="1491"/>
                  </a:lnTo>
                  <a:lnTo>
                    <a:pt x="1204" y="1490"/>
                  </a:lnTo>
                  <a:lnTo>
                    <a:pt x="1205" y="1489"/>
                  </a:lnTo>
                  <a:lnTo>
                    <a:pt x="1207" y="1487"/>
                  </a:lnTo>
                  <a:lnTo>
                    <a:pt x="1210" y="1487"/>
                  </a:lnTo>
                  <a:lnTo>
                    <a:pt x="1213" y="1487"/>
                  </a:lnTo>
                  <a:lnTo>
                    <a:pt x="1218" y="1486"/>
                  </a:lnTo>
                  <a:lnTo>
                    <a:pt x="1218" y="1482"/>
                  </a:lnTo>
                  <a:lnTo>
                    <a:pt x="1218" y="1479"/>
                  </a:lnTo>
                  <a:lnTo>
                    <a:pt x="1219" y="1478"/>
                  </a:lnTo>
                  <a:lnTo>
                    <a:pt x="1220" y="1475"/>
                  </a:lnTo>
                  <a:lnTo>
                    <a:pt x="1216" y="1472"/>
                  </a:lnTo>
                  <a:lnTo>
                    <a:pt x="1215" y="1469"/>
                  </a:lnTo>
                  <a:lnTo>
                    <a:pt x="1219" y="1464"/>
                  </a:lnTo>
                  <a:lnTo>
                    <a:pt x="1222" y="1462"/>
                  </a:lnTo>
                  <a:lnTo>
                    <a:pt x="1226" y="1458"/>
                  </a:lnTo>
                  <a:lnTo>
                    <a:pt x="1227" y="1455"/>
                  </a:lnTo>
                  <a:lnTo>
                    <a:pt x="1228" y="1451"/>
                  </a:lnTo>
                  <a:lnTo>
                    <a:pt x="1226" y="1448"/>
                  </a:lnTo>
                  <a:lnTo>
                    <a:pt x="1224" y="1446"/>
                  </a:lnTo>
                  <a:lnTo>
                    <a:pt x="1223" y="1445"/>
                  </a:lnTo>
                  <a:lnTo>
                    <a:pt x="1223" y="1441"/>
                  </a:lnTo>
                  <a:lnTo>
                    <a:pt x="1223" y="1439"/>
                  </a:lnTo>
                  <a:lnTo>
                    <a:pt x="1226" y="1435"/>
                  </a:lnTo>
                  <a:lnTo>
                    <a:pt x="1229" y="1432"/>
                  </a:lnTo>
                  <a:lnTo>
                    <a:pt x="1230" y="1430"/>
                  </a:lnTo>
                  <a:lnTo>
                    <a:pt x="1230" y="1429"/>
                  </a:lnTo>
                  <a:lnTo>
                    <a:pt x="1230" y="1425"/>
                  </a:lnTo>
                  <a:lnTo>
                    <a:pt x="1228" y="1424"/>
                  </a:lnTo>
                  <a:lnTo>
                    <a:pt x="1227" y="1424"/>
                  </a:lnTo>
                  <a:lnTo>
                    <a:pt x="1226" y="1424"/>
                  </a:lnTo>
                  <a:lnTo>
                    <a:pt x="1222" y="1425"/>
                  </a:lnTo>
                  <a:lnTo>
                    <a:pt x="1220" y="1427"/>
                  </a:lnTo>
                  <a:lnTo>
                    <a:pt x="1218" y="1429"/>
                  </a:lnTo>
                  <a:lnTo>
                    <a:pt x="1214" y="1430"/>
                  </a:lnTo>
                  <a:lnTo>
                    <a:pt x="1211" y="1427"/>
                  </a:lnTo>
                  <a:lnTo>
                    <a:pt x="1207" y="1426"/>
                  </a:lnTo>
                  <a:lnTo>
                    <a:pt x="1204" y="1424"/>
                  </a:lnTo>
                  <a:lnTo>
                    <a:pt x="1205" y="1419"/>
                  </a:lnTo>
                  <a:lnTo>
                    <a:pt x="1205" y="1417"/>
                  </a:lnTo>
                  <a:lnTo>
                    <a:pt x="1204" y="1416"/>
                  </a:lnTo>
                  <a:lnTo>
                    <a:pt x="1200" y="1416"/>
                  </a:lnTo>
                  <a:lnTo>
                    <a:pt x="1197" y="1418"/>
                  </a:lnTo>
                  <a:lnTo>
                    <a:pt x="1196" y="1417"/>
                  </a:lnTo>
                  <a:lnTo>
                    <a:pt x="1195" y="1416"/>
                  </a:lnTo>
                  <a:lnTo>
                    <a:pt x="1195" y="1414"/>
                  </a:lnTo>
                  <a:lnTo>
                    <a:pt x="1194" y="1413"/>
                  </a:lnTo>
                  <a:lnTo>
                    <a:pt x="1190" y="1414"/>
                  </a:lnTo>
                  <a:lnTo>
                    <a:pt x="1188" y="1416"/>
                  </a:lnTo>
                  <a:lnTo>
                    <a:pt x="1187" y="1417"/>
                  </a:lnTo>
                  <a:lnTo>
                    <a:pt x="1183" y="1417"/>
                  </a:lnTo>
                  <a:lnTo>
                    <a:pt x="1181" y="1415"/>
                  </a:lnTo>
                  <a:lnTo>
                    <a:pt x="1180" y="1411"/>
                  </a:lnTo>
                  <a:lnTo>
                    <a:pt x="1180" y="1408"/>
                  </a:lnTo>
                  <a:lnTo>
                    <a:pt x="1180" y="1405"/>
                  </a:lnTo>
                  <a:lnTo>
                    <a:pt x="1180" y="1400"/>
                  </a:lnTo>
                  <a:lnTo>
                    <a:pt x="1184" y="1367"/>
                  </a:lnTo>
                  <a:lnTo>
                    <a:pt x="1184" y="1359"/>
                  </a:lnTo>
                  <a:lnTo>
                    <a:pt x="1186" y="1354"/>
                  </a:lnTo>
                  <a:lnTo>
                    <a:pt x="1188" y="1351"/>
                  </a:lnTo>
                  <a:lnTo>
                    <a:pt x="1190" y="1347"/>
                  </a:lnTo>
                  <a:lnTo>
                    <a:pt x="1190" y="1343"/>
                  </a:lnTo>
                  <a:lnTo>
                    <a:pt x="1189" y="1341"/>
                  </a:lnTo>
                  <a:lnTo>
                    <a:pt x="1181" y="1341"/>
                  </a:lnTo>
                  <a:lnTo>
                    <a:pt x="1174" y="1341"/>
                  </a:lnTo>
                  <a:lnTo>
                    <a:pt x="1166" y="1341"/>
                  </a:lnTo>
                  <a:lnTo>
                    <a:pt x="1159" y="1339"/>
                  </a:lnTo>
                  <a:lnTo>
                    <a:pt x="1154" y="1341"/>
                  </a:lnTo>
                  <a:lnTo>
                    <a:pt x="1147" y="1343"/>
                  </a:lnTo>
                  <a:lnTo>
                    <a:pt x="1143" y="1343"/>
                  </a:lnTo>
                  <a:lnTo>
                    <a:pt x="1136" y="1343"/>
                  </a:lnTo>
                  <a:lnTo>
                    <a:pt x="1132" y="1342"/>
                  </a:lnTo>
                  <a:lnTo>
                    <a:pt x="1128" y="1338"/>
                  </a:lnTo>
                  <a:lnTo>
                    <a:pt x="1127" y="1336"/>
                  </a:lnTo>
                  <a:lnTo>
                    <a:pt x="1127" y="1333"/>
                  </a:lnTo>
                  <a:lnTo>
                    <a:pt x="1125" y="1327"/>
                  </a:lnTo>
                  <a:lnTo>
                    <a:pt x="1123" y="1322"/>
                  </a:lnTo>
                  <a:lnTo>
                    <a:pt x="1119" y="1320"/>
                  </a:lnTo>
                  <a:lnTo>
                    <a:pt x="1114" y="1321"/>
                  </a:lnTo>
                  <a:lnTo>
                    <a:pt x="1109" y="1322"/>
                  </a:lnTo>
                  <a:lnTo>
                    <a:pt x="1104" y="1323"/>
                  </a:lnTo>
                  <a:lnTo>
                    <a:pt x="1101" y="1323"/>
                  </a:lnTo>
                  <a:lnTo>
                    <a:pt x="1096" y="1321"/>
                  </a:lnTo>
                  <a:lnTo>
                    <a:pt x="1095" y="1318"/>
                  </a:lnTo>
                  <a:lnTo>
                    <a:pt x="1095" y="1314"/>
                  </a:lnTo>
                  <a:lnTo>
                    <a:pt x="1096" y="1310"/>
                  </a:lnTo>
                  <a:lnTo>
                    <a:pt x="1100" y="1310"/>
                  </a:lnTo>
                  <a:lnTo>
                    <a:pt x="1103" y="1310"/>
                  </a:lnTo>
                  <a:lnTo>
                    <a:pt x="1107" y="1306"/>
                  </a:lnTo>
                  <a:lnTo>
                    <a:pt x="1104" y="1302"/>
                  </a:lnTo>
                  <a:lnTo>
                    <a:pt x="1103" y="1302"/>
                  </a:lnTo>
                  <a:lnTo>
                    <a:pt x="1100" y="1301"/>
                  </a:lnTo>
                  <a:lnTo>
                    <a:pt x="1099" y="1296"/>
                  </a:lnTo>
                  <a:lnTo>
                    <a:pt x="1094" y="1295"/>
                  </a:lnTo>
                  <a:lnTo>
                    <a:pt x="1090" y="1296"/>
                  </a:lnTo>
                  <a:lnTo>
                    <a:pt x="1085" y="1294"/>
                  </a:lnTo>
                  <a:lnTo>
                    <a:pt x="1084" y="1290"/>
                  </a:lnTo>
                  <a:lnTo>
                    <a:pt x="1086" y="1287"/>
                  </a:lnTo>
                  <a:lnTo>
                    <a:pt x="1091" y="1287"/>
                  </a:lnTo>
                  <a:lnTo>
                    <a:pt x="1096" y="1288"/>
                  </a:lnTo>
                  <a:lnTo>
                    <a:pt x="1100" y="1290"/>
                  </a:lnTo>
                  <a:lnTo>
                    <a:pt x="1103" y="1291"/>
                  </a:lnTo>
                  <a:lnTo>
                    <a:pt x="1104" y="1291"/>
                  </a:lnTo>
                  <a:lnTo>
                    <a:pt x="1108" y="1290"/>
                  </a:lnTo>
                  <a:lnTo>
                    <a:pt x="1110" y="1287"/>
                  </a:lnTo>
                  <a:lnTo>
                    <a:pt x="1111" y="1275"/>
                  </a:lnTo>
                  <a:lnTo>
                    <a:pt x="1109" y="1269"/>
                  </a:lnTo>
                  <a:lnTo>
                    <a:pt x="1106" y="1266"/>
                  </a:lnTo>
                  <a:lnTo>
                    <a:pt x="1102" y="1264"/>
                  </a:lnTo>
                  <a:lnTo>
                    <a:pt x="1099" y="1263"/>
                  </a:lnTo>
                  <a:lnTo>
                    <a:pt x="1095" y="1262"/>
                  </a:lnTo>
                  <a:lnTo>
                    <a:pt x="1092" y="1264"/>
                  </a:lnTo>
                  <a:lnTo>
                    <a:pt x="1088" y="1266"/>
                  </a:lnTo>
                  <a:lnTo>
                    <a:pt x="1087" y="1269"/>
                  </a:lnTo>
                  <a:lnTo>
                    <a:pt x="1084" y="1266"/>
                  </a:lnTo>
                  <a:lnTo>
                    <a:pt x="1082" y="1265"/>
                  </a:lnTo>
                  <a:lnTo>
                    <a:pt x="1078" y="1264"/>
                  </a:lnTo>
                  <a:lnTo>
                    <a:pt x="1076" y="1264"/>
                  </a:lnTo>
                  <a:lnTo>
                    <a:pt x="1064" y="1270"/>
                  </a:lnTo>
                  <a:lnTo>
                    <a:pt x="1062" y="1271"/>
                  </a:lnTo>
                  <a:lnTo>
                    <a:pt x="1058" y="1270"/>
                  </a:lnTo>
                  <a:lnTo>
                    <a:pt x="1056" y="1269"/>
                  </a:lnTo>
                  <a:lnTo>
                    <a:pt x="1056" y="1266"/>
                  </a:lnTo>
                  <a:lnTo>
                    <a:pt x="1059" y="1261"/>
                  </a:lnTo>
                  <a:lnTo>
                    <a:pt x="1062" y="1257"/>
                  </a:lnTo>
                  <a:lnTo>
                    <a:pt x="1066" y="1254"/>
                  </a:lnTo>
                  <a:lnTo>
                    <a:pt x="1067" y="1249"/>
                  </a:lnTo>
                  <a:lnTo>
                    <a:pt x="1067" y="1247"/>
                  </a:lnTo>
                  <a:lnTo>
                    <a:pt x="1064" y="1243"/>
                  </a:lnTo>
                  <a:lnTo>
                    <a:pt x="1062" y="1241"/>
                  </a:lnTo>
                  <a:lnTo>
                    <a:pt x="1059" y="1240"/>
                  </a:lnTo>
                  <a:lnTo>
                    <a:pt x="1055" y="1246"/>
                  </a:lnTo>
                  <a:lnTo>
                    <a:pt x="1055" y="1249"/>
                  </a:lnTo>
                  <a:lnTo>
                    <a:pt x="1053" y="1251"/>
                  </a:lnTo>
                  <a:lnTo>
                    <a:pt x="1051" y="1253"/>
                  </a:lnTo>
                  <a:lnTo>
                    <a:pt x="1047" y="1253"/>
                  </a:lnTo>
                  <a:lnTo>
                    <a:pt x="1045" y="1251"/>
                  </a:lnTo>
                  <a:lnTo>
                    <a:pt x="1043" y="1249"/>
                  </a:lnTo>
                  <a:lnTo>
                    <a:pt x="1038" y="1247"/>
                  </a:lnTo>
                  <a:lnTo>
                    <a:pt x="1037" y="1245"/>
                  </a:lnTo>
                  <a:lnTo>
                    <a:pt x="1035" y="1242"/>
                  </a:lnTo>
                  <a:lnTo>
                    <a:pt x="1031" y="1241"/>
                  </a:lnTo>
                  <a:lnTo>
                    <a:pt x="1028" y="1240"/>
                  </a:lnTo>
                  <a:lnTo>
                    <a:pt x="1022" y="1240"/>
                  </a:lnTo>
                  <a:lnTo>
                    <a:pt x="1019" y="1243"/>
                  </a:lnTo>
                  <a:lnTo>
                    <a:pt x="1018" y="1245"/>
                  </a:lnTo>
                  <a:lnTo>
                    <a:pt x="1018" y="1249"/>
                  </a:lnTo>
                  <a:lnTo>
                    <a:pt x="1019" y="1254"/>
                  </a:lnTo>
                  <a:lnTo>
                    <a:pt x="1020" y="1256"/>
                  </a:lnTo>
                  <a:lnTo>
                    <a:pt x="1020" y="1261"/>
                  </a:lnTo>
                  <a:lnTo>
                    <a:pt x="1020" y="1262"/>
                  </a:lnTo>
                  <a:lnTo>
                    <a:pt x="1014" y="1270"/>
                  </a:lnTo>
                  <a:lnTo>
                    <a:pt x="1011" y="1271"/>
                  </a:lnTo>
                  <a:lnTo>
                    <a:pt x="1007" y="1271"/>
                  </a:lnTo>
                  <a:lnTo>
                    <a:pt x="1003" y="1273"/>
                  </a:lnTo>
                  <a:lnTo>
                    <a:pt x="1002" y="1274"/>
                  </a:lnTo>
                  <a:lnTo>
                    <a:pt x="999" y="1275"/>
                  </a:lnTo>
                  <a:lnTo>
                    <a:pt x="998" y="1278"/>
                  </a:lnTo>
                  <a:lnTo>
                    <a:pt x="997" y="1279"/>
                  </a:lnTo>
                  <a:lnTo>
                    <a:pt x="996" y="1281"/>
                  </a:lnTo>
                  <a:lnTo>
                    <a:pt x="995" y="1283"/>
                  </a:lnTo>
                  <a:lnTo>
                    <a:pt x="992" y="1288"/>
                  </a:lnTo>
                  <a:lnTo>
                    <a:pt x="991" y="1291"/>
                  </a:lnTo>
                  <a:lnTo>
                    <a:pt x="990" y="1295"/>
                  </a:lnTo>
                  <a:lnTo>
                    <a:pt x="989" y="1296"/>
                  </a:lnTo>
                  <a:lnTo>
                    <a:pt x="988" y="1297"/>
                  </a:lnTo>
                  <a:lnTo>
                    <a:pt x="986" y="1298"/>
                  </a:lnTo>
                  <a:lnTo>
                    <a:pt x="983" y="1298"/>
                  </a:lnTo>
                  <a:lnTo>
                    <a:pt x="981" y="1297"/>
                  </a:lnTo>
                  <a:lnTo>
                    <a:pt x="979" y="1295"/>
                  </a:lnTo>
                  <a:lnTo>
                    <a:pt x="978" y="1293"/>
                  </a:lnTo>
                  <a:lnTo>
                    <a:pt x="975" y="1288"/>
                  </a:lnTo>
                  <a:lnTo>
                    <a:pt x="974" y="1287"/>
                  </a:lnTo>
                  <a:lnTo>
                    <a:pt x="971" y="1288"/>
                  </a:lnTo>
                  <a:lnTo>
                    <a:pt x="970" y="1289"/>
                  </a:lnTo>
                  <a:lnTo>
                    <a:pt x="966" y="1290"/>
                  </a:lnTo>
                  <a:lnTo>
                    <a:pt x="963" y="1293"/>
                  </a:lnTo>
                  <a:lnTo>
                    <a:pt x="962" y="1295"/>
                  </a:lnTo>
                  <a:lnTo>
                    <a:pt x="960" y="1297"/>
                  </a:lnTo>
                  <a:lnTo>
                    <a:pt x="959" y="1298"/>
                  </a:lnTo>
                  <a:lnTo>
                    <a:pt x="956" y="1298"/>
                  </a:lnTo>
                  <a:lnTo>
                    <a:pt x="954" y="1297"/>
                  </a:lnTo>
                  <a:lnTo>
                    <a:pt x="951" y="1296"/>
                  </a:lnTo>
                  <a:lnTo>
                    <a:pt x="949" y="1294"/>
                  </a:lnTo>
                  <a:lnTo>
                    <a:pt x="947" y="1291"/>
                  </a:lnTo>
                  <a:lnTo>
                    <a:pt x="940" y="1293"/>
                  </a:lnTo>
                  <a:lnTo>
                    <a:pt x="935" y="1298"/>
                  </a:lnTo>
                  <a:lnTo>
                    <a:pt x="932" y="1302"/>
                  </a:lnTo>
                  <a:lnTo>
                    <a:pt x="931" y="1305"/>
                  </a:lnTo>
                  <a:lnTo>
                    <a:pt x="930" y="1309"/>
                  </a:lnTo>
                  <a:lnTo>
                    <a:pt x="928" y="1310"/>
                  </a:lnTo>
                  <a:lnTo>
                    <a:pt x="925" y="1311"/>
                  </a:lnTo>
                  <a:lnTo>
                    <a:pt x="923" y="1311"/>
                  </a:lnTo>
                  <a:lnTo>
                    <a:pt x="919" y="1309"/>
                  </a:lnTo>
                  <a:lnTo>
                    <a:pt x="917" y="1305"/>
                  </a:lnTo>
                  <a:lnTo>
                    <a:pt x="916" y="1298"/>
                  </a:lnTo>
                  <a:lnTo>
                    <a:pt x="915" y="1296"/>
                  </a:lnTo>
                  <a:lnTo>
                    <a:pt x="915" y="1290"/>
                  </a:lnTo>
                  <a:lnTo>
                    <a:pt x="914" y="1289"/>
                  </a:lnTo>
                  <a:lnTo>
                    <a:pt x="916" y="1287"/>
                  </a:lnTo>
                  <a:lnTo>
                    <a:pt x="920" y="1286"/>
                  </a:lnTo>
                  <a:lnTo>
                    <a:pt x="919" y="1282"/>
                  </a:lnTo>
                  <a:lnTo>
                    <a:pt x="917" y="1282"/>
                  </a:lnTo>
                  <a:lnTo>
                    <a:pt x="915" y="1280"/>
                  </a:lnTo>
                  <a:lnTo>
                    <a:pt x="916" y="1278"/>
                  </a:lnTo>
                  <a:lnTo>
                    <a:pt x="915" y="1275"/>
                  </a:lnTo>
                  <a:lnTo>
                    <a:pt x="914" y="1272"/>
                  </a:lnTo>
                  <a:lnTo>
                    <a:pt x="911" y="1270"/>
                  </a:lnTo>
                  <a:lnTo>
                    <a:pt x="907" y="1270"/>
                  </a:lnTo>
                  <a:lnTo>
                    <a:pt x="904" y="1270"/>
                  </a:lnTo>
                  <a:lnTo>
                    <a:pt x="901" y="1272"/>
                  </a:lnTo>
                  <a:lnTo>
                    <a:pt x="900" y="1272"/>
                  </a:lnTo>
                  <a:lnTo>
                    <a:pt x="899" y="1271"/>
                  </a:lnTo>
                  <a:lnTo>
                    <a:pt x="898" y="1271"/>
                  </a:lnTo>
                  <a:lnTo>
                    <a:pt x="894" y="1272"/>
                  </a:lnTo>
                  <a:lnTo>
                    <a:pt x="893" y="1272"/>
                  </a:lnTo>
                  <a:lnTo>
                    <a:pt x="892" y="1271"/>
                  </a:lnTo>
                  <a:lnTo>
                    <a:pt x="891" y="1271"/>
                  </a:lnTo>
                  <a:lnTo>
                    <a:pt x="891" y="1270"/>
                  </a:lnTo>
                  <a:lnTo>
                    <a:pt x="891" y="1269"/>
                  </a:lnTo>
                  <a:lnTo>
                    <a:pt x="890" y="1267"/>
                  </a:lnTo>
                  <a:lnTo>
                    <a:pt x="887" y="1266"/>
                  </a:lnTo>
                  <a:lnTo>
                    <a:pt x="886" y="1266"/>
                  </a:lnTo>
                  <a:lnTo>
                    <a:pt x="884" y="1266"/>
                  </a:lnTo>
                  <a:lnTo>
                    <a:pt x="883" y="1266"/>
                  </a:lnTo>
                  <a:lnTo>
                    <a:pt x="880" y="1266"/>
                  </a:lnTo>
                  <a:lnTo>
                    <a:pt x="879" y="1267"/>
                  </a:lnTo>
                  <a:lnTo>
                    <a:pt x="878" y="1267"/>
                  </a:lnTo>
                  <a:lnTo>
                    <a:pt x="877" y="1267"/>
                  </a:lnTo>
                  <a:lnTo>
                    <a:pt x="875" y="1267"/>
                  </a:lnTo>
                  <a:lnTo>
                    <a:pt x="871" y="1267"/>
                  </a:lnTo>
                  <a:lnTo>
                    <a:pt x="870" y="1267"/>
                  </a:lnTo>
                  <a:lnTo>
                    <a:pt x="869" y="1267"/>
                  </a:lnTo>
                  <a:lnTo>
                    <a:pt x="867" y="1267"/>
                  </a:lnTo>
                  <a:lnTo>
                    <a:pt x="866" y="1267"/>
                  </a:lnTo>
                  <a:lnTo>
                    <a:pt x="864" y="1267"/>
                  </a:lnTo>
                  <a:lnTo>
                    <a:pt x="862" y="1266"/>
                  </a:lnTo>
                  <a:lnTo>
                    <a:pt x="860" y="1264"/>
                  </a:lnTo>
                  <a:lnTo>
                    <a:pt x="859" y="1263"/>
                  </a:lnTo>
                  <a:lnTo>
                    <a:pt x="858" y="1262"/>
                  </a:lnTo>
                  <a:lnTo>
                    <a:pt x="855" y="1259"/>
                  </a:lnTo>
                  <a:lnTo>
                    <a:pt x="855" y="1258"/>
                  </a:lnTo>
                  <a:lnTo>
                    <a:pt x="853" y="1257"/>
                  </a:lnTo>
                  <a:lnTo>
                    <a:pt x="852" y="1256"/>
                  </a:lnTo>
                  <a:lnTo>
                    <a:pt x="850" y="1255"/>
                  </a:lnTo>
                  <a:lnTo>
                    <a:pt x="848" y="1255"/>
                  </a:lnTo>
                  <a:lnTo>
                    <a:pt x="847" y="1256"/>
                  </a:lnTo>
                  <a:lnTo>
                    <a:pt x="846" y="1257"/>
                  </a:lnTo>
                  <a:lnTo>
                    <a:pt x="845" y="1258"/>
                  </a:lnTo>
                  <a:lnTo>
                    <a:pt x="845" y="1262"/>
                  </a:lnTo>
                  <a:lnTo>
                    <a:pt x="845" y="1263"/>
                  </a:lnTo>
                  <a:lnTo>
                    <a:pt x="845" y="1264"/>
                  </a:lnTo>
                  <a:lnTo>
                    <a:pt x="844" y="1266"/>
                  </a:lnTo>
                  <a:lnTo>
                    <a:pt x="844" y="1269"/>
                  </a:lnTo>
                  <a:lnTo>
                    <a:pt x="844" y="1270"/>
                  </a:lnTo>
                  <a:lnTo>
                    <a:pt x="845" y="1273"/>
                  </a:lnTo>
                  <a:lnTo>
                    <a:pt x="846" y="1274"/>
                  </a:lnTo>
                  <a:lnTo>
                    <a:pt x="846" y="1275"/>
                  </a:lnTo>
                  <a:lnTo>
                    <a:pt x="848" y="1277"/>
                  </a:lnTo>
                  <a:lnTo>
                    <a:pt x="850" y="1278"/>
                  </a:lnTo>
                  <a:lnTo>
                    <a:pt x="851" y="1278"/>
                  </a:lnTo>
                  <a:lnTo>
                    <a:pt x="854" y="1278"/>
                  </a:lnTo>
                  <a:lnTo>
                    <a:pt x="855" y="1278"/>
                  </a:lnTo>
                  <a:lnTo>
                    <a:pt x="858" y="1279"/>
                  </a:lnTo>
                  <a:lnTo>
                    <a:pt x="859" y="1279"/>
                  </a:lnTo>
                  <a:lnTo>
                    <a:pt x="859" y="1280"/>
                  </a:lnTo>
                  <a:lnTo>
                    <a:pt x="859" y="1281"/>
                  </a:lnTo>
                  <a:lnTo>
                    <a:pt x="859" y="1282"/>
                  </a:lnTo>
                  <a:lnTo>
                    <a:pt x="859" y="1283"/>
                  </a:lnTo>
                  <a:lnTo>
                    <a:pt x="856" y="1286"/>
                  </a:lnTo>
                  <a:lnTo>
                    <a:pt x="855" y="1286"/>
                  </a:lnTo>
                  <a:lnTo>
                    <a:pt x="853" y="1287"/>
                  </a:lnTo>
                  <a:lnTo>
                    <a:pt x="850" y="1288"/>
                  </a:lnTo>
                  <a:lnTo>
                    <a:pt x="848" y="1288"/>
                  </a:lnTo>
                  <a:lnTo>
                    <a:pt x="846" y="1289"/>
                  </a:lnTo>
                  <a:lnTo>
                    <a:pt x="844" y="1289"/>
                  </a:lnTo>
                  <a:lnTo>
                    <a:pt x="842" y="1290"/>
                  </a:lnTo>
                  <a:lnTo>
                    <a:pt x="840" y="1290"/>
                  </a:lnTo>
                  <a:lnTo>
                    <a:pt x="838" y="1289"/>
                  </a:lnTo>
                  <a:lnTo>
                    <a:pt x="836" y="1289"/>
                  </a:lnTo>
                  <a:lnTo>
                    <a:pt x="835" y="1290"/>
                  </a:lnTo>
                  <a:lnTo>
                    <a:pt x="832" y="1291"/>
                  </a:lnTo>
                  <a:lnTo>
                    <a:pt x="831" y="1293"/>
                  </a:lnTo>
                  <a:lnTo>
                    <a:pt x="830" y="1294"/>
                  </a:lnTo>
                  <a:lnTo>
                    <a:pt x="829" y="1296"/>
                  </a:lnTo>
                  <a:lnTo>
                    <a:pt x="827" y="1296"/>
                  </a:lnTo>
                  <a:lnTo>
                    <a:pt x="826" y="1296"/>
                  </a:lnTo>
                  <a:lnTo>
                    <a:pt x="824" y="1295"/>
                  </a:lnTo>
                  <a:lnTo>
                    <a:pt x="823" y="1295"/>
                  </a:lnTo>
                  <a:lnTo>
                    <a:pt x="822" y="1294"/>
                  </a:lnTo>
                  <a:lnTo>
                    <a:pt x="820" y="1293"/>
                  </a:lnTo>
                  <a:lnTo>
                    <a:pt x="819" y="1293"/>
                  </a:lnTo>
                  <a:lnTo>
                    <a:pt x="819" y="1291"/>
                  </a:lnTo>
                  <a:lnTo>
                    <a:pt x="818" y="1290"/>
                  </a:lnTo>
                  <a:lnTo>
                    <a:pt x="818" y="1288"/>
                  </a:lnTo>
                  <a:lnTo>
                    <a:pt x="816" y="1288"/>
                  </a:lnTo>
                  <a:lnTo>
                    <a:pt x="814" y="1288"/>
                  </a:lnTo>
                  <a:lnTo>
                    <a:pt x="813" y="1288"/>
                  </a:lnTo>
                  <a:lnTo>
                    <a:pt x="811" y="1290"/>
                  </a:lnTo>
                  <a:lnTo>
                    <a:pt x="810" y="1291"/>
                  </a:lnTo>
                  <a:lnTo>
                    <a:pt x="808" y="1293"/>
                  </a:lnTo>
                  <a:lnTo>
                    <a:pt x="806" y="1294"/>
                  </a:lnTo>
                  <a:lnTo>
                    <a:pt x="805" y="1295"/>
                  </a:lnTo>
                  <a:lnTo>
                    <a:pt x="804" y="1296"/>
                  </a:lnTo>
                  <a:lnTo>
                    <a:pt x="802" y="1296"/>
                  </a:lnTo>
                  <a:lnTo>
                    <a:pt x="800" y="1295"/>
                  </a:lnTo>
                  <a:lnTo>
                    <a:pt x="799" y="1295"/>
                  </a:lnTo>
                  <a:lnTo>
                    <a:pt x="797" y="1293"/>
                  </a:lnTo>
                  <a:lnTo>
                    <a:pt x="797" y="1291"/>
                  </a:lnTo>
                  <a:lnTo>
                    <a:pt x="796" y="1289"/>
                  </a:lnTo>
                  <a:lnTo>
                    <a:pt x="796" y="1288"/>
                  </a:lnTo>
                  <a:lnTo>
                    <a:pt x="796" y="1286"/>
                  </a:lnTo>
                  <a:lnTo>
                    <a:pt x="796" y="1283"/>
                  </a:lnTo>
                  <a:lnTo>
                    <a:pt x="797" y="1281"/>
                  </a:lnTo>
                  <a:lnTo>
                    <a:pt x="798" y="1279"/>
                  </a:lnTo>
                  <a:lnTo>
                    <a:pt x="798" y="1277"/>
                  </a:lnTo>
                  <a:lnTo>
                    <a:pt x="798" y="1274"/>
                  </a:lnTo>
                  <a:lnTo>
                    <a:pt x="799" y="1271"/>
                  </a:lnTo>
                  <a:lnTo>
                    <a:pt x="799" y="1269"/>
                  </a:lnTo>
                  <a:lnTo>
                    <a:pt x="799" y="1266"/>
                  </a:lnTo>
                  <a:lnTo>
                    <a:pt x="800" y="1264"/>
                  </a:lnTo>
                  <a:lnTo>
                    <a:pt x="802" y="1262"/>
                  </a:lnTo>
                  <a:lnTo>
                    <a:pt x="803" y="1261"/>
                  </a:lnTo>
                  <a:lnTo>
                    <a:pt x="805" y="1261"/>
                  </a:lnTo>
                  <a:lnTo>
                    <a:pt x="806" y="1259"/>
                  </a:lnTo>
                  <a:lnTo>
                    <a:pt x="810" y="1257"/>
                  </a:lnTo>
                  <a:lnTo>
                    <a:pt x="811" y="1256"/>
                  </a:lnTo>
                  <a:lnTo>
                    <a:pt x="811" y="1255"/>
                  </a:lnTo>
                  <a:lnTo>
                    <a:pt x="812" y="1251"/>
                  </a:lnTo>
                  <a:lnTo>
                    <a:pt x="813" y="1249"/>
                  </a:lnTo>
                  <a:lnTo>
                    <a:pt x="813" y="1248"/>
                  </a:lnTo>
                  <a:lnTo>
                    <a:pt x="813" y="1246"/>
                  </a:lnTo>
                  <a:lnTo>
                    <a:pt x="812" y="1243"/>
                  </a:lnTo>
                  <a:lnTo>
                    <a:pt x="811" y="1241"/>
                  </a:lnTo>
                  <a:lnTo>
                    <a:pt x="811" y="1239"/>
                  </a:lnTo>
                  <a:lnTo>
                    <a:pt x="808" y="1237"/>
                  </a:lnTo>
                  <a:lnTo>
                    <a:pt x="807" y="1235"/>
                  </a:lnTo>
                  <a:lnTo>
                    <a:pt x="805" y="1233"/>
                  </a:lnTo>
                  <a:lnTo>
                    <a:pt x="804" y="1231"/>
                  </a:lnTo>
                  <a:lnTo>
                    <a:pt x="802" y="1227"/>
                  </a:lnTo>
                  <a:lnTo>
                    <a:pt x="799" y="1226"/>
                  </a:lnTo>
                  <a:lnTo>
                    <a:pt x="797" y="1224"/>
                  </a:lnTo>
                  <a:lnTo>
                    <a:pt x="790" y="1215"/>
                  </a:lnTo>
                  <a:lnTo>
                    <a:pt x="790" y="1211"/>
                  </a:lnTo>
                  <a:lnTo>
                    <a:pt x="791" y="1209"/>
                  </a:lnTo>
                  <a:lnTo>
                    <a:pt x="791" y="1207"/>
                  </a:lnTo>
                  <a:lnTo>
                    <a:pt x="791" y="1206"/>
                  </a:lnTo>
                  <a:lnTo>
                    <a:pt x="791" y="1203"/>
                  </a:lnTo>
                  <a:lnTo>
                    <a:pt x="790" y="1202"/>
                  </a:lnTo>
                  <a:lnTo>
                    <a:pt x="788" y="1201"/>
                  </a:lnTo>
                  <a:lnTo>
                    <a:pt x="787" y="1200"/>
                  </a:lnTo>
                  <a:lnTo>
                    <a:pt x="784" y="1199"/>
                  </a:lnTo>
                  <a:lnTo>
                    <a:pt x="783" y="1198"/>
                  </a:lnTo>
                  <a:lnTo>
                    <a:pt x="781" y="1197"/>
                  </a:lnTo>
                  <a:lnTo>
                    <a:pt x="779" y="1194"/>
                  </a:lnTo>
                  <a:lnTo>
                    <a:pt x="776" y="1193"/>
                  </a:lnTo>
                  <a:lnTo>
                    <a:pt x="776" y="1191"/>
                  </a:lnTo>
                  <a:lnTo>
                    <a:pt x="776" y="1190"/>
                  </a:lnTo>
                  <a:lnTo>
                    <a:pt x="776" y="1187"/>
                  </a:lnTo>
                  <a:lnTo>
                    <a:pt x="778" y="1185"/>
                  </a:lnTo>
                  <a:lnTo>
                    <a:pt x="779" y="1182"/>
                  </a:lnTo>
                  <a:lnTo>
                    <a:pt x="780" y="1181"/>
                  </a:lnTo>
                  <a:lnTo>
                    <a:pt x="781" y="1179"/>
                  </a:lnTo>
                  <a:lnTo>
                    <a:pt x="784" y="1178"/>
                  </a:lnTo>
                  <a:lnTo>
                    <a:pt x="787" y="1179"/>
                  </a:lnTo>
                  <a:lnTo>
                    <a:pt x="789" y="1178"/>
                  </a:lnTo>
                  <a:lnTo>
                    <a:pt x="794" y="1178"/>
                  </a:lnTo>
                  <a:lnTo>
                    <a:pt x="795" y="1178"/>
                  </a:lnTo>
                  <a:lnTo>
                    <a:pt x="797" y="1178"/>
                  </a:lnTo>
                  <a:lnTo>
                    <a:pt x="800" y="1178"/>
                  </a:lnTo>
                  <a:lnTo>
                    <a:pt x="802" y="1178"/>
                  </a:lnTo>
                  <a:lnTo>
                    <a:pt x="804" y="1178"/>
                  </a:lnTo>
                  <a:lnTo>
                    <a:pt x="806" y="1179"/>
                  </a:lnTo>
                  <a:lnTo>
                    <a:pt x="807" y="1181"/>
                  </a:lnTo>
                  <a:lnTo>
                    <a:pt x="808" y="1183"/>
                  </a:lnTo>
                  <a:lnTo>
                    <a:pt x="808" y="1184"/>
                  </a:lnTo>
                  <a:lnTo>
                    <a:pt x="808" y="1185"/>
                  </a:lnTo>
                  <a:lnTo>
                    <a:pt x="808" y="1186"/>
                  </a:lnTo>
                  <a:lnTo>
                    <a:pt x="811" y="1187"/>
                  </a:lnTo>
                  <a:lnTo>
                    <a:pt x="811" y="1189"/>
                  </a:lnTo>
                  <a:lnTo>
                    <a:pt x="811" y="1190"/>
                  </a:lnTo>
                  <a:lnTo>
                    <a:pt x="812" y="1193"/>
                  </a:lnTo>
                  <a:lnTo>
                    <a:pt x="812" y="1194"/>
                  </a:lnTo>
                  <a:lnTo>
                    <a:pt x="812" y="1195"/>
                  </a:lnTo>
                  <a:lnTo>
                    <a:pt x="812" y="1200"/>
                  </a:lnTo>
                  <a:lnTo>
                    <a:pt x="811" y="1202"/>
                  </a:lnTo>
                  <a:lnTo>
                    <a:pt x="811" y="1205"/>
                  </a:lnTo>
                  <a:lnTo>
                    <a:pt x="810" y="1205"/>
                  </a:lnTo>
                  <a:lnTo>
                    <a:pt x="811" y="1207"/>
                  </a:lnTo>
                  <a:lnTo>
                    <a:pt x="811" y="1208"/>
                  </a:lnTo>
                  <a:lnTo>
                    <a:pt x="813" y="1210"/>
                  </a:lnTo>
                  <a:lnTo>
                    <a:pt x="814" y="1211"/>
                  </a:lnTo>
                  <a:lnTo>
                    <a:pt x="816" y="1213"/>
                  </a:lnTo>
                  <a:lnTo>
                    <a:pt x="819" y="1214"/>
                  </a:lnTo>
                  <a:lnTo>
                    <a:pt x="821" y="1214"/>
                  </a:lnTo>
                  <a:lnTo>
                    <a:pt x="823" y="1216"/>
                  </a:lnTo>
                  <a:lnTo>
                    <a:pt x="827" y="1217"/>
                  </a:lnTo>
                  <a:lnTo>
                    <a:pt x="828" y="1218"/>
                  </a:lnTo>
                  <a:lnTo>
                    <a:pt x="831" y="1222"/>
                  </a:lnTo>
                  <a:lnTo>
                    <a:pt x="834" y="1222"/>
                  </a:lnTo>
                  <a:lnTo>
                    <a:pt x="836" y="1223"/>
                  </a:lnTo>
                  <a:lnTo>
                    <a:pt x="838" y="1224"/>
                  </a:lnTo>
                  <a:lnTo>
                    <a:pt x="840" y="1225"/>
                  </a:lnTo>
                  <a:lnTo>
                    <a:pt x="843" y="1226"/>
                  </a:lnTo>
                  <a:lnTo>
                    <a:pt x="845" y="1225"/>
                  </a:lnTo>
                  <a:lnTo>
                    <a:pt x="848" y="1225"/>
                  </a:lnTo>
                  <a:lnTo>
                    <a:pt x="850" y="1225"/>
                  </a:lnTo>
                  <a:lnTo>
                    <a:pt x="852" y="1224"/>
                  </a:lnTo>
                  <a:lnTo>
                    <a:pt x="854" y="1224"/>
                  </a:lnTo>
                  <a:lnTo>
                    <a:pt x="856" y="1223"/>
                  </a:lnTo>
                  <a:lnTo>
                    <a:pt x="859" y="1223"/>
                  </a:lnTo>
                  <a:lnTo>
                    <a:pt x="861" y="1223"/>
                  </a:lnTo>
                  <a:lnTo>
                    <a:pt x="862" y="1223"/>
                  </a:lnTo>
                  <a:lnTo>
                    <a:pt x="864" y="1223"/>
                  </a:lnTo>
                  <a:lnTo>
                    <a:pt x="868" y="1223"/>
                  </a:lnTo>
                  <a:lnTo>
                    <a:pt x="870" y="1224"/>
                  </a:lnTo>
                  <a:lnTo>
                    <a:pt x="871" y="1224"/>
                  </a:lnTo>
                  <a:lnTo>
                    <a:pt x="875" y="1222"/>
                  </a:lnTo>
                  <a:lnTo>
                    <a:pt x="876" y="1221"/>
                  </a:lnTo>
                  <a:lnTo>
                    <a:pt x="877" y="1219"/>
                  </a:lnTo>
                  <a:lnTo>
                    <a:pt x="879" y="1219"/>
                  </a:lnTo>
                  <a:lnTo>
                    <a:pt x="880" y="1218"/>
                  </a:lnTo>
                  <a:lnTo>
                    <a:pt x="883" y="1218"/>
                  </a:lnTo>
                  <a:lnTo>
                    <a:pt x="884" y="1217"/>
                  </a:lnTo>
                  <a:lnTo>
                    <a:pt x="886" y="1218"/>
                  </a:lnTo>
                  <a:lnTo>
                    <a:pt x="887" y="1218"/>
                  </a:lnTo>
                  <a:lnTo>
                    <a:pt x="890" y="1219"/>
                  </a:lnTo>
                  <a:lnTo>
                    <a:pt x="891" y="1221"/>
                  </a:lnTo>
                  <a:lnTo>
                    <a:pt x="892" y="1222"/>
                  </a:lnTo>
                  <a:lnTo>
                    <a:pt x="892" y="1223"/>
                  </a:lnTo>
                  <a:lnTo>
                    <a:pt x="892" y="1224"/>
                  </a:lnTo>
                  <a:lnTo>
                    <a:pt x="893" y="1226"/>
                  </a:lnTo>
                  <a:lnTo>
                    <a:pt x="894" y="1229"/>
                  </a:lnTo>
                  <a:lnTo>
                    <a:pt x="894" y="1231"/>
                  </a:lnTo>
                  <a:lnTo>
                    <a:pt x="895" y="1232"/>
                  </a:lnTo>
                  <a:lnTo>
                    <a:pt x="895" y="1235"/>
                  </a:lnTo>
                  <a:lnTo>
                    <a:pt x="895" y="1237"/>
                  </a:lnTo>
                  <a:lnTo>
                    <a:pt x="895" y="1238"/>
                  </a:lnTo>
                  <a:lnTo>
                    <a:pt x="896" y="1240"/>
                  </a:lnTo>
                  <a:lnTo>
                    <a:pt x="896" y="1241"/>
                  </a:lnTo>
                  <a:lnTo>
                    <a:pt x="898" y="1242"/>
                  </a:lnTo>
                  <a:lnTo>
                    <a:pt x="899" y="1245"/>
                  </a:lnTo>
                  <a:lnTo>
                    <a:pt x="900" y="1246"/>
                  </a:lnTo>
                  <a:lnTo>
                    <a:pt x="900" y="1248"/>
                  </a:lnTo>
                  <a:lnTo>
                    <a:pt x="901" y="1253"/>
                  </a:lnTo>
                  <a:lnTo>
                    <a:pt x="903" y="1256"/>
                  </a:lnTo>
                  <a:lnTo>
                    <a:pt x="907" y="1259"/>
                  </a:lnTo>
                  <a:lnTo>
                    <a:pt x="910" y="1259"/>
                  </a:lnTo>
                  <a:lnTo>
                    <a:pt x="916" y="1259"/>
                  </a:lnTo>
                  <a:lnTo>
                    <a:pt x="918" y="1258"/>
                  </a:lnTo>
                  <a:lnTo>
                    <a:pt x="919" y="1254"/>
                  </a:lnTo>
                  <a:lnTo>
                    <a:pt x="919" y="1250"/>
                  </a:lnTo>
                  <a:lnTo>
                    <a:pt x="916" y="1248"/>
                  </a:lnTo>
                  <a:lnTo>
                    <a:pt x="916" y="1245"/>
                  </a:lnTo>
                  <a:lnTo>
                    <a:pt x="917" y="1242"/>
                  </a:lnTo>
                  <a:lnTo>
                    <a:pt x="917" y="1239"/>
                  </a:lnTo>
                  <a:lnTo>
                    <a:pt x="915" y="1234"/>
                  </a:lnTo>
                  <a:lnTo>
                    <a:pt x="911" y="1232"/>
                  </a:lnTo>
                  <a:lnTo>
                    <a:pt x="906" y="1231"/>
                  </a:lnTo>
                  <a:lnTo>
                    <a:pt x="901" y="1229"/>
                  </a:lnTo>
                  <a:lnTo>
                    <a:pt x="898" y="1227"/>
                  </a:lnTo>
                  <a:lnTo>
                    <a:pt x="895" y="1225"/>
                  </a:lnTo>
                  <a:lnTo>
                    <a:pt x="894" y="1222"/>
                  </a:lnTo>
                  <a:lnTo>
                    <a:pt x="893" y="1218"/>
                  </a:lnTo>
                  <a:lnTo>
                    <a:pt x="892" y="1215"/>
                  </a:lnTo>
                  <a:lnTo>
                    <a:pt x="891" y="1214"/>
                  </a:lnTo>
                  <a:lnTo>
                    <a:pt x="890" y="1213"/>
                  </a:lnTo>
                  <a:lnTo>
                    <a:pt x="888" y="1211"/>
                  </a:lnTo>
                  <a:lnTo>
                    <a:pt x="888" y="1209"/>
                  </a:lnTo>
                  <a:lnTo>
                    <a:pt x="888" y="1208"/>
                  </a:lnTo>
                  <a:lnTo>
                    <a:pt x="890" y="1208"/>
                  </a:lnTo>
                  <a:lnTo>
                    <a:pt x="892" y="1207"/>
                  </a:lnTo>
                  <a:lnTo>
                    <a:pt x="896" y="1206"/>
                  </a:lnTo>
                  <a:lnTo>
                    <a:pt x="902" y="1201"/>
                  </a:lnTo>
                  <a:lnTo>
                    <a:pt x="903" y="1198"/>
                  </a:lnTo>
                  <a:lnTo>
                    <a:pt x="902" y="1194"/>
                  </a:lnTo>
                  <a:lnTo>
                    <a:pt x="901" y="1192"/>
                  </a:lnTo>
                  <a:lnTo>
                    <a:pt x="899" y="1191"/>
                  </a:lnTo>
                  <a:lnTo>
                    <a:pt x="898" y="1186"/>
                  </a:lnTo>
                  <a:lnTo>
                    <a:pt x="901" y="1183"/>
                  </a:lnTo>
                  <a:lnTo>
                    <a:pt x="904" y="1179"/>
                  </a:lnTo>
                  <a:lnTo>
                    <a:pt x="911" y="1178"/>
                  </a:lnTo>
                  <a:lnTo>
                    <a:pt x="917" y="1178"/>
                  </a:lnTo>
                  <a:lnTo>
                    <a:pt x="922" y="1178"/>
                  </a:lnTo>
                  <a:lnTo>
                    <a:pt x="927" y="1178"/>
                  </a:lnTo>
                  <a:lnTo>
                    <a:pt x="930" y="1177"/>
                  </a:lnTo>
                  <a:lnTo>
                    <a:pt x="931" y="1173"/>
                  </a:lnTo>
                  <a:lnTo>
                    <a:pt x="931" y="1169"/>
                  </a:lnTo>
                  <a:lnTo>
                    <a:pt x="930" y="1166"/>
                  </a:lnTo>
                  <a:lnTo>
                    <a:pt x="931" y="1162"/>
                  </a:lnTo>
                  <a:lnTo>
                    <a:pt x="932" y="1160"/>
                  </a:lnTo>
                  <a:lnTo>
                    <a:pt x="932" y="1158"/>
                  </a:lnTo>
                  <a:lnTo>
                    <a:pt x="933" y="1155"/>
                  </a:lnTo>
                  <a:lnTo>
                    <a:pt x="932" y="1150"/>
                  </a:lnTo>
                  <a:lnTo>
                    <a:pt x="927" y="1147"/>
                  </a:lnTo>
                  <a:lnTo>
                    <a:pt x="924" y="1146"/>
                  </a:lnTo>
                  <a:lnTo>
                    <a:pt x="920" y="1144"/>
                  </a:lnTo>
                  <a:lnTo>
                    <a:pt x="917" y="1143"/>
                  </a:lnTo>
                  <a:lnTo>
                    <a:pt x="915" y="1137"/>
                  </a:lnTo>
                  <a:lnTo>
                    <a:pt x="912" y="1136"/>
                  </a:lnTo>
                  <a:lnTo>
                    <a:pt x="907" y="1130"/>
                  </a:lnTo>
                  <a:lnTo>
                    <a:pt x="903" y="1129"/>
                  </a:lnTo>
                  <a:lnTo>
                    <a:pt x="901" y="1129"/>
                  </a:lnTo>
                  <a:lnTo>
                    <a:pt x="898" y="1130"/>
                  </a:lnTo>
                  <a:lnTo>
                    <a:pt x="894" y="1135"/>
                  </a:lnTo>
                  <a:lnTo>
                    <a:pt x="895" y="1139"/>
                  </a:lnTo>
                  <a:lnTo>
                    <a:pt x="898" y="1143"/>
                  </a:lnTo>
                  <a:lnTo>
                    <a:pt x="900" y="1146"/>
                  </a:lnTo>
                  <a:lnTo>
                    <a:pt x="903" y="1150"/>
                  </a:lnTo>
                  <a:lnTo>
                    <a:pt x="907" y="1153"/>
                  </a:lnTo>
                  <a:lnTo>
                    <a:pt x="910" y="1161"/>
                  </a:lnTo>
                  <a:lnTo>
                    <a:pt x="909" y="1165"/>
                  </a:lnTo>
                  <a:lnTo>
                    <a:pt x="908" y="1167"/>
                  </a:lnTo>
                  <a:lnTo>
                    <a:pt x="906" y="1168"/>
                  </a:lnTo>
                  <a:lnTo>
                    <a:pt x="904" y="1168"/>
                  </a:lnTo>
                  <a:lnTo>
                    <a:pt x="902" y="1168"/>
                  </a:lnTo>
                  <a:lnTo>
                    <a:pt x="901" y="1166"/>
                  </a:lnTo>
                  <a:lnTo>
                    <a:pt x="896" y="1161"/>
                  </a:lnTo>
                  <a:lnTo>
                    <a:pt x="894" y="1160"/>
                  </a:lnTo>
                  <a:lnTo>
                    <a:pt x="892" y="1158"/>
                  </a:lnTo>
                  <a:lnTo>
                    <a:pt x="890" y="1155"/>
                  </a:lnTo>
                  <a:lnTo>
                    <a:pt x="888" y="1154"/>
                  </a:lnTo>
                  <a:lnTo>
                    <a:pt x="887" y="1151"/>
                  </a:lnTo>
                  <a:lnTo>
                    <a:pt x="886" y="1149"/>
                  </a:lnTo>
                  <a:lnTo>
                    <a:pt x="885" y="1147"/>
                  </a:lnTo>
                  <a:lnTo>
                    <a:pt x="884" y="1146"/>
                  </a:lnTo>
                  <a:lnTo>
                    <a:pt x="884" y="1145"/>
                  </a:lnTo>
                  <a:lnTo>
                    <a:pt x="884" y="1144"/>
                  </a:lnTo>
                  <a:lnTo>
                    <a:pt x="883" y="1143"/>
                  </a:lnTo>
                  <a:lnTo>
                    <a:pt x="883" y="1142"/>
                  </a:lnTo>
                  <a:lnTo>
                    <a:pt x="883" y="1138"/>
                  </a:lnTo>
                  <a:lnTo>
                    <a:pt x="882" y="1136"/>
                  </a:lnTo>
                  <a:lnTo>
                    <a:pt x="880" y="1134"/>
                  </a:lnTo>
                  <a:lnTo>
                    <a:pt x="878" y="1134"/>
                  </a:lnTo>
                  <a:lnTo>
                    <a:pt x="877" y="1133"/>
                  </a:lnTo>
                  <a:lnTo>
                    <a:pt x="875" y="1134"/>
                  </a:lnTo>
                  <a:lnTo>
                    <a:pt x="872" y="1135"/>
                  </a:lnTo>
                  <a:lnTo>
                    <a:pt x="871" y="1136"/>
                  </a:lnTo>
                  <a:lnTo>
                    <a:pt x="871" y="1137"/>
                  </a:lnTo>
                  <a:lnTo>
                    <a:pt x="870" y="1137"/>
                  </a:lnTo>
                  <a:lnTo>
                    <a:pt x="868" y="1137"/>
                  </a:lnTo>
                  <a:lnTo>
                    <a:pt x="866" y="1138"/>
                  </a:lnTo>
                  <a:lnTo>
                    <a:pt x="864" y="1138"/>
                  </a:lnTo>
                  <a:lnTo>
                    <a:pt x="863" y="1138"/>
                  </a:lnTo>
                  <a:lnTo>
                    <a:pt x="861" y="1138"/>
                  </a:lnTo>
                  <a:lnTo>
                    <a:pt x="859" y="1137"/>
                  </a:lnTo>
                  <a:lnTo>
                    <a:pt x="856" y="1137"/>
                  </a:lnTo>
                  <a:lnTo>
                    <a:pt x="855" y="1136"/>
                  </a:lnTo>
                  <a:lnTo>
                    <a:pt x="852" y="1135"/>
                  </a:lnTo>
                  <a:lnTo>
                    <a:pt x="851" y="1134"/>
                  </a:lnTo>
                  <a:lnTo>
                    <a:pt x="848" y="1133"/>
                  </a:lnTo>
                  <a:lnTo>
                    <a:pt x="846" y="1131"/>
                  </a:lnTo>
                  <a:lnTo>
                    <a:pt x="845" y="1131"/>
                  </a:lnTo>
                  <a:lnTo>
                    <a:pt x="843" y="1131"/>
                  </a:lnTo>
                  <a:lnTo>
                    <a:pt x="839" y="1135"/>
                  </a:lnTo>
                  <a:lnTo>
                    <a:pt x="838" y="1137"/>
                  </a:lnTo>
                  <a:lnTo>
                    <a:pt x="837" y="1141"/>
                  </a:lnTo>
                  <a:lnTo>
                    <a:pt x="836" y="1142"/>
                  </a:lnTo>
                  <a:lnTo>
                    <a:pt x="835" y="1144"/>
                  </a:lnTo>
                  <a:lnTo>
                    <a:pt x="831" y="1149"/>
                  </a:lnTo>
                  <a:lnTo>
                    <a:pt x="830" y="1152"/>
                  </a:lnTo>
                  <a:lnTo>
                    <a:pt x="829" y="1153"/>
                  </a:lnTo>
                  <a:lnTo>
                    <a:pt x="829" y="1155"/>
                  </a:lnTo>
                  <a:lnTo>
                    <a:pt x="829" y="1159"/>
                  </a:lnTo>
                  <a:lnTo>
                    <a:pt x="829" y="1161"/>
                  </a:lnTo>
                  <a:lnTo>
                    <a:pt x="828" y="1163"/>
                  </a:lnTo>
                  <a:lnTo>
                    <a:pt x="828" y="1165"/>
                  </a:lnTo>
                  <a:lnTo>
                    <a:pt x="827" y="1166"/>
                  </a:lnTo>
                  <a:lnTo>
                    <a:pt x="826" y="1168"/>
                  </a:lnTo>
                  <a:lnTo>
                    <a:pt x="823" y="1168"/>
                  </a:lnTo>
                  <a:lnTo>
                    <a:pt x="821" y="1168"/>
                  </a:lnTo>
                  <a:lnTo>
                    <a:pt x="820" y="1168"/>
                  </a:lnTo>
                  <a:lnTo>
                    <a:pt x="819" y="1166"/>
                  </a:lnTo>
                  <a:lnTo>
                    <a:pt x="818" y="1165"/>
                  </a:lnTo>
                  <a:lnTo>
                    <a:pt x="818" y="1163"/>
                  </a:lnTo>
                  <a:lnTo>
                    <a:pt x="815" y="1162"/>
                  </a:lnTo>
                  <a:lnTo>
                    <a:pt x="812" y="1161"/>
                  </a:lnTo>
                  <a:lnTo>
                    <a:pt x="810" y="1160"/>
                  </a:lnTo>
                  <a:lnTo>
                    <a:pt x="807" y="1160"/>
                  </a:lnTo>
                  <a:lnTo>
                    <a:pt x="804" y="1160"/>
                  </a:lnTo>
                  <a:lnTo>
                    <a:pt x="800" y="1160"/>
                  </a:lnTo>
                  <a:lnTo>
                    <a:pt x="799" y="1161"/>
                  </a:lnTo>
                  <a:lnTo>
                    <a:pt x="798" y="1161"/>
                  </a:lnTo>
                  <a:lnTo>
                    <a:pt x="796" y="1161"/>
                  </a:lnTo>
                  <a:lnTo>
                    <a:pt x="794" y="1161"/>
                  </a:lnTo>
                  <a:lnTo>
                    <a:pt x="792" y="1161"/>
                  </a:lnTo>
                  <a:lnTo>
                    <a:pt x="790" y="1161"/>
                  </a:lnTo>
                  <a:lnTo>
                    <a:pt x="788" y="1162"/>
                  </a:lnTo>
                  <a:lnTo>
                    <a:pt x="786" y="1162"/>
                  </a:lnTo>
                  <a:lnTo>
                    <a:pt x="783" y="1161"/>
                  </a:lnTo>
                  <a:lnTo>
                    <a:pt x="782" y="1160"/>
                  </a:lnTo>
                  <a:lnTo>
                    <a:pt x="781" y="1159"/>
                  </a:lnTo>
                  <a:lnTo>
                    <a:pt x="780" y="1157"/>
                  </a:lnTo>
                  <a:lnTo>
                    <a:pt x="780" y="1155"/>
                  </a:lnTo>
                  <a:lnTo>
                    <a:pt x="780" y="1150"/>
                  </a:lnTo>
                  <a:lnTo>
                    <a:pt x="781" y="1146"/>
                  </a:lnTo>
                  <a:lnTo>
                    <a:pt x="781" y="1145"/>
                  </a:lnTo>
                  <a:lnTo>
                    <a:pt x="781" y="1143"/>
                  </a:lnTo>
                  <a:lnTo>
                    <a:pt x="781" y="1139"/>
                  </a:lnTo>
                  <a:lnTo>
                    <a:pt x="779" y="1137"/>
                  </a:lnTo>
                  <a:lnTo>
                    <a:pt x="776" y="1136"/>
                  </a:lnTo>
                  <a:lnTo>
                    <a:pt x="774" y="1135"/>
                  </a:lnTo>
                  <a:lnTo>
                    <a:pt x="770" y="1131"/>
                  </a:lnTo>
                  <a:lnTo>
                    <a:pt x="768" y="1130"/>
                  </a:lnTo>
                  <a:lnTo>
                    <a:pt x="767" y="1127"/>
                  </a:lnTo>
                  <a:lnTo>
                    <a:pt x="767" y="1126"/>
                  </a:lnTo>
                  <a:lnTo>
                    <a:pt x="767" y="1125"/>
                  </a:lnTo>
                  <a:lnTo>
                    <a:pt x="768" y="1122"/>
                  </a:lnTo>
                  <a:lnTo>
                    <a:pt x="770" y="1121"/>
                  </a:lnTo>
                  <a:lnTo>
                    <a:pt x="771" y="1120"/>
                  </a:lnTo>
                  <a:lnTo>
                    <a:pt x="773" y="1119"/>
                  </a:lnTo>
                  <a:lnTo>
                    <a:pt x="776" y="1119"/>
                  </a:lnTo>
                  <a:lnTo>
                    <a:pt x="778" y="1118"/>
                  </a:lnTo>
                  <a:lnTo>
                    <a:pt x="781" y="1115"/>
                  </a:lnTo>
                  <a:lnTo>
                    <a:pt x="783" y="1115"/>
                  </a:lnTo>
                  <a:lnTo>
                    <a:pt x="787" y="1112"/>
                  </a:lnTo>
                  <a:lnTo>
                    <a:pt x="788" y="1111"/>
                  </a:lnTo>
                  <a:lnTo>
                    <a:pt x="789" y="1109"/>
                  </a:lnTo>
                  <a:lnTo>
                    <a:pt x="789" y="1107"/>
                  </a:lnTo>
                  <a:lnTo>
                    <a:pt x="789" y="1105"/>
                  </a:lnTo>
                  <a:lnTo>
                    <a:pt x="789" y="1104"/>
                  </a:lnTo>
                  <a:lnTo>
                    <a:pt x="788" y="1102"/>
                  </a:lnTo>
                  <a:lnTo>
                    <a:pt x="788" y="1101"/>
                  </a:lnTo>
                  <a:lnTo>
                    <a:pt x="787" y="1099"/>
                  </a:lnTo>
                  <a:lnTo>
                    <a:pt x="786" y="1098"/>
                  </a:lnTo>
                  <a:lnTo>
                    <a:pt x="782" y="1097"/>
                  </a:lnTo>
                  <a:lnTo>
                    <a:pt x="781" y="1097"/>
                  </a:lnTo>
                  <a:lnTo>
                    <a:pt x="776" y="1097"/>
                  </a:lnTo>
                  <a:lnTo>
                    <a:pt x="774" y="1098"/>
                  </a:lnTo>
                  <a:lnTo>
                    <a:pt x="772" y="1098"/>
                  </a:lnTo>
                  <a:lnTo>
                    <a:pt x="768" y="1098"/>
                  </a:lnTo>
                  <a:lnTo>
                    <a:pt x="765" y="1098"/>
                  </a:lnTo>
                  <a:lnTo>
                    <a:pt x="762" y="1097"/>
                  </a:lnTo>
                  <a:lnTo>
                    <a:pt x="759" y="1097"/>
                  </a:lnTo>
                  <a:lnTo>
                    <a:pt x="758" y="1096"/>
                  </a:lnTo>
                  <a:lnTo>
                    <a:pt x="756" y="1094"/>
                  </a:lnTo>
                  <a:lnTo>
                    <a:pt x="751" y="1089"/>
                  </a:lnTo>
                  <a:lnTo>
                    <a:pt x="749" y="1087"/>
                  </a:lnTo>
                  <a:lnTo>
                    <a:pt x="748" y="1086"/>
                  </a:lnTo>
                  <a:lnTo>
                    <a:pt x="748" y="1083"/>
                  </a:lnTo>
                  <a:lnTo>
                    <a:pt x="746" y="1081"/>
                  </a:lnTo>
                  <a:lnTo>
                    <a:pt x="744" y="1080"/>
                  </a:lnTo>
                  <a:lnTo>
                    <a:pt x="742" y="1078"/>
                  </a:lnTo>
                  <a:lnTo>
                    <a:pt x="741" y="1074"/>
                  </a:lnTo>
                  <a:lnTo>
                    <a:pt x="740" y="1072"/>
                  </a:lnTo>
                  <a:lnTo>
                    <a:pt x="740" y="1070"/>
                  </a:lnTo>
                  <a:lnTo>
                    <a:pt x="740" y="1067"/>
                  </a:lnTo>
                  <a:lnTo>
                    <a:pt x="739" y="1064"/>
                  </a:lnTo>
                  <a:lnTo>
                    <a:pt x="739" y="1062"/>
                  </a:lnTo>
                  <a:lnTo>
                    <a:pt x="738" y="1059"/>
                  </a:lnTo>
                  <a:lnTo>
                    <a:pt x="738" y="1057"/>
                  </a:lnTo>
                  <a:lnTo>
                    <a:pt x="738" y="1054"/>
                  </a:lnTo>
                  <a:lnTo>
                    <a:pt x="736" y="1050"/>
                  </a:lnTo>
                  <a:lnTo>
                    <a:pt x="736" y="1048"/>
                  </a:lnTo>
                  <a:lnTo>
                    <a:pt x="738" y="1046"/>
                  </a:lnTo>
                  <a:lnTo>
                    <a:pt x="739" y="1042"/>
                  </a:lnTo>
                  <a:lnTo>
                    <a:pt x="740" y="1039"/>
                  </a:lnTo>
                  <a:lnTo>
                    <a:pt x="740" y="1037"/>
                  </a:lnTo>
                  <a:lnTo>
                    <a:pt x="743" y="1034"/>
                  </a:lnTo>
                  <a:lnTo>
                    <a:pt x="746" y="1031"/>
                  </a:lnTo>
                  <a:lnTo>
                    <a:pt x="747" y="1029"/>
                  </a:lnTo>
                  <a:lnTo>
                    <a:pt x="747" y="1024"/>
                  </a:lnTo>
                  <a:lnTo>
                    <a:pt x="746" y="1022"/>
                  </a:lnTo>
                  <a:lnTo>
                    <a:pt x="746" y="1019"/>
                  </a:lnTo>
                  <a:lnTo>
                    <a:pt x="744" y="1017"/>
                  </a:lnTo>
                  <a:lnTo>
                    <a:pt x="744" y="1016"/>
                  </a:lnTo>
                  <a:lnTo>
                    <a:pt x="744" y="1014"/>
                  </a:lnTo>
                  <a:lnTo>
                    <a:pt x="744" y="1011"/>
                  </a:lnTo>
                  <a:lnTo>
                    <a:pt x="746" y="1009"/>
                  </a:lnTo>
                  <a:lnTo>
                    <a:pt x="749" y="1008"/>
                  </a:lnTo>
                  <a:lnTo>
                    <a:pt x="751" y="1007"/>
                  </a:lnTo>
                  <a:lnTo>
                    <a:pt x="752" y="1007"/>
                  </a:lnTo>
                  <a:lnTo>
                    <a:pt x="755" y="1006"/>
                  </a:lnTo>
                  <a:lnTo>
                    <a:pt x="756" y="1005"/>
                  </a:lnTo>
                  <a:lnTo>
                    <a:pt x="758" y="1002"/>
                  </a:lnTo>
                  <a:lnTo>
                    <a:pt x="758" y="1000"/>
                  </a:lnTo>
                  <a:lnTo>
                    <a:pt x="758" y="997"/>
                  </a:lnTo>
                  <a:lnTo>
                    <a:pt x="758" y="994"/>
                  </a:lnTo>
                  <a:lnTo>
                    <a:pt x="758" y="990"/>
                  </a:lnTo>
                  <a:lnTo>
                    <a:pt x="758" y="987"/>
                  </a:lnTo>
                  <a:lnTo>
                    <a:pt x="758" y="983"/>
                  </a:lnTo>
                  <a:lnTo>
                    <a:pt x="759" y="979"/>
                  </a:lnTo>
                  <a:lnTo>
                    <a:pt x="759" y="976"/>
                  </a:lnTo>
                  <a:lnTo>
                    <a:pt x="760" y="974"/>
                  </a:lnTo>
                  <a:lnTo>
                    <a:pt x="760" y="970"/>
                  </a:lnTo>
                  <a:lnTo>
                    <a:pt x="762" y="969"/>
                  </a:lnTo>
                  <a:lnTo>
                    <a:pt x="762" y="967"/>
                  </a:lnTo>
                  <a:lnTo>
                    <a:pt x="762" y="965"/>
                  </a:lnTo>
                  <a:lnTo>
                    <a:pt x="760" y="961"/>
                  </a:lnTo>
                  <a:lnTo>
                    <a:pt x="758" y="960"/>
                  </a:lnTo>
                  <a:lnTo>
                    <a:pt x="756" y="960"/>
                  </a:lnTo>
                  <a:lnTo>
                    <a:pt x="752" y="960"/>
                  </a:lnTo>
                  <a:lnTo>
                    <a:pt x="751" y="959"/>
                  </a:lnTo>
                  <a:lnTo>
                    <a:pt x="750" y="958"/>
                  </a:lnTo>
                  <a:lnTo>
                    <a:pt x="749" y="958"/>
                  </a:lnTo>
                  <a:lnTo>
                    <a:pt x="744" y="958"/>
                  </a:lnTo>
                  <a:lnTo>
                    <a:pt x="742" y="958"/>
                  </a:lnTo>
                  <a:lnTo>
                    <a:pt x="740" y="959"/>
                  </a:lnTo>
                  <a:lnTo>
                    <a:pt x="738" y="959"/>
                  </a:lnTo>
                  <a:lnTo>
                    <a:pt x="735" y="958"/>
                  </a:lnTo>
                  <a:lnTo>
                    <a:pt x="733" y="958"/>
                  </a:lnTo>
                  <a:lnTo>
                    <a:pt x="732" y="955"/>
                  </a:lnTo>
                  <a:lnTo>
                    <a:pt x="732" y="954"/>
                  </a:lnTo>
                  <a:lnTo>
                    <a:pt x="732" y="952"/>
                  </a:lnTo>
                  <a:lnTo>
                    <a:pt x="733" y="951"/>
                  </a:lnTo>
                  <a:lnTo>
                    <a:pt x="738" y="950"/>
                  </a:lnTo>
                  <a:lnTo>
                    <a:pt x="739" y="949"/>
                  </a:lnTo>
                  <a:lnTo>
                    <a:pt x="740" y="947"/>
                  </a:lnTo>
                  <a:lnTo>
                    <a:pt x="741" y="946"/>
                  </a:lnTo>
                  <a:lnTo>
                    <a:pt x="742" y="945"/>
                  </a:lnTo>
                  <a:lnTo>
                    <a:pt x="744" y="942"/>
                  </a:lnTo>
                  <a:lnTo>
                    <a:pt x="744" y="939"/>
                  </a:lnTo>
                  <a:lnTo>
                    <a:pt x="742" y="937"/>
                  </a:lnTo>
                  <a:lnTo>
                    <a:pt x="742" y="936"/>
                  </a:lnTo>
                  <a:lnTo>
                    <a:pt x="741" y="934"/>
                  </a:lnTo>
                  <a:lnTo>
                    <a:pt x="742" y="933"/>
                  </a:lnTo>
                  <a:lnTo>
                    <a:pt x="743" y="931"/>
                  </a:lnTo>
                  <a:lnTo>
                    <a:pt x="746" y="930"/>
                  </a:lnTo>
                  <a:lnTo>
                    <a:pt x="748" y="931"/>
                  </a:lnTo>
                  <a:lnTo>
                    <a:pt x="751" y="933"/>
                  </a:lnTo>
                  <a:lnTo>
                    <a:pt x="752" y="933"/>
                  </a:lnTo>
                  <a:lnTo>
                    <a:pt x="755" y="934"/>
                  </a:lnTo>
                  <a:lnTo>
                    <a:pt x="757" y="934"/>
                  </a:lnTo>
                  <a:lnTo>
                    <a:pt x="759" y="935"/>
                  </a:lnTo>
                  <a:lnTo>
                    <a:pt x="762" y="937"/>
                  </a:lnTo>
                  <a:lnTo>
                    <a:pt x="764" y="938"/>
                  </a:lnTo>
                  <a:lnTo>
                    <a:pt x="765" y="939"/>
                  </a:lnTo>
                  <a:lnTo>
                    <a:pt x="767" y="941"/>
                  </a:lnTo>
                  <a:lnTo>
                    <a:pt x="768" y="942"/>
                  </a:lnTo>
                  <a:lnTo>
                    <a:pt x="771" y="942"/>
                  </a:lnTo>
                  <a:lnTo>
                    <a:pt x="772" y="943"/>
                  </a:lnTo>
                  <a:lnTo>
                    <a:pt x="773" y="943"/>
                  </a:lnTo>
                  <a:lnTo>
                    <a:pt x="775" y="944"/>
                  </a:lnTo>
                  <a:lnTo>
                    <a:pt x="779" y="944"/>
                  </a:lnTo>
                  <a:lnTo>
                    <a:pt x="782" y="943"/>
                  </a:lnTo>
                  <a:lnTo>
                    <a:pt x="784" y="943"/>
                  </a:lnTo>
                  <a:lnTo>
                    <a:pt x="787" y="943"/>
                  </a:lnTo>
                  <a:lnTo>
                    <a:pt x="789" y="944"/>
                  </a:lnTo>
                  <a:lnTo>
                    <a:pt x="791" y="945"/>
                  </a:lnTo>
                  <a:lnTo>
                    <a:pt x="792" y="946"/>
                  </a:lnTo>
                  <a:lnTo>
                    <a:pt x="795" y="946"/>
                  </a:lnTo>
                  <a:lnTo>
                    <a:pt x="797" y="945"/>
                  </a:lnTo>
                  <a:lnTo>
                    <a:pt x="799" y="945"/>
                  </a:lnTo>
                  <a:lnTo>
                    <a:pt x="802" y="944"/>
                  </a:lnTo>
                  <a:lnTo>
                    <a:pt x="804" y="944"/>
                  </a:lnTo>
                  <a:lnTo>
                    <a:pt x="807" y="943"/>
                  </a:lnTo>
                  <a:lnTo>
                    <a:pt x="811" y="944"/>
                  </a:lnTo>
                  <a:lnTo>
                    <a:pt x="812" y="945"/>
                  </a:lnTo>
                  <a:lnTo>
                    <a:pt x="814" y="947"/>
                  </a:lnTo>
                  <a:lnTo>
                    <a:pt x="815" y="949"/>
                  </a:lnTo>
                  <a:lnTo>
                    <a:pt x="818" y="950"/>
                  </a:lnTo>
                  <a:lnTo>
                    <a:pt x="820" y="949"/>
                  </a:lnTo>
                  <a:lnTo>
                    <a:pt x="822" y="949"/>
                  </a:lnTo>
                  <a:lnTo>
                    <a:pt x="824" y="946"/>
                  </a:lnTo>
                  <a:lnTo>
                    <a:pt x="827" y="945"/>
                  </a:lnTo>
                  <a:lnTo>
                    <a:pt x="829" y="943"/>
                  </a:lnTo>
                  <a:lnTo>
                    <a:pt x="829" y="942"/>
                  </a:lnTo>
                  <a:lnTo>
                    <a:pt x="830" y="941"/>
                  </a:lnTo>
                  <a:lnTo>
                    <a:pt x="831" y="938"/>
                  </a:lnTo>
                  <a:lnTo>
                    <a:pt x="830" y="937"/>
                  </a:lnTo>
                  <a:lnTo>
                    <a:pt x="832" y="933"/>
                  </a:lnTo>
                  <a:lnTo>
                    <a:pt x="832" y="931"/>
                  </a:lnTo>
                  <a:lnTo>
                    <a:pt x="835" y="929"/>
                  </a:lnTo>
                  <a:lnTo>
                    <a:pt x="836" y="928"/>
                  </a:lnTo>
                  <a:lnTo>
                    <a:pt x="837" y="925"/>
                  </a:lnTo>
                  <a:lnTo>
                    <a:pt x="837" y="922"/>
                  </a:lnTo>
                  <a:lnTo>
                    <a:pt x="837" y="921"/>
                  </a:lnTo>
                  <a:lnTo>
                    <a:pt x="837" y="919"/>
                  </a:lnTo>
                  <a:lnTo>
                    <a:pt x="836" y="917"/>
                  </a:lnTo>
                  <a:lnTo>
                    <a:pt x="835" y="914"/>
                  </a:lnTo>
                  <a:lnTo>
                    <a:pt x="834" y="913"/>
                  </a:lnTo>
                  <a:lnTo>
                    <a:pt x="832" y="911"/>
                  </a:lnTo>
                  <a:lnTo>
                    <a:pt x="831" y="909"/>
                  </a:lnTo>
                  <a:lnTo>
                    <a:pt x="830" y="906"/>
                  </a:lnTo>
                  <a:lnTo>
                    <a:pt x="830" y="905"/>
                  </a:lnTo>
                  <a:lnTo>
                    <a:pt x="829" y="903"/>
                  </a:lnTo>
                  <a:lnTo>
                    <a:pt x="829" y="901"/>
                  </a:lnTo>
                  <a:lnTo>
                    <a:pt x="829" y="898"/>
                  </a:lnTo>
                  <a:lnTo>
                    <a:pt x="830" y="895"/>
                  </a:lnTo>
                  <a:lnTo>
                    <a:pt x="832" y="893"/>
                  </a:lnTo>
                  <a:lnTo>
                    <a:pt x="834" y="890"/>
                  </a:lnTo>
                  <a:lnTo>
                    <a:pt x="834" y="889"/>
                  </a:lnTo>
                  <a:lnTo>
                    <a:pt x="834" y="887"/>
                  </a:lnTo>
                  <a:lnTo>
                    <a:pt x="835" y="883"/>
                  </a:lnTo>
                  <a:lnTo>
                    <a:pt x="835" y="881"/>
                  </a:lnTo>
                  <a:lnTo>
                    <a:pt x="835" y="879"/>
                  </a:lnTo>
                  <a:lnTo>
                    <a:pt x="835" y="877"/>
                  </a:lnTo>
                  <a:lnTo>
                    <a:pt x="835" y="874"/>
                  </a:lnTo>
                  <a:lnTo>
                    <a:pt x="834" y="872"/>
                  </a:lnTo>
                  <a:lnTo>
                    <a:pt x="834" y="870"/>
                  </a:lnTo>
                  <a:lnTo>
                    <a:pt x="831" y="866"/>
                  </a:lnTo>
                  <a:lnTo>
                    <a:pt x="829" y="865"/>
                  </a:lnTo>
                  <a:lnTo>
                    <a:pt x="827" y="863"/>
                  </a:lnTo>
                  <a:lnTo>
                    <a:pt x="823" y="861"/>
                  </a:lnTo>
                  <a:lnTo>
                    <a:pt x="820" y="859"/>
                  </a:lnTo>
                  <a:lnTo>
                    <a:pt x="816" y="858"/>
                  </a:lnTo>
                  <a:lnTo>
                    <a:pt x="813" y="857"/>
                  </a:lnTo>
                  <a:lnTo>
                    <a:pt x="810" y="856"/>
                  </a:lnTo>
                  <a:lnTo>
                    <a:pt x="807" y="854"/>
                  </a:lnTo>
                  <a:lnTo>
                    <a:pt x="805" y="851"/>
                  </a:lnTo>
                  <a:lnTo>
                    <a:pt x="804" y="848"/>
                  </a:lnTo>
                  <a:lnTo>
                    <a:pt x="804" y="846"/>
                  </a:lnTo>
                  <a:lnTo>
                    <a:pt x="803" y="841"/>
                  </a:lnTo>
                  <a:lnTo>
                    <a:pt x="802" y="839"/>
                  </a:lnTo>
                  <a:lnTo>
                    <a:pt x="800" y="834"/>
                  </a:lnTo>
                  <a:lnTo>
                    <a:pt x="799" y="832"/>
                  </a:lnTo>
                  <a:lnTo>
                    <a:pt x="798" y="830"/>
                  </a:lnTo>
                  <a:lnTo>
                    <a:pt x="797" y="826"/>
                  </a:lnTo>
                  <a:lnTo>
                    <a:pt x="795" y="825"/>
                  </a:lnTo>
                  <a:lnTo>
                    <a:pt x="791" y="823"/>
                  </a:lnTo>
                  <a:lnTo>
                    <a:pt x="790" y="822"/>
                  </a:lnTo>
                  <a:lnTo>
                    <a:pt x="789" y="819"/>
                  </a:lnTo>
                  <a:lnTo>
                    <a:pt x="789" y="817"/>
                  </a:lnTo>
                  <a:lnTo>
                    <a:pt x="788" y="816"/>
                  </a:lnTo>
                  <a:lnTo>
                    <a:pt x="788" y="814"/>
                  </a:lnTo>
                  <a:lnTo>
                    <a:pt x="789" y="811"/>
                  </a:lnTo>
                  <a:lnTo>
                    <a:pt x="790" y="810"/>
                  </a:lnTo>
                  <a:lnTo>
                    <a:pt x="792" y="809"/>
                  </a:lnTo>
                  <a:lnTo>
                    <a:pt x="796" y="809"/>
                  </a:lnTo>
                  <a:lnTo>
                    <a:pt x="799" y="810"/>
                  </a:lnTo>
                  <a:lnTo>
                    <a:pt x="800" y="810"/>
                  </a:lnTo>
                  <a:lnTo>
                    <a:pt x="802" y="809"/>
                  </a:lnTo>
                  <a:lnTo>
                    <a:pt x="802" y="808"/>
                  </a:lnTo>
                  <a:lnTo>
                    <a:pt x="802" y="806"/>
                  </a:lnTo>
                  <a:lnTo>
                    <a:pt x="802" y="803"/>
                  </a:lnTo>
                  <a:lnTo>
                    <a:pt x="800" y="801"/>
                  </a:lnTo>
                  <a:lnTo>
                    <a:pt x="800" y="799"/>
                  </a:lnTo>
                  <a:lnTo>
                    <a:pt x="800" y="793"/>
                  </a:lnTo>
                  <a:lnTo>
                    <a:pt x="802" y="789"/>
                  </a:lnTo>
                  <a:lnTo>
                    <a:pt x="804" y="783"/>
                  </a:lnTo>
                  <a:lnTo>
                    <a:pt x="804" y="781"/>
                  </a:lnTo>
                  <a:lnTo>
                    <a:pt x="805" y="777"/>
                  </a:lnTo>
                  <a:lnTo>
                    <a:pt x="806" y="775"/>
                  </a:lnTo>
                  <a:lnTo>
                    <a:pt x="807" y="773"/>
                  </a:lnTo>
                  <a:lnTo>
                    <a:pt x="808" y="771"/>
                  </a:lnTo>
                  <a:lnTo>
                    <a:pt x="810" y="770"/>
                  </a:lnTo>
                  <a:lnTo>
                    <a:pt x="811" y="770"/>
                  </a:lnTo>
                  <a:lnTo>
                    <a:pt x="813" y="770"/>
                  </a:lnTo>
                  <a:lnTo>
                    <a:pt x="816" y="771"/>
                  </a:lnTo>
                  <a:lnTo>
                    <a:pt x="818" y="774"/>
                  </a:lnTo>
                  <a:lnTo>
                    <a:pt x="820" y="774"/>
                  </a:lnTo>
                  <a:lnTo>
                    <a:pt x="821" y="774"/>
                  </a:lnTo>
                  <a:lnTo>
                    <a:pt x="823" y="774"/>
                  </a:lnTo>
                  <a:lnTo>
                    <a:pt x="824" y="775"/>
                  </a:lnTo>
                  <a:lnTo>
                    <a:pt x="826" y="775"/>
                  </a:lnTo>
                  <a:lnTo>
                    <a:pt x="827" y="775"/>
                  </a:lnTo>
                  <a:lnTo>
                    <a:pt x="828" y="775"/>
                  </a:lnTo>
                  <a:lnTo>
                    <a:pt x="830" y="774"/>
                  </a:lnTo>
                  <a:lnTo>
                    <a:pt x="830" y="773"/>
                  </a:lnTo>
                  <a:lnTo>
                    <a:pt x="831" y="770"/>
                  </a:lnTo>
                  <a:lnTo>
                    <a:pt x="831" y="769"/>
                  </a:lnTo>
                  <a:lnTo>
                    <a:pt x="831" y="768"/>
                  </a:lnTo>
                  <a:lnTo>
                    <a:pt x="830" y="767"/>
                  </a:lnTo>
                  <a:lnTo>
                    <a:pt x="828" y="765"/>
                  </a:lnTo>
                  <a:lnTo>
                    <a:pt x="827" y="763"/>
                  </a:lnTo>
                  <a:lnTo>
                    <a:pt x="824" y="762"/>
                  </a:lnTo>
                  <a:lnTo>
                    <a:pt x="822" y="760"/>
                  </a:lnTo>
                  <a:lnTo>
                    <a:pt x="822" y="759"/>
                  </a:lnTo>
                  <a:lnTo>
                    <a:pt x="823" y="757"/>
                  </a:lnTo>
                  <a:lnTo>
                    <a:pt x="823" y="755"/>
                  </a:lnTo>
                  <a:lnTo>
                    <a:pt x="822" y="754"/>
                  </a:lnTo>
                  <a:lnTo>
                    <a:pt x="822" y="752"/>
                  </a:lnTo>
                  <a:lnTo>
                    <a:pt x="821" y="750"/>
                  </a:lnTo>
                  <a:lnTo>
                    <a:pt x="815" y="747"/>
                  </a:lnTo>
                  <a:lnTo>
                    <a:pt x="814" y="746"/>
                  </a:lnTo>
                  <a:lnTo>
                    <a:pt x="812" y="746"/>
                  </a:lnTo>
                  <a:lnTo>
                    <a:pt x="810" y="744"/>
                  </a:lnTo>
                  <a:lnTo>
                    <a:pt x="808" y="742"/>
                  </a:lnTo>
                  <a:lnTo>
                    <a:pt x="808" y="741"/>
                  </a:lnTo>
                  <a:lnTo>
                    <a:pt x="808" y="738"/>
                  </a:lnTo>
                  <a:lnTo>
                    <a:pt x="808" y="737"/>
                  </a:lnTo>
                  <a:lnTo>
                    <a:pt x="810" y="735"/>
                  </a:lnTo>
                  <a:lnTo>
                    <a:pt x="811" y="733"/>
                  </a:lnTo>
                  <a:lnTo>
                    <a:pt x="812" y="730"/>
                  </a:lnTo>
                  <a:lnTo>
                    <a:pt x="812" y="729"/>
                  </a:lnTo>
                  <a:lnTo>
                    <a:pt x="812" y="727"/>
                  </a:lnTo>
                  <a:lnTo>
                    <a:pt x="811" y="726"/>
                  </a:lnTo>
                  <a:lnTo>
                    <a:pt x="808" y="725"/>
                  </a:lnTo>
                  <a:lnTo>
                    <a:pt x="806" y="723"/>
                  </a:lnTo>
                  <a:lnTo>
                    <a:pt x="805" y="721"/>
                  </a:lnTo>
                  <a:lnTo>
                    <a:pt x="805" y="719"/>
                  </a:lnTo>
                  <a:lnTo>
                    <a:pt x="805" y="717"/>
                  </a:lnTo>
                  <a:lnTo>
                    <a:pt x="806" y="714"/>
                  </a:lnTo>
                  <a:lnTo>
                    <a:pt x="807" y="712"/>
                  </a:lnTo>
                  <a:lnTo>
                    <a:pt x="810" y="710"/>
                  </a:lnTo>
                  <a:lnTo>
                    <a:pt x="813" y="707"/>
                  </a:lnTo>
                  <a:lnTo>
                    <a:pt x="815" y="705"/>
                  </a:lnTo>
                  <a:lnTo>
                    <a:pt x="819" y="704"/>
                  </a:lnTo>
                  <a:lnTo>
                    <a:pt x="821" y="703"/>
                  </a:lnTo>
                  <a:lnTo>
                    <a:pt x="823" y="702"/>
                  </a:lnTo>
                  <a:lnTo>
                    <a:pt x="826" y="701"/>
                  </a:lnTo>
                  <a:lnTo>
                    <a:pt x="838" y="694"/>
                  </a:lnTo>
                  <a:lnTo>
                    <a:pt x="839" y="693"/>
                  </a:lnTo>
                  <a:lnTo>
                    <a:pt x="843" y="691"/>
                  </a:lnTo>
                  <a:lnTo>
                    <a:pt x="846" y="690"/>
                  </a:lnTo>
                  <a:lnTo>
                    <a:pt x="850" y="689"/>
                  </a:lnTo>
                  <a:lnTo>
                    <a:pt x="854" y="688"/>
                  </a:lnTo>
                  <a:lnTo>
                    <a:pt x="858" y="688"/>
                  </a:lnTo>
                  <a:lnTo>
                    <a:pt x="861" y="687"/>
                  </a:lnTo>
                  <a:lnTo>
                    <a:pt x="866" y="685"/>
                  </a:lnTo>
                  <a:lnTo>
                    <a:pt x="868" y="685"/>
                  </a:lnTo>
                  <a:lnTo>
                    <a:pt x="875" y="682"/>
                  </a:lnTo>
                  <a:lnTo>
                    <a:pt x="877" y="682"/>
                  </a:lnTo>
                  <a:lnTo>
                    <a:pt x="883" y="682"/>
                  </a:lnTo>
                  <a:lnTo>
                    <a:pt x="887" y="683"/>
                  </a:lnTo>
                  <a:lnTo>
                    <a:pt x="895" y="686"/>
                  </a:lnTo>
                  <a:lnTo>
                    <a:pt x="901" y="688"/>
                  </a:lnTo>
                  <a:lnTo>
                    <a:pt x="906" y="690"/>
                  </a:lnTo>
                  <a:lnTo>
                    <a:pt x="911" y="693"/>
                  </a:lnTo>
                  <a:lnTo>
                    <a:pt x="918" y="695"/>
                  </a:lnTo>
                  <a:lnTo>
                    <a:pt x="930" y="697"/>
                  </a:lnTo>
                  <a:lnTo>
                    <a:pt x="933" y="697"/>
                  </a:lnTo>
                  <a:lnTo>
                    <a:pt x="939" y="698"/>
                  </a:lnTo>
                  <a:lnTo>
                    <a:pt x="941" y="695"/>
                  </a:lnTo>
                  <a:lnTo>
                    <a:pt x="941" y="688"/>
                  </a:lnTo>
                  <a:lnTo>
                    <a:pt x="941" y="681"/>
                  </a:lnTo>
                  <a:lnTo>
                    <a:pt x="939" y="674"/>
                  </a:lnTo>
                  <a:lnTo>
                    <a:pt x="936" y="666"/>
                  </a:lnTo>
                  <a:lnTo>
                    <a:pt x="935" y="662"/>
                  </a:lnTo>
                  <a:lnTo>
                    <a:pt x="936" y="653"/>
                  </a:lnTo>
                  <a:lnTo>
                    <a:pt x="939" y="649"/>
                  </a:lnTo>
                  <a:lnTo>
                    <a:pt x="940" y="646"/>
                  </a:lnTo>
                  <a:lnTo>
                    <a:pt x="939" y="641"/>
                  </a:lnTo>
                  <a:lnTo>
                    <a:pt x="936" y="639"/>
                  </a:lnTo>
                  <a:lnTo>
                    <a:pt x="934" y="634"/>
                  </a:lnTo>
                  <a:lnTo>
                    <a:pt x="933" y="630"/>
                  </a:lnTo>
                  <a:lnTo>
                    <a:pt x="933" y="622"/>
                  </a:lnTo>
                  <a:lnTo>
                    <a:pt x="933" y="614"/>
                  </a:lnTo>
                  <a:lnTo>
                    <a:pt x="935" y="607"/>
                  </a:lnTo>
                  <a:lnTo>
                    <a:pt x="938" y="602"/>
                  </a:lnTo>
                  <a:lnTo>
                    <a:pt x="940" y="600"/>
                  </a:lnTo>
                  <a:lnTo>
                    <a:pt x="944" y="599"/>
                  </a:lnTo>
                  <a:lnTo>
                    <a:pt x="947" y="599"/>
                  </a:lnTo>
                  <a:lnTo>
                    <a:pt x="950" y="599"/>
                  </a:lnTo>
                  <a:lnTo>
                    <a:pt x="955" y="598"/>
                  </a:lnTo>
                  <a:lnTo>
                    <a:pt x="958" y="597"/>
                  </a:lnTo>
                  <a:lnTo>
                    <a:pt x="962" y="594"/>
                  </a:lnTo>
                  <a:lnTo>
                    <a:pt x="963" y="592"/>
                  </a:lnTo>
                  <a:lnTo>
                    <a:pt x="959" y="585"/>
                  </a:lnTo>
                  <a:lnTo>
                    <a:pt x="957" y="582"/>
                  </a:lnTo>
                  <a:lnTo>
                    <a:pt x="951" y="578"/>
                  </a:lnTo>
                  <a:lnTo>
                    <a:pt x="946" y="577"/>
                  </a:lnTo>
                  <a:lnTo>
                    <a:pt x="939" y="575"/>
                  </a:lnTo>
                  <a:lnTo>
                    <a:pt x="935" y="574"/>
                  </a:lnTo>
                  <a:lnTo>
                    <a:pt x="927" y="573"/>
                  </a:lnTo>
                  <a:lnTo>
                    <a:pt x="925" y="571"/>
                  </a:lnTo>
                  <a:lnTo>
                    <a:pt x="920" y="570"/>
                  </a:lnTo>
                  <a:lnTo>
                    <a:pt x="916" y="569"/>
                  </a:lnTo>
                  <a:lnTo>
                    <a:pt x="912" y="569"/>
                  </a:lnTo>
                  <a:lnTo>
                    <a:pt x="907" y="569"/>
                  </a:lnTo>
                  <a:lnTo>
                    <a:pt x="900" y="567"/>
                  </a:lnTo>
                  <a:lnTo>
                    <a:pt x="895" y="566"/>
                  </a:lnTo>
                  <a:lnTo>
                    <a:pt x="891" y="566"/>
                  </a:lnTo>
                  <a:lnTo>
                    <a:pt x="885" y="562"/>
                  </a:lnTo>
                  <a:lnTo>
                    <a:pt x="880" y="559"/>
                  </a:lnTo>
                  <a:lnTo>
                    <a:pt x="877" y="554"/>
                  </a:lnTo>
                  <a:lnTo>
                    <a:pt x="875" y="553"/>
                  </a:lnTo>
                  <a:lnTo>
                    <a:pt x="874" y="551"/>
                  </a:lnTo>
                  <a:lnTo>
                    <a:pt x="872" y="549"/>
                  </a:lnTo>
                  <a:lnTo>
                    <a:pt x="871" y="546"/>
                  </a:lnTo>
                  <a:lnTo>
                    <a:pt x="870" y="544"/>
                  </a:lnTo>
                  <a:lnTo>
                    <a:pt x="870" y="542"/>
                  </a:lnTo>
                  <a:lnTo>
                    <a:pt x="869" y="539"/>
                  </a:lnTo>
                  <a:lnTo>
                    <a:pt x="869" y="537"/>
                  </a:lnTo>
                  <a:lnTo>
                    <a:pt x="870" y="536"/>
                  </a:lnTo>
                  <a:lnTo>
                    <a:pt x="872" y="535"/>
                  </a:lnTo>
                  <a:lnTo>
                    <a:pt x="876" y="535"/>
                  </a:lnTo>
                  <a:lnTo>
                    <a:pt x="878" y="536"/>
                  </a:lnTo>
                  <a:lnTo>
                    <a:pt x="880" y="536"/>
                  </a:lnTo>
                  <a:lnTo>
                    <a:pt x="883" y="537"/>
                  </a:lnTo>
                  <a:lnTo>
                    <a:pt x="885" y="537"/>
                  </a:lnTo>
                  <a:lnTo>
                    <a:pt x="888" y="539"/>
                  </a:lnTo>
                  <a:lnTo>
                    <a:pt x="893" y="539"/>
                  </a:lnTo>
                  <a:lnTo>
                    <a:pt x="895" y="541"/>
                  </a:lnTo>
                  <a:lnTo>
                    <a:pt x="900" y="538"/>
                  </a:lnTo>
                  <a:lnTo>
                    <a:pt x="901" y="535"/>
                  </a:lnTo>
                  <a:lnTo>
                    <a:pt x="903" y="531"/>
                  </a:lnTo>
                  <a:lnTo>
                    <a:pt x="906" y="529"/>
                  </a:lnTo>
                  <a:lnTo>
                    <a:pt x="910" y="529"/>
                  </a:lnTo>
                  <a:lnTo>
                    <a:pt x="912" y="529"/>
                  </a:lnTo>
                  <a:lnTo>
                    <a:pt x="915" y="529"/>
                  </a:lnTo>
                  <a:lnTo>
                    <a:pt x="918" y="529"/>
                  </a:lnTo>
                  <a:lnTo>
                    <a:pt x="919" y="528"/>
                  </a:lnTo>
                  <a:lnTo>
                    <a:pt x="917" y="525"/>
                  </a:lnTo>
                  <a:lnTo>
                    <a:pt x="916" y="523"/>
                  </a:lnTo>
                  <a:lnTo>
                    <a:pt x="912" y="521"/>
                  </a:lnTo>
                  <a:lnTo>
                    <a:pt x="909" y="520"/>
                  </a:lnTo>
                  <a:lnTo>
                    <a:pt x="909" y="518"/>
                  </a:lnTo>
                  <a:lnTo>
                    <a:pt x="910" y="514"/>
                  </a:lnTo>
                  <a:lnTo>
                    <a:pt x="911" y="513"/>
                  </a:lnTo>
                  <a:lnTo>
                    <a:pt x="919" y="512"/>
                  </a:lnTo>
                  <a:lnTo>
                    <a:pt x="923" y="512"/>
                  </a:lnTo>
                  <a:lnTo>
                    <a:pt x="925" y="510"/>
                  </a:lnTo>
                  <a:lnTo>
                    <a:pt x="930" y="509"/>
                  </a:lnTo>
                  <a:lnTo>
                    <a:pt x="932" y="507"/>
                  </a:lnTo>
                  <a:lnTo>
                    <a:pt x="933" y="504"/>
                  </a:lnTo>
                  <a:lnTo>
                    <a:pt x="932" y="498"/>
                  </a:lnTo>
                  <a:lnTo>
                    <a:pt x="931" y="495"/>
                  </a:lnTo>
                  <a:lnTo>
                    <a:pt x="931" y="491"/>
                  </a:lnTo>
                  <a:lnTo>
                    <a:pt x="928" y="490"/>
                  </a:lnTo>
                  <a:lnTo>
                    <a:pt x="926" y="490"/>
                  </a:lnTo>
                  <a:lnTo>
                    <a:pt x="923" y="489"/>
                  </a:lnTo>
                  <a:lnTo>
                    <a:pt x="919" y="489"/>
                  </a:lnTo>
                  <a:lnTo>
                    <a:pt x="916" y="487"/>
                  </a:lnTo>
                  <a:lnTo>
                    <a:pt x="915" y="485"/>
                  </a:lnTo>
                  <a:lnTo>
                    <a:pt x="917" y="482"/>
                  </a:lnTo>
                  <a:lnTo>
                    <a:pt x="922" y="482"/>
                  </a:lnTo>
                  <a:lnTo>
                    <a:pt x="926" y="480"/>
                  </a:lnTo>
                  <a:lnTo>
                    <a:pt x="928" y="480"/>
                  </a:lnTo>
                  <a:lnTo>
                    <a:pt x="928" y="478"/>
                  </a:lnTo>
                  <a:lnTo>
                    <a:pt x="930" y="475"/>
                  </a:lnTo>
                  <a:lnTo>
                    <a:pt x="928" y="472"/>
                  </a:lnTo>
                  <a:lnTo>
                    <a:pt x="927" y="470"/>
                  </a:lnTo>
                  <a:lnTo>
                    <a:pt x="925" y="470"/>
                  </a:lnTo>
                  <a:lnTo>
                    <a:pt x="924" y="470"/>
                  </a:lnTo>
                  <a:lnTo>
                    <a:pt x="919" y="470"/>
                  </a:lnTo>
                  <a:lnTo>
                    <a:pt x="917" y="470"/>
                  </a:lnTo>
                  <a:lnTo>
                    <a:pt x="916" y="466"/>
                  </a:lnTo>
                  <a:lnTo>
                    <a:pt x="916" y="462"/>
                  </a:lnTo>
                  <a:lnTo>
                    <a:pt x="917" y="461"/>
                  </a:lnTo>
                  <a:lnTo>
                    <a:pt x="918" y="457"/>
                  </a:lnTo>
                  <a:lnTo>
                    <a:pt x="920" y="456"/>
                  </a:lnTo>
                  <a:lnTo>
                    <a:pt x="924" y="456"/>
                  </a:lnTo>
                  <a:lnTo>
                    <a:pt x="926" y="456"/>
                  </a:lnTo>
                  <a:lnTo>
                    <a:pt x="928" y="456"/>
                  </a:lnTo>
                  <a:lnTo>
                    <a:pt x="930" y="454"/>
                  </a:lnTo>
                  <a:lnTo>
                    <a:pt x="930" y="451"/>
                  </a:lnTo>
                  <a:lnTo>
                    <a:pt x="928" y="448"/>
                  </a:lnTo>
                  <a:lnTo>
                    <a:pt x="927" y="447"/>
                  </a:lnTo>
                  <a:lnTo>
                    <a:pt x="925" y="446"/>
                  </a:lnTo>
                  <a:lnTo>
                    <a:pt x="925" y="443"/>
                  </a:lnTo>
                  <a:lnTo>
                    <a:pt x="925" y="440"/>
                  </a:lnTo>
                  <a:lnTo>
                    <a:pt x="925" y="439"/>
                  </a:lnTo>
                  <a:lnTo>
                    <a:pt x="926" y="438"/>
                  </a:lnTo>
                  <a:lnTo>
                    <a:pt x="927" y="434"/>
                  </a:lnTo>
                  <a:lnTo>
                    <a:pt x="927" y="432"/>
                  </a:lnTo>
                  <a:lnTo>
                    <a:pt x="927" y="426"/>
                  </a:lnTo>
                  <a:lnTo>
                    <a:pt x="925" y="422"/>
                  </a:lnTo>
                  <a:lnTo>
                    <a:pt x="925" y="419"/>
                  </a:lnTo>
                  <a:lnTo>
                    <a:pt x="925" y="416"/>
                  </a:lnTo>
                  <a:lnTo>
                    <a:pt x="925" y="413"/>
                  </a:lnTo>
                  <a:lnTo>
                    <a:pt x="925" y="409"/>
                  </a:lnTo>
                  <a:lnTo>
                    <a:pt x="925" y="406"/>
                  </a:lnTo>
                  <a:lnTo>
                    <a:pt x="926" y="402"/>
                  </a:lnTo>
                  <a:lnTo>
                    <a:pt x="928" y="397"/>
                  </a:lnTo>
                  <a:lnTo>
                    <a:pt x="930" y="393"/>
                  </a:lnTo>
                  <a:lnTo>
                    <a:pt x="932" y="389"/>
                  </a:lnTo>
                  <a:lnTo>
                    <a:pt x="933" y="386"/>
                  </a:lnTo>
                  <a:lnTo>
                    <a:pt x="933" y="384"/>
                  </a:lnTo>
                  <a:lnTo>
                    <a:pt x="933" y="381"/>
                  </a:lnTo>
                  <a:lnTo>
                    <a:pt x="931" y="379"/>
                  </a:lnTo>
                  <a:lnTo>
                    <a:pt x="930" y="376"/>
                  </a:lnTo>
                  <a:lnTo>
                    <a:pt x="930" y="374"/>
                  </a:lnTo>
                  <a:lnTo>
                    <a:pt x="928" y="370"/>
                  </a:lnTo>
                  <a:lnTo>
                    <a:pt x="928" y="368"/>
                  </a:lnTo>
                  <a:lnTo>
                    <a:pt x="931" y="368"/>
                  </a:lnTo>
                  <a:lnTo>
                    <a:pt x="933" y="367"/>
                  </a:lnTo>
                  <a:lnTo>
                    <a:pt x="934" y="363"/>
                  </a:lnTo>
                  <a:lnTo>
                    <a:pt x="932" y="362"/>
                  </a:lnTo>
                  <a:lnTo>
                    <a:pt x="930" y="363"/>
                  </a:lnTo>
                  <a:lnTo>
                    <a:pt x="926" y="363"/>
                  </a:lnTo>
                  <a:lnTo>
                    <a:pt x="920" y="362"/>
                  </a:lnTo>
                  <a:lnTo>
                    <a:pt x="916" y="362"/>
                  </a:lnTo>
                  <a:lnTo>
                    <a:pt x="912" y="361"/>
                  </a:lnTo>
                  <a:lnTo>
                    <a:pt x="909" y="360"/>
                  </a:lnTo>
                  <a:lnTo>
                    <a:pt x="906" y="359"/>
                  </a:lnTo>
                  <a:lnTo>
                    <a:pt x="904" y="355"/>
                  </a:lnTo>
                  <a:lnTo>
                    <a:pt x="910" y="344"/>
                  </a:lnTo>
                  <a:lnTo>
                    <a:pt x="916" y="337"/>
                  </a:lnTo>
                  <a:lnTo>
                    <a:pt x="919" y="329"/>
                  </a:lnTo>
                  <a:lnTo>
                    <a:pt x="925" y="320"/>
                  </a:lnTo>
                  <a:lnTo>
                    <a:pt x="932" y="309"/>
                  </a:lnTo>
                  <a:lnTo>
                    <a:pt x="941" y="297"/>
                  </a:lnTo>
                  <a:lnTo>
                    <a:pt x="947" y="293"/>
                  </a:lnTo>
                  <a:lnTo>
                    <a:pt x="950" y="288"/>
                  </a:lnTo>
                  <a:lnTo>
                    <a:pt x="951" y="285"/>
                  </a:lnTo>
                  <a:lnTo>
                    <a:pt x="955" y="279"/>
                  </a:lnTo>
                  <a:lnTo>
                    <a:pt x="958" y="277"/>
                  </a:lnTo>
                  <a:lnTo>
                    <a:pt x="963" y="277"/>
                  </a:lnTo>
                  <a:lnTo>
                    <a:pt x="965" y="278"/>
                  </a:lnTo>
                  <a:lnTo>
                    <a:pt x="968" y="277"/>
                  </a:lnTo>
                  <a:lnTo>
                    <a:pt x="968" y="273"/>
                  </a:lnTo>
                  <a:lnTo>
                    <a:pt x="973" y="270"/>
                  </a:lnTo>
                  <a:lnTo>
                    <a:pt x="978" y="267"/>
                  </a:lnTo>
                  <a:lnTo>
                    <a:pt x="982" y="266"/>
                  </a:lnTo>
                  <a:lnTo>
                    <a:pt x="986" y="266"/>
                  </a:lnTo>
                  <a:lnTo>
                    <a:pt x="990" y="265"/>
                  </a:lnTo>
                  <a:lnTo>
                    <a:pt x="992" y="262"/>
                  </a:lnTo>
                  <a:lnTo>
                    <a:pt x="991" y="257"/>
                  </a:lnTo>
                  <a:lnTo>
                    <a:pt x="987" y="255"/>
                  </a:lnTo>
                  <a:lnTo>
                    <a:pt x="982" y="253"/>
                  </a:lnTo>
                  <a:lnTo>
                    <a:pt x="976" y="249"/>
                  </a:lnTo>
                  <a:lnTo>
                    <a:pt x="967" y="247"/>
                  </a:lnTo>
                  <a:lnTo>
                    <a:pt x="959" y="245"/>
                  </a:lnTo>
                  <a:lnTo>
                    <a:pt x="955" y="242"/>
                  </a:lnTo>
                  <a:lnTo>
                    <a:pt x="950" y="241"/>
                  </a:lnTo>
                  <a:lnTo>
                    <a:pt x="944" y="243"/>
                  </a:lnTo>
                  <a:lnTo>
                    <a:pt x="940" y="243"/>
                  </a:lnTo>
                  <a:lnTo>
                    <a:pt x="935" y="242"/>
                  </a:lnTo>
                  <a:lnTo>
                    <a:pt x="931" y="241"/>
                  </a:lnTo>
                  <a:lnTo>
                    <a:pt x="925" y="238"/>
                  </a:lnTo>
                  <a:lnTo>
                    <a:pt x="924" y="235"/>
                  </a:lnTo>
                  <a:lnTo>
                    <a:pt x="924" y="233"/>
                  </a:lnTo>
                  <a:lnTo>
                    <a:pt x="926" y="230"/>
                  </a:lnTo>
                  <a:lnTo>
                    <a:pt x="928" y="227"/>
                  </a:lnTo>
                  <a:lnTo>
                    <a:pt x="933" y="225"/>
                  </a:lnTo>
                  <a:lnTo>
                    <a:pt x="933" y="223"/>
                  </a:lnTo>
                  <a:lnTo>
                    <a:pt x="928" y="221"/>
                  </a:lnTo>
                  <a:lnTo>
                    <a:pt x="927" y="219"/>
                  </a:lnTo>
                  <a:lnTo>
                    <a:pt x="928" y="209"/>
                  </a:lnTo>
                  <a:lnTo>
                    <a:pt x="933" y="205"/>
                  </a:lnTo>
                  <a:lnTo>
                    <a:pt x="936" y="202"/>
                  </a:lnTo>
                  <a:lnTo>
                    <a:pt x="941" y="199"/>
                  </a:lnTo>
                  <a:lnTo>
                    <a:pt x="947" y="198"/>
                  </a:lnTo>
                  <a:lnTo>
                    <a:pt x="949" y="197"/>
                  </a:lnTo>
                  <a:lnTo>
                    <a:pt x="951" y="193"/>
                  </a:lnTo>
                  <a:lnTo>
                    <a:pt x="952" y="190"/>
                  </a:lnTo>
                  <a:lnTo>
                    <a:pt x="952" y="186"/>
                  </a:lnTo>
                  <a:lnTo>
                    <a:pt x="950" y="183"/>
                  </a:lnTo>
                  <a:lnTo>
                    <a:pt x="947" y="182"/>
                  </a:lnTo>
                  <a:lnTo>
                    <a:pt x="943" y="178"/>
                  </a:lnTo>
                  <a:lnTo>
                    <a:pt x="942" y="176"/>
                  </a:lnTo>
                  <a:lnTo>
                    <a:pt x="942" y="174"/>
                  </a:lnTo>
                  <a:lnTo>
                    <a:pt x="943" y="169"/>
                  </a:lnTo>
                  <a:lnTo>
                    <a:pt x="948" y="166"/>
                  </a:lnTo>
                  <a:lnTo>
                    <a:pt x="951" y="162"/>
                  </a:lnTo>
                  <a:lnTo>
                    <a:pt x="955" y="159"/>
                  </a:lnTo>
                  <a:lnTo>
                    <a:pt x="963" y="152"/>
                  </a:lnTo>
                  <a:lnTo>
                    <a:pt x="967" y="149"/>
                  </a:lnTo>
                  <a:lnTo>
                    <a:pt x="972" y="145"/>
                  </a:lnTo>
                  <a:lnTo>
                    <a:pt x="975" y="143"/>
                  </a:lnTo>
                  <a:lnTo>
                    <a:pt x="976" y="139"/>
                  </a:lnTo>
                  <a:lnTo>
                    <a:pt x="976" y="134"/>
                  </a:lnTo>
                  <a:lnTo>
                    <a:pt x="975" y="131"/>
                  </a:lnTo>
                  <a:lnTo>
                    <a:pt x="972" y="127"/>
                  </a:lnTo>
                  <a:lnTo>
                    <a:pt x="972" y="123"/>
                  </a:lnTo>
                  <a:lnTo>
                    <a:pt x="972" y="121"/>
                  </a:lnTo>
                  <a:lnTo>
                    <a:pt x="968" y="119"/>
                  </a:lnTo>
                  <a:lnTo>
                    <a:pt x="964" y="118"/>
                  </a:lnTo>
                  <a:lnTo>
                    <a:pt x="959" y="115"/>
                  </a:lnTo>
                  <a:lnTo>
                    <a:pt x="957" y="113"/>
                  </a:lnTo>
                  <a:lnTo>
                    <a:pt x="956" y="109"/>
                  </a:lnTo>
                  <a:lnTo>
                    <a:pt x="958" y="104"/>
                  </a:lnTo>
                  <a:lnTo>
                    <a:pt x="960" y="102"/>
                  </a:lnTo>
                  <a:lnTo>
                    <a:pt x="965" y="96"/>
                  </a:lnTo>
                  <a:lnTo>
                    <a:pt x="967" y="94"/>
                  </a:lnTo>
                  <a:lnTo>
                    <a:pt x="970" y="89"/>
                  </a:lnTo>
                  <a:lnTo>
                    <a:pt x="972" y="82"/>
                  </a:lnTo>
                  <a:lnTo>
                    <a:pt x="972" y="79"/>
                  </a:lnTo>
                  <a:lnTo>
                    <a:pt x="970" y="78"/>
                  </a:lnTo>
                  <a:lnTo>
                    <a:pt x="966" y="74"/>
                  </a:lnTo>
                  <a:lnTo>
                    <a:pt x="963" y="70"/>
                  </a:lnTo>
                  <a:lnTo>
                    <a:pt x="960" y="67"/>
                  </a:lnTo>
                  <a:lnTo>
                    <a:pt x="958" y="64"/>
                  </a:lnTo>
                  <a:lnTo>
                    <a:pt x="959" y="59"/>
                  </a:lnTo>
                  <a:lnTo>
                    <a:pt x="962" y="56"/>
                  </a:lnTo>
                  <a:lnTo>
                    <a:pt x="964" y="53"/>
                  </a:lnTo>
                  <a:lnTo>
                    <a:pt x="966" y="49"/>
                  </a:lnTo>
                  <a:lnTo>
                    <a:pt x="970" y="47"/>
                  </a:lnTo>
                  <a:lnTo>
                    <a:pt x="968" y="42"/>
                  </a:lnTo>
                  <a:lnTo>
                    <a:pt x="966" y="41"/>
                  </a:lnTo>
                  <a:lnTo>
                    <a:pt x="963" y="41"/>
                  </a:lnTo>
                  <a:lnTo>
                    <a:pt x="957" y="42"/>
                  </a:lnTo>
                  <a:lnTo>
                    <a:pt x="954" y="42"/>
                  </a:lnTo>
                  <a:lnTo>
                    <a:pt x="950" y="41"/>
                  </a:lnTo>
                  <a:lnTo>
                    <a:pt x="947" y="39"/>
                  </a:lnTo>
                  <a:lnTo>
                    <a:pt x="943" y="40"/>
                  </a:lnTo>
                  <a:lnTo>
                    <a:pt x="940" y="42"/>
                  </a:lnTo>
                  <a:lnTo>
                    <a:pt x="939" y="46"/>
                  </a:lnTo>
                  <a:lnTo>
                    <a:pt x="933" y="49"/>
                  </a:lnTo>
                  <a:lnTo>
                    <a:pt x="931" y="49"/>
                  </a:lnTo>
                  <a:lnTo>
                    <a:pt x="928" y="48"/>
                  </a:lnTo>
                  <a:lnTo>
                    <a:pt x="925" y="46"/>
                  </a:lnTo>
                  <a:lnTo>
                    <a:pt x="923" y="42"/>
                  </a:lnTo>
                  <a:lnTo>
                    <a:pt x="920" y="40"/>
                  </a:lnTo>
                  <a:lnTo>
                    <a:pt x="919" y="38"/>
                  </a:lnTo>
                  <a:lnTo>
                    <a:pt x="917" y="37"/>
                  </a:lnTo>
                  <a:lnTo>
                    <a:pt x="915" y="35"/>
                  </a:lnTo>
                  <a:lnTo>
                    <a:pt x="912" y="35"/>
                  </a:lnTo>
                  <a:lnTo>
                    <a:pt x="908" y="34"/>
                  </a:lnTo>
                  <a:lnTo>
                    <a:pt x="904" y="33"/>
                  </a:lnTo>
                  <a:lnTo>
                    <a:pt x="901" y="33"/>
                  </a:lnTo>
                  <a:lnTo>
                    <a:pt x="901" y="31"/>
                  </a:lnTo>
                  <a:lnTo>
                    <a:pt x="903" y="29"/>
                  </a:lnTo>
                  <a:lnTo>
                    <a:pt x="906" y="27"/>
                  </a:lnTo>
                  <a:lnTo>
                    <a:pt x="910" y="25"/>
                  </a:lnTo>
                  <a:lnTo>
                    <a:pt x="911" y="23"/>
                  </a:lnTo>
                  <a:lnTo>
                    <a:pt x="911" y="21"/>
                  </a:lnTo>
                  <a:lnTo>
                    <a:pt x="911" y="16"/>
                  </a:lnTo>
                  <a:lnTo>
                    <a:pt x="911" y="14"/>
                  </a:lnTo>
                  <a:lnTo>
                    <a:pt x="910" y="10"/>
                  </a:lnTo>
                  <a:lnTo>
                    <a:pt x="909" y="9"/>
                  </a:lnTo>
                  <a:lnTo>
                    <a:pt x="908" y="7"/>
                  </a:lnTo>
                  <a:lnTo>
                    <a:pt x="906" y="5"/>
                  </a:lnTo>
                  <a:lnTo>
                    <a:pt x="903" y="2"/>
                  </a:lnTo>
                  <a:lnTo>
                    <a:pt x="901" y="2"/>
                  </a:lnTo>
                  <a:lnTo>
                    <a:pt x="901" y="1"/>
                  </a:lnTo>
                  <a:lnTo>
                    <a:pt x="899" y="1"/>
                  </a:lnTo>
                  <a:lnTo>
                    <a:pt x="898" y="2"/>
                  </a:lnTo>
                  <a:lnTo>
                    <a:pt x="894" y="5"/>
                  </a:lnTo>
                  <a:lnTo>
                    <a:pt x="888" y="3"/>
                  </a:lnTo>
                  <a:lnTo>
                    <a:pt x="887" y="2"/>
                  </a:lnTo>
                  <a:lnTo>
                    <a:pt x="884" y="2"/>
                  </a:lnTo>
                  <a:lnTo>
                    <a:pt x="880" y="0"/>
                  </a:lnTo>
                  <a:lnTo>
                    <a:pt x="863" y="2"/>
                  </a:lnTo>
                  <a:lnTo>
                    <a:pt x="852" y="5"/>
                  </a:lnTo>
                  <a:lnTo>
                    <a:pt x="851" y="6"/>
                  </a:lnTo>
                  <a:lnTo>
                    <a:pt x="844" y="10"/>
                  </a:lnTo>
                  <a:lnTo>
                    <a:pt x="843" y="13"/>
                  </a:lnTo>
                  <a:lnTo>
                    <a:pt x="840" y="14"/>
                  </a:lnTo>
                  <a:lnTo>
                    <a:pt x="838" y="17"/>
                  </a:lnTo>
                  <a:lnTo>
                    <a:pt x="838" y="19"/>
                  </a:lnTo>
                  <a:lnTo>
                    <a:pt x="838" y="23"/>
                  </a:lnTo>
                  <a:lnTo>
                    <a:pt x="838" y="25"/>
                  </a:lnTo>
                  <a:lnTo>
                    <a:pt x="838" y="27"/>
                  </a:lnTo>
                  <a:lnTo>
                    <a:pt x="837" y="34"/>
                  </a:lnTo>
                  <a:lnTo>
                    <a:pt x="837" y="37"/>
                  </a:lnTo>
                  <a:lnTo>
                    <a:pt x="837" y="39"/>
                  </a:lnTo>
                  <a:lnTo>
                    <a:pt x="835" y="45"/>
                  </a:lnTo>
                  <a:lnTo>
                    <a:pt x="832" y="48"/>
                  </a:lnTo>
                  <a:lnTo>
                    <a:pt x="830" y="50"/>
                  </a:lnTo>
                  <a:lnTo>
                    <a:pt x="828" y="53"/>
                  </a:lnTo>
                  <a:lnTo>
                    <a:pt x="826" y="56"/>
                  </a:lnTo>
                  <a:lnTo>
                    <a:pt x="823" y="58"/>
                  </a:lnTo>
                  <a:lnTo>
                    <a:pt x="822" y="61"/>
                  </a:lnTo>
                  <a:lnTo>
                    <a:pt x="821" y="62"/>
                  </a:lnTo>
                  <a:lnTo>
                    <a:pt x="821" y="64"/>
                  </a:lnTo>
                  <a:lnTo>
                    <a:pt x="821" y="65"/>
                  </a:lnTo>
                  <a:lnTo>
                    <a:pt x="822" y="66"/>
                  </a:lnTo>
                  <a:lnTo>
                    <a:pt x="822" y="69"/>
                  </a:lnTo>
                  <a:lnTo>
                    <a:pt x="821" y="70"/>
                  </a:lnTo>
                  <a:lnTo>
                    <a:pt x="819" y="70"/>
                  </a:lnTo>
                  <a:lnTo>
                    <a:pt x="818" y="70"/>
                  </a:lnTo>
                  <a:lnTo>
                    <a:pt x="815" y="67"/>
                  </a:lnTo>
                  <a:lnTo>
                    <a:pt x="815" y="65"/>
                  </a:lnTo>
                  <a:lnTo>
                    <a:pt x="813" y="65"/>
                  </a:lnTo>
                  <a:lnTo>
                    <a:pt x="812" y="66"/>
                  </a:lnTo>
                  <a:lnTo>
                    <a:pt x="810" y="69"/>
                  </a:lnTo>
                  <a:lnTo>
                    <a:pt x="810" y="71"/>
                  </a:lnTo>
                  <a:lnTo>
                    <a:pt x="808" y="73"/>
                  </a:lnTo>
                  <a:lnTo>
                    <a:pt x="810" y="75"/>
                  </a:lnTo>
                  <a:lnTo>
                    <a:pt x="811" y="77"/>
                  </a:lnTo>
                  <a:lnTo>
                    <a:pt x="813" y="79"/>
                  </a:lnTo>
                  <a:lnTo>
                    <a:pt x="813" y="81"/>
                  </a:lnTo>
                  <a:lnTo>
                    <a:pt x="813" y="82"/>
                  </a:lnTo>
                  <a:lnTo>
                    <a:pt x="812" y="83"/>
                  </a:lnTo>
                  <a:lnTo>
                    <a:pt x="811" y="85"/>
                  </a:lnTo>
                  <a:lnTo>
                    <a:pt x="808" y="85"/>
                  </a:lnTo>
                  <a:lnTo>
                    <a:pt x="807" y="83"/>
                  </a:lnTo>
                  <a:lnTo>
                    <a:pt x="805" y="81"/>
                  </a:lnTo>
                  <a:lnTo>
                    <a:pt x="804" y="81"/>
                  </a:lnTo>
                  <a:lnTo>
                    <a:pt x="802" y="80"/>
                  </a:lnTo>
                  <a:lnTo>
                    <a:pt x="800" y="80"/>
                  </a:lnTo>
                  <a:lnTo>
                    <a:pt x="798" y="79"/>
                  </a:lnTo>
                  <a:lnTo>
                    <a:pt x="796" y="78"/>
                  </a:lnTo>
                  <a:lnTo>
                    <a:pt x="794" y="78"/>
                  </a:lnTo>
                  <a:lnTo>
                    <a:pt x="790" y="78"/>
                  </a:lnTo>
                  <a:lnTo>
                    <a:pt x="788" y="77"/>
                  </a:lnTo>
                  <a:lnTo>
                    <a:pt x="787" y="77"/>
                  </a:lnTo>
                  <a:lnTo>
                    <a:pt x="783" y="73"/>
                  </a:lnTo>
                  <a:lnTo>
                    <a:pt x="781" y="72"/>
                  </a:lnTo>
                  <a:lnTo>
                    <a:pt x="780" y="70"/>
                  </a:lnTo>
                  <a:lnTo>
                    <a:pt x="778" y="70"/>
                  </a:lnTo>
                  <a:lnTo>
                    <a:pt x="775" y="69"/>
                  </a:lnTo>
                  <a:lnTo>
                    <a:pt x="773" y="69"/>
                  </a:lnTo>
                  <a:lnTo>
                    <a:pt x="771" y="69"/>
                  </a:lnTo>
                  <a:lnTo>
                    <a:pt x="770" y="70"/>
                  </a:lnTo>
                  <a:lnTo>
                    <a:pt x="766" y="71"/>
                  </a:lnTo>
                  <a:lnTo>
                    <a:pt x="765" y="73"/>
                  </a:lnTo>
                  <a:lnTo>
                    <a:pt x="763" y="74"/>
                  </a:lnTo>
                  <a:lnTo>
                    <a:pt x="763" y="77"/>
                  </a:lnTo>
                  <a:lnTo>
                    <a:pt x="762" y="79"/>
                  </a:lnTo>
                  <a:lnTo>
                    <a:pt x="758" y="81"/>
                  </a:lnTo>
                  <a:lnTo>
                    <a:pt x="758" y="82"/>
                  </a:lnTo>
                  <a:lnTo>
                    <a:pt x="758" y="85"/>
                  </a:lnTo>
                  <a:lnTo>
                    <a:pt x="759" y="86"/>
                  </a:lnTo>
                  <a:lnTo>
                    <a:pt x="760" y="87"/>
                  </a:lnTo>
                  <a:lnTo>
                    <a:pt x="763" y="88"/>
                  </a:lnTo>
                  <a:lnTo>
                    <a:pt x="765" y="89"/>
                  </a:lnTo>
                  <a:lnTo>
                    <a:pt x="770" y="91"/>
                  </a:lnTo>
                  <a:lnTo>
                    <a:pt x="771" y="91"/>
                  </a:lnTo>
                  <a:lnTo>
                    <a:pt x="772" y="94"/>
                  </a:lnTo>
                  <a:lnTo>
                    <a:pt x="773" y="95"/>
                  </a:lnTo>
                  <a:lnTo>
                    <a:pt x="773" y="96"/>
                  </a:lnTo>
                  <a:lnTo>
                    <a:pt x="771" y="97"/>
                  </a:lnTo>
                  <a:lnTo>
                    <a:pt x="770" y="98"/>
                  </a:lnTo>
                  <a:lnTo>
                    <a:pt x="768" y="101"/>
                  </a:lnTo>
                  <a:lnTo>
                    <a:pt x="767" y="103"/>
                  </a:lnTo>
                  <a:lnTo>
                    <a:pt x="764" y="105"/>
                  </a:lnTo>
                  <a:lnTo>
                    <a:pt x="762" y="109"/>
                  </a:lnTo>
                  <a:lnTo>
                    <a:pt x="760" y="111"/>
                  </a:lnTo>
                  <a:lnTo>
                    <a:pt x="758" y="113"/>
                  </a:lnTo>
                  <a:lnTo>
                    <a:pt x="756" y="114"/>
                  </a:lnTo>
                  <a:lnTo>
                    <a:pt x="754" y="117"/>
                  </a:lnTo>
                  <a:lnTo>
                    <a:pt x="751" y="118"/>
                  </a:lnTo>
                  <a:lnTo>
                    <a:pt x="750" y="120"/>
                  </a:lnTo>
                  <a:lnTo>
                    <a:pt x="749" y="122"/>
                  </a:lnTo>
                  <a:lnTo>
                    <a:pt x="749" y="125"/>
                  </a:lnTo>
                  <a:lnTo>
                    <a:pt x="750" y="126"/>
                  </a:lnTo>
                  <a:lnTo>
                    <a:pt x="750" y="127"/>
                  </a:lnTo>
                  <a:lnTo>
                    <a:pt x="751" y="129"/>
                  </a:lnTo>
                  <a:lnTo>
                    <a:pt x="754" y="131"/>
                  </a:lnTo>
                  <a:lnTo>
                    <a:pt x="756" y="134"/>
                  </a:lnTo>
                  <a:lnTo>
                    <a:pt x="756" y="136"/>
                  </a:lnTo>
                  <a:lnTo>
                    <a:pt x="756" y="142"/>
                  </a:lnTo>
                  <a:lnTo>
                    <a:pt x="755" y="144"/>
                  </a:lnTo>
                  <a:lnTo>
                    <a:pt x="755" y="146"/>
                  </a:lnTo>
                  <a:lnTo>
                    <a:pt x="754" y="149"/>
                  </a:lnTo>
                  <a:lnTo>
                    <a:pt x="750" y="152"/>
                  </a:lnTo>
                  <a:lnTo>
                    <a:pt x="748" y="154"/>
                  </a:lnTo>
                  <a:lnTo>
                    <a:pt x="747" y="157"/>
                  </a:lnTo>
                  <a:lnTo>
                    <a:pt x="743" y="158"/>
                  </a:lnTo>
                  <a:lnTo>
                    <a:pt x="741" y="159"/>
                  </a:lnTo>
                  <a:lnTo>
                    <a:pt x="739" y="160"/>
                  </a:lnTo>
                  <a:lnTo>
                    <a:pt x="736" y="160"/>
                  </a:lnTo>
                  <a:lnTo>
                    <a:pt x="734" y="159"/>
                  </a:lnTo>
                  <a:lnTo>
                    <a:pt x="733" y="159"/>
                  </a:lnTo>
                  <a:lnTo>
                    <a:pt x="730" y="159"/>
                  </a:lnTo>
                  <a:lnTo>
                    <a:pt x="728" y="158"/>
                  </a:lnTo>
                  <a:lnTo>
                    <a:pt x="727" y="157"/>
                  </a:lnTo>
                  <a:lnTo>
                    <a:pt x="726" y="154"/>
                  </a:lnTo>
                  <a:lnTo>
                    <a:pt x="724" y="154"/>
                  </a:lnTo>
                  <a:lnTo>
                    <a:pt x="722" y="153"/>
                  </a:lnTo>
                  <a:lnTo>
                    <a:pt x="719" y="153"/>
                  </a:lnTo>
                  <a:lnTo>
                    <a:pt x="717" y="153"/>
                  </a:lnTo>
                  <a:lnTo>
                    <a:pt x="715" y="153"/>
                  </a:lnTo>
                  <a:lnTo>
                    <a:pt x="714" y="154"/>
                  </a:lnTo>
                  <a:lnTo>
                    <a:pt x="712" y="157"/>
                  </a:lnTo>
                  <a:lnTo>
                    <a:pt x="712" y="158"/>
                  </a:lnTo>
                  <a:lnTo>
                    <a:pt x="712" y="159"/>
                  </a:lnTo>
                  <a:lnTo>
                    <a:pt x="714" y="160"/>
                  </a:lnTo>
                  <a:lnTo>
                    <a:pt x="715" y="160"/>
                  </a:lnTo>
                  <a:lnTo>
                    <a:pt x="716" y="161"/>
                  </a:lnTo>
                  <a:lnTo>
                    <a:pt x="717" y="161"/>
                  </a:lnTo>
                  <a:lnTo>
                    <a:pt x="718" y="161"/>
                  </a:lnTo>
                  <a:lnTo>
                    <a:pt x="719" y="161"/>
                  </a:lnTo>
                  <a:lnTo>
                    <a:pt x="720" y="161"/>
                  </a:lnTo>
                  <a:lnTo>
                    <a:pt x="723" y="162"/>
                  </a:lnTo>
                  <a:lnTo>
                    <a:pt x="723" y="163"/>
                  </a:lnTo>
                  <a:lnTo>
                    <a:pt x="724" y="165"/>
                  </a:lnTo>
                  <a:lnTo>
                    <a:pt x="725" y="165"/>
                  </a:lnTo>
                  <a:lnTo>
                    <a:pt x="725" y="166"/>
                  </a:lnTo>
                  <a:lnTo>
                    <a:pt x="725" y="167"/>
                  </a:lnTo>
                  <a:lnTo>
                    <a:pt x="725" y="168"/>
                  </a:lnTo>
                  <a:lnTo>
                    <a:pt x="725" y="170"/>
                  </a:lnTo>
                  <a:lnTo>
                    <a:pt x="724" y="173"/>
                  </a:lnTo>
                  <a:lnTo>
                    <a:pt x="724" y="175"/>
                  </a:lnTo>
                  <a:lnTo>
                    <a:pt x="722" y="176"/>
                  </a:lnTo>
                  <a:lnTo>
                    <a:pt x="720" y="177"/>
                  </a:lnTo>
                  <a:lnTo>
                    <a:pt x="716" y="179"/>
                  </a:lnTo>
                  <a:lnTo>
                    <a:pt x="714" y="181"/>
                  </a:lnTo>
                  <a:lnTo>
                    <a:pt x="711" y="182"/>
                  </a:lnTo>
                  <a:lnTo>
                    <a:pt x="710" y="183"/>
                  </a:lnTo>
                  <a:lnTo>
                    <a:pt x="709" y="183"/>
                  </a:lnTo>
                  <a:lnTo>
                    <a:pt x="708" y="185"/>
                  </a:lnTo>
                  <a:lnTo>
                    <a:pt x="709" y="187"/>
                  </a:lnTo>
                  <a:lnTo>
                    <a:pt x="710" y="189"/>
                  </a:lnTo>
                  <a:lnTo>
                    <a:pt x="710" y="191"/>
                  </a:lnTo>
                  <a:lnTo>
                    <a:pt x="711" y="192"/>
                  </a:lnTo>
                  <a:lnTo>
                    <a:pt x="712" y="194"/>
                  </a:lnTo>
                  <a:lnTo>
                    <a:pt x="712" y="197"/>
                  </a:lnTo>
                  <a:lnTo>
                    <a:pt x="711" y="199"/>
                  </a:lnTo>
                  <a:lnTo>
                    <a:pt x="710" y="203"/>
                  </a:lnTo>
                  <a:lnTo>
                    <a:pt x="708" y="208"/>
                  </a:lnTo>
                  <a:lnTo>
                    <a:pt x="707" y="209"/>
                  </a:lnTo>
                  <a:lnTo>
                    <a:pt x="704" y="210"/>
                  </a:lnTo>
                  <a:lnTo>
                    <a:pt x="702" y="209"/>
                  </a:lnTo>
                  <a:lnTo>
                    <a:pt x="699" y="208"/>
                  </a:lnTo>
                  <a:lnTo>
                    <a:pt x="698" y="206"/>
                  </a:lnTo>
                  <a:lnTo>
                    <a:pt x="695" y="203"/>
                  </a:lnTo>
                  <a:lnTo>
                    <a:pt x="694" y="202"/>
                  </a:lnTo>
                  <a:lnTo>
                    <a:pt x="692" y="201"/>
                  </a:lnTo>
                  <a:lnTo>
                    <a:pt x="691" y="200"/>
                  </a:lnTo>
                  <a:lnTo>
                    <a:pt x="690" y="199"/>
                  </a:lnTo>
                  <a:lnTo>
                    <a:pt x="688" y="195"/>
                  </a:lnTo>
                  <a:lnTo>
                    <a:pt x="687" y="194"/>
                  </a:lnTo>
                  <a:lnTo>
                    <a:pt x="686" y="192"/>
                  </a:lnTo>
                  <a:lnTo>
                    <a:pt x="684" y="191"/>
                  </a:lnTo>
                  <a:lnTo>
                    <a:pt x="682" y="192"/>
                  </a:lnTo>
                  <a:lnTo>
                    <a:pt x="679" y="193"/>
                  </a:lnTo>
                  <a:lnTo>
                    <a:pt x="676" y="194"/>
                  </a:lnTo>
                  <a:lnTo>
                    <a:pt x="674" y="194"/>
                  </a:lnTo>
                  <a:lnTo>
                    <a:pt x="671" y="194"/>
                  </a:lnTo>
                  <a:lnTo>
                    <a:pt x="670" y="194"/>
                  </a:lnTo>
                  <a:lnTo>
                    <a:pt x="669" y="193"/>
                  </a:lnTo>
                  <a:lnTo>
                    <a:pt x="668" y="193"/>
                  </a:lnTo>
                  <a:lnTo>
                    <a:pt x="666" y="192"/>
                  </a:lnTo>
                  <a:lnTo>
                    <a:pt x="663" y="191"/>
                  </a:lnTo>
                  <a:lnTo>
                    <a:pt x="662" y="190"/>
                  </a:lnTo>
                  <a:lnTo>
                    <a:pt x="660" y="191"/>
                  </a:lnTo>
                  <a:lnTo>
                    <a:pt x="659" y="192"/>
                  </a:lnTo>
                  <a:lnTo>
                    <a:pt x="659" y="193"/>
                  </a:lnTo>
                  <a:lnTo>
                    <a:pt x="660" y="195"/>
                  </a:lnTo>
                  <a:lnTo>
                    <a:pt x="660" y="197"/>
                  </a:lnTo>
                  <a:lnTo>
                    <a:pt x="661" y="199"/>
                  </a:lnTo>
                  <a:lnTo>
                    <a:pt x="661" y="200"/>
                  </a:lnTo>
                  <a:lnTo>
                    <a:pt x="660" y="202"/>
                  </a:lnTo>
                  <a:lnTo>
                    <a:pt x="659" y="202"/>
                  </a:lnTo>
                  <a:lnTo>
                    <a:pt x="655" y="203"/>
                  </a:lnTo>
                  <a:lnTo>
                    <a:pt x="654" y="203"/>
                  </a:lnTo>
                  <a:lnTo>
                    <a:pt x="652" y="202"/>
                  </a:lnTo>
                  <a:lnTo>
                    <a:pt x="651" y="202"/>
                  </a:lnTo>
                  <a:lnTo>
                    <a:pt x="648" y="203"/>
                  </a:lnTo>
                  <a:lnTo>
                    <a:pt x="647" y="205"/>
                  </a:lnTo>
                  <a:lnTo>
                    <a:pt x="646" y="207"/>
                  </a:lnTo>
                  <a:lnTo>
                    <a:pt x="646" y="209"/>
                  </a:lnTo>
                  <a:lnTo>
                    <a:pt x="646" y="211"/>
                  </a:lnTo>
                  <a:lnTo>
                    <a:pt x="646" y="213"/>
                  </a:lnTo>
                  <a:lnTo>
                    <a:pt x="646" y="215"/>
                  </a:lnTo>
                  <a:lnTo>
                    <a:pt x="646" y="216"/>
                  </a:lnTo>
                  <a:lnTo>
                    <a:pt x="645" y="217"/>
                  </a:lnTo>
                  <a:lnTo>
                    <a:pt x="643" y="217"/>
                  </a:lnTo>
                  <a:lnTo>
                    <a:pt x="640" y="217"/>
                  </a:lnTo>
                  <a:lnTo>
                    <a:pt x="638" y="216"/>
                  </a:lnTo>
                  <a:lnTo>
                    <a:pt x="636" y="217"/>
                  </a:lnTo>
                  <a:lnTo>
                    <a:pt x="635" y="217"/>
                  </a:lnTo>
                  <a:lnTo>
                    <a:pt x="635" y="219"/>
                  </a:lnTo>
                  <a:lnTo>
                    <a:pt x="635" y="221"/>
                  </a:lnTo>
                  <a:lnTo>
                    <a:pt x="635" y="223"/>
                  </a:lnTo>
                  <a:lnTo>
                    <a:pt x="635" y="225"/>
                  </a:lnTo>
                  <a:lnTo>
                    <a:pt x="632" y="229"/>
                  </a:lnTo>
                  <a:lnTo>
                    <a:pt x="631" y="230"/>
                  </a:lnTo>
                  <a:lnTo>
                    <a:pt x="629" y="231"/>
                  </a:lnTo>
                  <a:lnTo>
                    <a:pt x="628" y="231"/>
                  </a:lnTo>
                  <a:lnTo>
                    <a:pt x="627" y="231"/>
                  </a:lnTo>
                  <a:lnTo>
                    <a:pt x="624" y="231"/>
                  </a:lnTo>
                  <a:lnTo>
                    <a:pt x="623" y="231"/>
                  </a:lnTo>
                  <a:lnTo>
                    <a:pt x="621" y="231"/>
                  </a:lnTo>
                  <a:lnTo>
                    <a:pt x="619" y="231"/>
                  </a:lnTo>
                  <a:lnTo>
                    <a:pt x="618" y="231"/>
                  </a:lnTo>
                  <a:lnTo>
                    <a:pt x="616" y="231"/>
                  </a:lnTo>
                  <a:lnTo>
                    <a:pt x="614" y="231"/>
                  </a:lnTo>
                  <a:lnTo>
                    <a:pt x="613" y="232"/>
                  </a:lnTo>
                  <a:lnTo>
                    <a:pt x="610" y="233"/>
                  </a:lnTo>
                  <a:lnTo>
                    <a:pt x="608" y="235"/>
                  </a:lnTo>
                  <a:lnTo>
                    <a:pt x="607" y="238"/>
                  </a:lnTo>
                  <a:lnTo>
                    <a:pt x="607" y="239"/>
                  </a:lnTo>
                  <a:lnTo>
                    <a:pt x="607" y="241"/>
                  </a:lnTo>
                  <a:lnTo>
                    <a:pt x="606" y="243"/>
                  </a:lnTo>
                  <a:lnTo>
                    <a:pt x="606" y="245"/>
                  </a:lnTo>
                  <a:lnTo>
                    <a:pt x="606" y="249"/>
                  </a:lnTo>
                  <a:lnTo>
                    <a:pt x="606" y="250"/>
                  </a:lnTo>
                  <a:lnTo>
                    <a:pt x="607" y="251"/>
                  </a:lnTo>
                  <a:lnTo>
                    <a:pt x="608" y="253"/>
                  </a:lnTo>
                  <a:lnTo>
                    <a:pt x="610" y="254"/>
                  </a:lnTo>
                  <a:lnTo>
                    <a:pt x="612" y="259"/>
                  </a:lnTo>
                  <a:lnTo>
                    <a:pt x="612" y="261"/>
                  </a:lnTo>
                  <a:lnTo>
                    <a:pt x="613" y="261"/>
                  </a:lnTo>
                  <a:lnTo>
                    <a:pt x="615" y="263"/>
                  </a:lnTo>
                  <a:lnTo>
                    <a:pt x="615" y="264"/>
                  </a:lnTo>
                  <a:lnTo>
                    <a:pt x="616" y="265"/>
                  </a:lnTo>
                  <a:lnTo>
                    <a:pt x="615" y="266"/>
                  </a:lnTo>
                  <a:lnTo>
                    <a:pt x="614" y="266"/>
                  </a:lnTo>
                  <a:lnTo>
                    <a:pt x="613" y="266"/>
                  </a:lnTo>
                  <a:lnTo>
                    <a:pt x="611" y="266"/>
                  </a:lnTo>
                  <a:lnTo>
                    <a:pt x="607" y="265"/>
                  </a:lnTo>
                  <a:lnTo>
                    <a:pt x="605" y="266"/>
                  </a:lnTo>
                  <a:lnTo>
                    <a:pt x="605" y="269"/>
                  </a:lnTo>
                  <a:lnTo>
                    <a:pt x="605" y="271"/>
                  </a:lnTo>
                  <a:lnTo>
                    <a:pt x="604" y="273"/>
                  </a:lnTo>
                  <a:lnTo>
                    <a:pt x="604" y="274"/>
                  </a:lnTo>
                  <a:lnTo>
                    <a:pt x="606" y="277"/>
                  </a:lnTo>
                  <a:lnTo>
                    <a:pt x="607" y="278"/>
                  </a:lnTo>
                  <a:lnTo>
                    <a:pt x="608" y="278"/>
                  </a:lnTo>
                  <a:lnTo>
                    <a:pt x="610" y="278"/>
                  </a:lnTo>
                  <a:lnTo>
                    <a:pt x="613" y="279"/>
                  </a:lnTo>
                  <a:lnTo>
                    <a:pt x="614" y="280"/>
                  </a:lnTo>
                  <a:lnTo>
                    <a:pt x="616" y="282"/>
                  </a:lnTo>
                  <a:lnTo>
                    <a:pt x="616" y="285"/>
                  </a:lnTo>
                  <a:lnTo>
                    <a:pt x="618" y="287"/>
                  </a:lnTo>
                  <a:lnTo>
                    <a:pt x="618" y="288"/>
                  </a:lnTo>
                  <a:lnTo>
                    <a:pt x="620" y="290"/>
                  </a:lnTo>
                  <a:lnTo>
                    <a:pt x="620" y="291"/>
                  </a:lnTo>
                  <a:lnTo>
                    <a:pt x="621" y="294"/>
                  </a:lnTo>
                  <a:lnTo>
                    <a:pt x="622" y="296"/>
                  </a:lnTo>
                  <a:lnTo>
                    <a:pt x="622" y="298"/>
                  </a:lnTo>
                  <a:lnTo>
                    <a:pt x="622" y="301"/>
                  </a:lnTo>
                  <a:lnTo>
                    <a:pt x="622" y="302"/>
                  </a:lnTo>
                  <a:lnTo>
                    <a:pt x="622" y="303"/>
                  </a:lnTo>
                  <a:lnTo>
                    <a:pt x="622" y="305"/>
                  </a:lnTo>
                  <a:lnTo>
                    <a:pt x="622" y="307"/>
                  </a:lnTo>
                  <a:lnTo>
                    <a:pt x="621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19" y="312"/>
                  </a:lnTo>
                  <a:lnTo>
                    <a:pt x="616" y="312"/>
                  </a:lnTo>
                  <a:lnTo>
                    <a:pt x="615" y="312"/>
                  </a:lnTo>
                  <a:lnTo>
                    <a:pt x="613" y="311"/>
                  </a:lnTo>
                  <a:lnTo>
                    <a:pt x="612" y="310"/>
                  </a:lnTo>
                  <a:lnTo>
                    <a:pt x="611" y="309"/>
                  </a:lnTo>
                  <a:lnTo>
                    <a:pt x="611" y="307"/>
                  </a:lnTo>
                  <a:lnTo>
                    <a:pt x="610" y="307"/>
                  </a:lnTo>
                  <a:lnTo>
                    <a:pt x="608" y="306"/>
                  </a:lnTo>
                  <a:lnTo>
                    <a:pt x="607" y="305"/>
                  </a:lnTo>
                  <a:lnTo>
                    <a:pt x="606" y="305"/>
                  </a:lnTo>
                  <a:lnTo>
                    <a:pt x="606" y="304"/>
                  </a:lnTo>
                  <a:lnTo>
                    <a:pt x="604" y="304"/>
                  </a:lnTo>
                  <a:lnTo>
                    <a:pt x="603" y="304"/>
                  </a:lnTo>
                  <a:lnTo>
                    <a:pt x="602" y="304"/>
                  </a:lnTo>
                  <a:lnTo>
                    <a:pt x="600" y="305"/>
                  </a:lnTo>
                  <a:lnTo>
                    <a:pt x="599" y="305"/>
                  </a:lnTo>
                  <a:lnTo>
                    <a:pt x="598" y="306"/>
                  </a:lnTo>
                  <a:lnTo>
                    <a:pt x="597" y="307"/>
                  </a:lnTo>
                  <a:lnTo>
                    <a:pt x="596" y="306"/>
                  </a:lnTo>
                  <a:lnTo>
                    <a:pt x="594" y="306"/>
                  </a:lnTo>
                  <a:lnTo>
                    <a:pt x="591" y="306"/>
                  </a:lnTo>
                  <a:lnTo>
                    <a:pt x="590" y="305"/>
                  </a:lnTo>
                  <a:lnTo>
                    <a:pt x="589" y="304"/>
                  </a:lnTo>
                  <a:lnTo>
                    <a:pt x="589" y="303"/>
                  </a:lnTo>
                  <a:lnTo>
                    <a:pt x="588" y="302"/>
                  </a:lnTo>
                  <a:lnTo>
                    <a:pt x="587" y="299"/>
                  </a:lnTo>
                  <a:lnTo>
                    <a:pt x="586" y="299"/>
                  </a:lnTo>
                  <a:lnTo>
                    <a:pt x="584" y="297"/>
                  </a:lnTo>
                  <a:lnTo>
                    <a:pt x="584" y="296"/>
                  </a:lnTo>
                  <a:lnTo>
                    <a:pt x="583" y="295"/>
                  </a:lnTo>
                  <a:lnTo>
                    <a:pt x="581" y="295"/>
                  </a:lnTo>
                  <a:lnTo>
                    <a:pt x="580" y="295"/>
                  </a:lnTo>
                  <a:lnTo>
                    <a:pt x="576" y="297"/>
                  </a:lnTo>
                  <a:lnTo>
                    <a:pt x="574" y="297"/>
                  </a:lnTo>
                  <a:lnTo>
                    <a:pt x="573" y="298"/>
                  </a:lnTo>
                  <a:lnTo>
                    <a:pt x="572" y="298"/>
                  </a:lnTo>
                  <a:lnTo>
                    <a:pt x="570" y="297"/>
                  </a:lnTo>
                  <a:lnTo>
                    <a:pt x="568" y="298"/>
                  </a:lnTo>
                  <a:lnTo>
                    <a:pt x="567" y="299"/>
                  </a:lnTo>
                  <a:lnTo>
                    <a:pt x="566" y="299"/>
                  </a:lnTo>
                  <a:lnTo>
                    <a:pt x="565" y="302"/>
                  </a:lnTo>
                  <a:lnTo>
                    <a:pt x="564" y="303"/>
                  </a:lnTo>
                  <a:lnTo>
                    <a:pt x="565" y="304"/>
                  </a:lnTo>
                  <a:lnTo>
                    <a:pt x="566" y="305"/>
                  </a:lnTo>
                  <a:lnTo>
                    <a:pt x="567" y="306"/>
                  </a:lnTo>
                  <a:lnTo>
                    <a:pt x="568" y="307"/>
                  </a:lnTo>
                  <a:lnTo>
                    <a:pt x="568" y="309"/>
                  </a:lnTo>
                  <a:lnTo>
                    <a:pt x="568" y="310"/>
                  </a:lnTo>
                  <a:lnTo>
                    <a:pt x="568" y="311"/>
                  </a:lnTo>
                  <a:lnTo>
                    <a:pt x="568" y="312"/>
                  </a:lnTo>
                  <a:lnTo>
                    <a:pt x="567" y="314"/>
                  </a:lnTo>
                  <a:lnTo>
                    <a:pt x="565" y="315"/>
                  </a:lnTo>
                  <a:lnTo>
                    <a:pt x="564" y="314"/>
                  </a:lnTo>
                  <a:lnTo>
                    <a:pt x="563" y="313"/>
                  </a:lnTo>
                  <a:lnTo>
                    <a:pt x="562" y="312"/>
                  </a:lnTo>
                  <a:lnTo>
                    <a:pt x="562" y="310"/>
                  </a:lnTo>
                  <a:lnTo>
                    <a:pt x="560" y="309"/>
                  </a:lnTo>
                  <a:lnTo>
                    <a:pt x="559" y="304"/>
                  </a:lnTo>
                  <a:lnTo>
                    <a:pt x="559" y="303"/>
                  </a:lnTo>
                  <a:lnTo>
                    <a:pt x="558" y="302"/>
                  </a:lnTo>
                  <a:lnTo>
                    <a:pt x="556" y="301"/>
                  </a:lnTo>
                  <a:lnTo>
                    <a:pt x="555" y="299"/>
                  </a:lnTo>
                  <a:lnTo>
                    <a:pt x="554" y="299"/>
                  </a:lnTo>
                  <a:lnTo>
                    <a:pt x="551" y="298"/>
                  </a:lnTo>
                  <a:lnTo>
                    <a:pt x="550" y="298"/>
                  </a:lnTo>
                  <a:lnTo>
                    <a:pt x="547" y="299"/>
                  </a:lnTo>
                  <a:lnTo>
                    <a:pt x="546" y="302"/>
                  </a:lnTo>
                  <a:lnTo>
                    <a:pt x="544" y="303"/>
                  </a:lnTo>
                  <a:lnTo>
                    <a:pt x="543" y="304"/>
                  </a:lnTo>
                  <a:lnTo>
                    <a:pt x="542" y="304"/>
                  </a:lnTo>
                  <a:lnTo>
                    <a:pt x="541" y="306"/>
                  </a:lnTo>
                  <a:lnTo>
                    <a:pt x="540" y="307"/>
                  </a:lnTo>
                  <a:lnTo>
                    <a:pt x="539" y="307"/>
                  </a:lnTo>
                  <a:lnTo>
                    <a:pt x="538" y="307"/>
                  </a:lnTo>
                  <a:lnTo>
                    <a:pt x="535" y="307"/>
                  </a:lnTo>
                  <a:lnTo>
                    <a:pt x="533" y="306"/>
                  </a:lnTo>
                  <a:lnTo>
                    <a:pt x="532" y="305"/>
                  </a:lnTo>
                  <a:lnTo>
                    <a:pt x="532" y="303"/>
                  </a:lnTo>
                  <a:lnTo>
                    <a:pt x="530" y="302"/>
                  </a:lnTo>
                  <a:lnTo>
                    <a:pt x="528" y="299"/>
                  </a:lnTo>
                  <a:lnTo>
                    <a:pt x="527" y="298"/>
                  </a:lnTo>
                  <a:lnTo>
                    <a:pt x="526" y="298"/>
                  </a:lnTo>
                  <a:lnTo>
                    <a:pt x="525" y="298"/>
                  </a:lnTo>
                  <a:lnTo>
                    <a:pt x="524" y="297"/>
                  </a:lnTo>
                  <a:lnTo>
                    <a:pt x="522" y="297"/>
                  </a:lnTo>
                  <a:lnTo>
                    <a:pt x="522" y="298"/>
                  </a:lnTo>
                  <a:lnTo>
                    <a:pt x="519" y="298"/>
                  </a:lnTo>
                  <a:lnTo>
                    <a:pt x="519" y="299"/>
                  </a:lnTo>
                  <a:lnTo>
                    <a:pt x="515" y="299"/>
                  </a:lnTo>
                  <a:lnTo>
                    <a:pt x="512" y="301"/>
                  </a:lnTo>
                  <a:lnTo>
                    <a:pt x="511" y="301"/>
                  </a:lnTo>
                  <a:lnTo>
                    <a:pt x="509" y="302"/>
                  </a:lnTo>
                  <a:lnTo>
                    <a:pt x="507" y="304"/>
                  </a:lnTo>
                  <a:lnTo>
                    <a:pt x="506" y="305"/>
                  </a:lnTo>
                  <a:lnTo>
                    <a:pt x="506" y="307"/>
                  </a:lnTo>
                  <a:lnTo>
                    <a:pt x="504" y="310"/>
                  </a:lnTo>
                  <a:lnTo>
                    <a:pt x="503" y="310"/>
                  </a:lnTo>
                  <a:lnTo>
                    <a:pt x="502" y="311"/>
                  </a:lnTo>
                  <a:lnTo>
                    <a:pt x="500" y="311"/>
                  </a:lnTo>
                  <a:lnTo>
                    <a:pt x="499" y="311"/>
                  </a:lnTo>
                  <a:lnTo>
                    <a:pt x="496" y="311"/>
                  </a:lnTo>
                  <a:lnTo>
                    <a:pt x="495" y="310"/>
                  </a:lnTo>
                  <a:lnTo>
                    <a:pt x="494" y="307"/>
                  </a:lnTo>
                  <a:lnTo>
                    <a:pt x="493" y="306"/>
                  </a:lnTo>
                  <a:lnTo>
                    <a:pt x="492" y="305"/>
                  </a:lnTo>
                  <a:lnTo>
                    <a:pt x="491" y="304"/>
                  </a:lnTo>
                  <a:lnTo>
                    <a:pt x="491" y="302"/>
                  </a:lnTo>
                  <a:lnTo>
                    <a:pt x="490" y="299"/>
                  </a:lnTo>
                  <a:lnTo>
                    <a:pt x="488" y="297"/>
                  </a:lnTo>
                  <a:lnTo>
                    <a:pt x="488" y="296"/>
                  </a:lnTo>
                  <a:lnTo>
                    <a:pt x="488" y="294"/>
                  </a:lnTo>
                  <a:lnTo>
                    <a:pt x="487" y="291"/>
                  </a:lnTo>
                  <a:lnTo>
                    <a:pt x="487" y="289"/>
                  </a:lnTo>
                  <a:lnTo>
                    <a:pt x="487" y="287"/>
                  </a:lnTo>
                  <a:lnTo>
                    <a:pt x="486" y="286"/>
                  </a:lnTo>
                  <a:lnTo>
                    <a:pt x="485" y="285"/>
                  </a:lnTo>
                  <a:lnTo>
                    <a:pt x="482" y="285"/>
                  </a:lnTo>
                  <a:lnTo>
                    <a:pt x="480" y="285"/>
                  </a:lnTo>
                  <a:lnTo>
                    <a:pt x="479" y="286"/>
                  </a:lnTo>
                  <a:lnTo>
                    <a:pt x="478" y="286"/>
                  </a:lnTo>
                  <a:lnTo>
                    <a:pt x="476" y="286"/>
                  </a:lnTo>
                  <a:lnTo>
                    <a:pt x="475" y="286"/>
                  </a:lnTo>
                  <a:lnTo>
                    <a:pt x="474" y="286"/>
                  </a:lnTo>
                  <a:lnTo>
                    <a:pt x="472" y="288"/>
                  </a:lnTo>
                  <a:lnTo>
                    <a:pt x="471" y="288"/>
                  </a:lnTo>
                  <a:lnTo>
                    <a:pt x="470" y="289"/>
                  </a:lnTo>
                  <a:lnTo>
                    <a:pt x="464" y="290"/>
                  </a:lnTo>
                  <a:lnTo>
                    <a:pt x="462" y="290"/>
                  </a:lnTo>
                  <a:lnTo>
                    <a:pt x="461" y="290"/>
                  </a:lnTo>
                  <a:lnTo>
                    <a:pt x="459" y="289"/>
                  </a:lnTo>
                  <a:lnTo>
                    <a:pt x="456" y="289"/>
                  </a:lnTo>
                  <a:lnTo>
                    <a:pt x="454" y="288"/>
                  </a:lnTo>
                  <a:lnTo>
                    <a:pt x="454" y="287"/>
                  </a:lnTo>
                  <a:lnTo>
                    <a:pt x="453" y="286"/>
                  </a:lnTo>
                  <a:lnTo>
                    <a:pt x="452" y="286"/>
                  </a:lnTo>
                  <a:lnTo>
                    <a:pt x="450" y="285"/>
                  </a:lnTo>
                  <a:lnTo>
                    <a:pt x="446" y="285"/>
                  </a:lnTo>
                  <a:lnTo>
                    <a:pt x="444" y="285"/>
                  </a:lnTo>
                  <a:lnTo>
                    <a:pt x="440" y="285"/>
                  </a:lnTo>
                  <a:lnTo>
                    <a:pt x="439" y="285"/>
                  </a:lnTo>
                  <a:lnTo>
                    <a:pt x="438" y="286"/>
                  </a:lnTo>
                  <a:lnTo>
                    <a:pt x="437" y="286"/>
                  </a:lnTo>
                  <a:lnTo>
                    <a:pt x="436" y="286"/>
                  </a:lnTo>
                  <a:lnTo>
                    <a:pt x="434" y="286"/>
                  </a:lnTo>
                  <a:lnTo>
                    <a:pt x="432" y="285"/>
                  </a:lnTo>
                  <a:lnTo>
                    <a:pt x="431" y="282"/>
                  </a:lnTo>
                  <a:lnTo>
                    <a:pt x="431" y="280"/>
                  </a:lnTo>
                  <a:lnTo>
                    <a:pt x="431" y="279"/>
                  </a:lnTo>
                  <a:lnTo>
                    <a:pt x="431" y="278"/>
                  </a:lnTo>
                  <a:lnTo>
                    <a:pt x="431" y="277"/>
                  </a:lnTo>
                  <a:lnTo>
                    <a:pt x="430" y="275"/>
                  </a:lnTo>
                  <a:lnTo>
                    <a:pt x="430" y="274"/>
                  </a:lnTo>
                  <a:lnTo>
                    <a:pt x="430" y="271"/>
                  </a:lnTo>
                  <a:lnTo>
                    <a:pt x="429" y="270"/>
                  </a:lnTo>
                  <a:lnTo>
                    <a:pt x="428" y="269"/>
                  </a:lnTo>
                  <a:lnTo>
                    <a:pt x="428" y="266"/>
                  </a:lnTo>
                  <a:lnTo>
                    <a:pt x="427" y="265"/>
                  </a:lnTo>
                  <a:lnTo>
                    <a:pt x="426" y="265"/>
                  </a:lnTo>
                  <a:lnTo>
                    <a:pt x="424" y="264"/>
                  </a:lnTo>
                  <a:lnTo>
                    <a:pt x="421" y="264"/>
                  </a:lnTo>
                  <a:lnTo>
                    <a:pt x="420" y="265"/>
                  </a:lnTo>
                  <a:lnTo>
                    <a:pt x="418" y="266"/>
                  </a:lnTo>
                  <a:lnTo>
                    <a:pt x="416" y="267"/>
                  </a:lnTo>
                  <a:lnTo>
                    <a:pt x="416" y="270"/>
                  </a:lnTo>
                  <a:lnTo>
                    <a:pt x="415" y="271"/>
                  </a:lnTo>
                  <a:lnTo>
                    <a:pt x="415" y="273"/>
                  </a:lnTo>
                  <a:lnTo>
                    <a:pt x="414" y="275"/>
                  </a:lnTo>
                  <a:lnTo>
                    <a:pt x="414" y="278"/>
                  </a:lnTo>
                  <a:lnTo>
                    <a:pt x="414" y="279"/>
                  </a:lnTo>
                  <a:lnTo>
                    <a:pt x="413" y="285"/>
                  </a:lnTo>
                  <a:lnTo>
                    <a:pt x="412" y="286"/>
                  </a:lnTo>
                  <a:lnTo>
                    <a:pt x="411" y="287"/>
                  </a:lnTo>
                  <a:lnTo>
                    <a:pt x="410" y="287"/>
                  </a:lnTo>
                  <a:lnTo>
                    <a:pt x="407" y="287"/>
                  </a:lnTo>
                  <a:lnTo>
                    <a:pt x="405" y="287"/>
                  </a:lnTo>
                  <a:lnTo>
                    <a:pt x="404" y="288"/>
                  </a:lnTo>
                  <a:lnTo>
                    <a:pt x="403" y="289"/>
                  </a:lnTo>
                  <a:lnTo>
                    <a:pt x="403" y="290"/>
                  </a:lnTo>
                  <a:lnTo>
                    <a:pt x="403" y="293"/>
                  </a:lnTo>
                  <a:lnTo>
                    <a:pt x="403" y="296"/>
                  </a:lnTo>
                  <a:lnTo>
                    <a:pt x="404" y="297"/>
                  </a:lnTo>
                  <a:lnTo>
                    <a:pt x="405" y="298"/>
                  </a:lnTo>
                  <a:lnTo>
                    <a:pt x="407" y="298"/>
                  </a:lnTo>
                  <a:lnTo>
                    <a:pt x="408" y="299"/>
                  </a:lnTo>
                  <a:lnTo>
                    <a:pt x="411" y="299"/>
                  </a:lnTo>
                  <a:lnTo>
                    <a:pt x="412" y="301"/>
                  </a:lnTo>
                  <a:lnTo>
                    <a:pt x="414" y="303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7"/>
                  </a:lnTo>
                  <a:lnTo>
                    <a:pt x="416" y="309"/>
                  </a:lnTo>
                  <a:lnTo>
                    <a:pt x="418" y="313"/>
                  </a:lnTo>
                  <a:lnTo>
                    <a:pt x="419" y="314"/>
                  </a:lnTo>
                  <a:lnTo>
                    <a:pt x="420" y="317"/>
                  </a:lnTo>
                  <a:lnTo>
                    <a:pt x="422" y="318"/>
                  </a:lnTo>
                  <a:lnTo>
                    <a:pt x="423" y="320"/>
                  </a:lnTo>
                  <a:lnTo>
                    <a:pt x="424" y="321"/>
                  </a:lnTo>
                  <a:lnTo>
                    <a:pt x="426" y="322"/>
                  </a:lnTo>
                  <a:lnTo>
                    <a:pt x="426" y="323"/>
                  </a:lnTo>
                  <a:lnTo>
                    <a:pt x="427" y="325"/>
                  </a:lnTo>
                  <a:lnTo>
                    <a:pt x="427" y="327"/>
                  </a:lnTo>
                  <a:lnTo>
                    <a:pt x="429" y="328"/>
                  </a:lnTo>
                  <a:lnTo>
                    <a:pt x="429" y="329"/>
                  </a:lnTo>
                  <a:lnTo>
                    <a:pt x="430" y="331"/>
                  </a:lnTo>
                  <a:lnTo>
                    <a:pt x="430" y="333"/>
                  </a:lnTo>
                  <a:lnTo>
                    <a:pt x="430" y="336"/>
                  </a:lnTo>
                  <a:lnTo>
                    <a:pt x="428" y="336"/>
                  </a:lnTo>
                  <a:lnTo>
                    <a:pt x="427" y="338"/>
                  </a:lnTo>
                  <a:lnTo>
                    <a:pt x="424" y="339"/>
                  </a:lnTo>
                  <a:lnTo>
                    <a:pt x="422" y="339"/>
                  </a:lnTo>
                  <a:lnTo>
                    <a:pt x="422" y="341"/>
                  </a:lnTo>
                  <a:lnTo>
                    <a:pt x="421" y="342"/>
                  </a:lnTo>
                  <a:lnTo>
                    <a:pt x="419" y="347"/>
                  </a:lnTo>
                  <a:lnTo>
                    <a:pt x="419" y="350"/>
                  </a:lnTo>
                  <a:lnTo>
                    <a:pt x="418" y="351"/>
                  </a:lnTo>
                  <a:lnTo>
                    <a:pt x="418" y="352"/>
                  </a:lnTo>
                  <a:lnTo>
                    <a:pt x="418" y="354"/>
                  </a:lnTo>
                  <a:lnTo>
                    <a:pt x="419" y="354"/>
                  </a:lnTo>
                  <a:lnTo>
                    <a:pt x="419" y="355"/>
                  </a:lnTo>
                  <a:lnTo>
                    <a:pt x="420" y="358"/>
                  </a:lnTo>
                  <a:lnTo>
                    <a:pt x="421" y="359"/>
                  </a:lnTo>
                  <a:lnTo>
                    <a:pt x="421" y="360"/>
                  </a:lnTo>
                  <a:lnTo>
                    <a:pt x="426" y="362"/>
                  </a:lnTo>
                  <a:lnTo>
                    <a:pt x="427" y="363"/>
                  </a:lnTo>
                  <a:lnTo>
                    <a:pt x="429" y="366"/>
                  </a:lnTo>
                  <a:lnTo>
                    <a:pt x="431" y="368"/>
                  </a:lnTo>
                  <a:lnTo>
                    <a:pt x="432" y="368"/>
                  </a:lnTo>
                  <a:lnTo>
                    <a:pt x="434" y="369"/>
                  </a:lnTo>
                  <a:lnTo>
                    <a:pt x="434" y="371"/>
                  </a:lnTo>
                  <a:lnTo>
                    <a:pt x="434" y="373"/>
                  </a:lnTo>
                  <a:lnTo>
                    <a:pt x="434" y="374"/>
                  </a:lnTo>
                  <a:lnTo>
                    <a:pt x="432" y="376"/>
                  </a:lnTo>
                  <a:lnTo>
                    <a:pt x="429" y="378"/>
                  </a:lnTo>
                  <a:lnTo>
                    <a:pt x="428" y="379"/>
                  </a:lnTo>
                  <a:lnTo>
                    <a:pt x="427" y="381"/>
                  </a:lnTo>
                  <a:lnTo>
                    <a:pt x="426" y="382"/>
                  </a:lnTo>
                  <a:lnTo>
                    <a:pt x="426" y="383"/>
                  </a:lnTo>
                  <a:lnTo>
                    <a:pt x="426" y="384"/>
                  </a:lnTo>
                  <a:lnTo>
                    <a:pt x="428" y="387"/>
                  </a:lnTo>
                  <a:lnTo>
                    <a:pt x="429" y="389"/>
                  </a:lnTo>
                  <a:lnTo>
                    <a:pt x="429" y="390"/>
                  </a:lnTo>
                  <a:lnTo>
                    <a:pt x="429" y="392"/>
                  </a:lnTo>
                  <a:lnTo>
                    <a:pt x="429" y="393"/>
                  </a:lnTo>
                  <a:lnTo>
                    <a:pt x="429" y="394"/>
                  </a:lnTo>
                  <a:lnTo>
                    <a:pt x="428" y="395"/>
                  </a:lnTo>
                  <a:lnTo>
                    <a:pt x="428" y="398"/>
                  </a:lnTo>
                  <a:lnTo>
                    <a:pt x="428" y="399"/>
                  </a:lnTo>
                  <a:lnTo>
                    <a:pt x="429" y="402"/>
                  </a:lnTo>
                  <a:lnTo>
                    <a:pt x="429" y="403"/>
                  </a:lnTo>
                  <a:lnTo>
                    <a:pt x="429" y="405"/>
                  </a:lnTo>
                  <a:lnTo>
                    <a:pt x="427" y="407"/>
                  </a:lnTo>
                  <a:lnTo>
                    <a:pt x="424" y="408"/>
                  </a:lnTo>
                  <a:lnTo>
                    <a:pt x="423" y="408"/>
                  </a:lnTo>
                  <a:lnTo>
                    <a:pt x="421" y="408"/>
                  </a:lnTo>
                  <a:lnTo>
                    <a:pt x="419" y="407"/>
                  </a:lnTo>
                  <a:lnTo>
                    <a:pt x="419" y="406"/>
                  </a:lnTo>
                  <a:lnTo>
                    <a:pt x="418" y="405"/>
                  </a:lnTo>
                  <a:lnTo>
                    <a:pt x="416" y="402"/>
                  </a:lnTo>
                  <a:lnTo>
                    <a:pt x="416" y="401"/>
                  </a:lnTo>
                  <a:lnTo>
                    <a:pt x="415" y="400"/>
                  </a:lnTo>
                  <a:lnTo>
                    <a:pt x="413" y="398"/>
                  </a:lnTo>
                  <a:lnTo>
                    <a:pt x="413" y="397"/>
                  </a:lnTo>
                  <a:lnTo>
                    <a:pt x="411" y="395"/>
                  </a:lnTo>
                  <a:lnTo>
                    <a:pt x="410" y="395"/>
                  </a:lnTo>
                  <a:lnTo>
                    <a:pt x="407" y="395"/>
                  </a:lnTo>
                  <a:lnTo>
                    <a:pt x="406" y="395"/>
                  </a:lnTo>
                  <a:lnTo>
                    <a:pt x="405" y="397"/>
                  </a:lnTo>
                  <a:lnTo>
                    <a:pt x="404" y="397"/>
                  </a:lnTo>
                  <a:lnTo>
                    <a:pt x="403" y="397"/>
                  </a:lnTo>
                  <a:lnTo>
                    <a:pt x="402" y="398"/>
                  </a:lnTo>
                  <a:lnTo>
                    <a:pt x="402" y="399"/>
                  </a:lnTo>
                  <a:lnTo>
                    <a:pt x="403" y="400"/>
                  </a:lnTo>
                  <a:lnTo>
                    <a:pt x="403" y="402"/>
                  </a:lnTo>
                  <a:lnTo>
                    <a:pt x="403" y="403"/>
                  </a:lnTo>
                  <a:lnTo>
                    <a:pt x="403" y="405"/>
                  </a:lnTo>
                  <a:lnTo>
                    <a:pt x="402" y="406"/>
                  </a:lnTo>
                  <a:lnTo>
                    <a:pt x="400" y="407"/>
                  </a:lnTo>
                  <a:lnTo>
                    <a:pt x="399" y="408"/>
                  </a:lnTo>
                  <a:lnTo>
                    <a:pt x="397" y="408"/>
                  </a:lnTo>
                  <a:lnTo>
                    <a:pt x="396" y="409"/>
                  </a:lnTo>
                  <a:lnTo>
                    <a:pt x="395" y="409"/>
                  </a:lnTo>
                  <a:lnTo>
                    <a:pt x="394" y="409"/>
                  </a:lnTo>
                  <a:lnTo>
                    <a:pt x="391" y="409"/>
                  </a:lnTo>
                  <a:lnTo>
                    <a:pt x="389" y="409"/>
                  </a:lnTo>
                  <a:lnTo>
                    <a:pt x="387" y="409"/>
                  </a:lnTo>
                  <a:lnTo>
                    <a:pt x="386" y="409"/>
                  </a:lnTo>
                  <a:lnTo>
                    <a:pt x="383" y="409"/>
                  </a:lnTo>
                  <a:lnTo>
                    <a:pt x="382" y="409"/>
                  </a:lnTo>
                  <a:lnTo>
                    <a:pt x="381" y="408"/>
                  </a:lnTo>
                  <a:lnTo>
                    <a:pt x="381" y="407"/>
                  </a:lnTo>
                  <a:lnTo>
                    <a:pt x="381" y="405"/>
                  </a:lnTo>
                  <a:lnTo>
                    <a:pt x="380" y="403"/>
                  </a:lnTo>
                  <a:lnTo>
                    <a:pt x="380" y="402"/>
                  </a:lnTo>
                  <a:lnTo>
                    <a:pt x="379" y="402"/>
                  </a:lnTo>
                  <a:lnTo>
                    <a:pt x="378" y="401"/>
                  </a:lnTo>
                  <a:lnTo>
                    <a:pt x="375" y="400"/>
                  </a:lnTo>
                  <a:lnTo>
                    <a:pt x="374" y="401"/>
                  </a:lnTo>
                  <a:lnTo>
                    <a:pt x="373" y="401"/>
                  </a:lnTo>
                  <a:lnTo>
                    <a:pt x="372" y="402"/>
                  </a:lnTo>
                  <a:lnTo>
                    <a:pt x="370" y="403"/>
                  </a:lnTo>
                  <a:lnTo>
                    <a:pt x="368" y="405"/>
                  </a:lnTo>
                  <a:lnTo>
                    <a:pt x="366" y="405"/>
                  </a:lnTo>
                  <a:lnTo>
                    <a:pt x="365" y="405"/>
                  </a:lnTo>
                  <a:lnTo>
                    <a:pt x="364" y="405"/>
                  </a:lnTo>
                  <a:lnTo>
                    <a:pt x="363" y="405"/>
                  </a:lnTo>
                  <a:lnTo>
                    <a:pt x="359" y="403"/>
                  </a:lnTo>
                  <a:lnTo>
                    <a:pt x="358" y="402"/>
                  </a:lnTo>
                  <a:lnTo>
                    <a:pt x="357" y="402"/>
                  </a:lnTo>
                  <a:lnTo>
                    <a:pt x="356" y="401"/>
                  </a:lnTo>
                  <a:lnTo>
                    <a:pt x="354" y="402"/>
                  </a:lnTo>
                  <a:lnTo>
                    <a:pt x="352" y="403"/>
                  </a:lnTo>
                  <a:lnTo>
                    <a:pt x="351" y="403"/>
                  </a:lnTo>
                  <a:lnTo>
                    <a:pt x="350" y="405"/>
                  </a:lnTo>
                  <a:lnTo>
                    <a:pt x="349" y="406"/>
                  </a:lnTo>
                  <a:lnTo>
                    <a:pt x="348" y="407"/>
                  </a:lnTo>
                  <a:lnTo>
                    <a:pt x="347" y="407"/>
                  </a:lnTo>
                  <a:lnTo>
                    <a:pt x="343" y="408"/>
                  </a:lnTo>
                  <a:lnTo>
                    <a:pt x="342" y="409"/>
                  </a:lnTo>
                  <a:lnTo>
                    <a:pt x="341" y="409"/>
                  </a:lnTo>
                  <a:lnTo>
                    <a:pt x="339" y="409"/>
                  </a:lnTo>
                  <a:lnTo>
                    <a:pt x="338" y="408"/>
                  </a:lnTo>
                  <a:lnTo>
                    <a:pt x="336" y="408"/>
                  </a:lnTo>
                  <a:lnTo>
                    <a:pt x="335" y="408"/>
                  </a:lnTo>
                  <a:lnTo>
                    <a:pt x="334" y="407"/>
                  </a:lnTo>
                  <a:lnTo>
                    <a:pt x="332" y="407"/>
                  </a:lnTo>
                  <a:lnTo>
                    <a:pt x="331" y="407"/>
                  </a:lnTo>
                  <a:lnTo>
                    <a:pt x="330" y="408"/>
                  </a:lnTo>
                  <a:lnTo>
                    <a:pt x="328" y="408"/>
                  </a:lnTo>
                  <a:lnTo>
                    <a:pt x="327" y="408"/>
                  </a:lnTo>
                  <a:lnTo>
                    <a:pt x="326" y="408"/>
                  </a:lnTo>
                  <a:lnTo>
                    <a:pt x="325" y="409"/>
                  </a:lnTo>
                  <a:lnTo>
                    <a:pt x="325" y="410"/>
                  </a:lnTo>
                  <a:lnTo>
                    <a:pt x="324" y="411"/>
                  </a:lnTo>
                  <a:lnTo>
                    <a:pt x="323" y="413"/>
                  </a:lnTo>
                  <a:lnTo>
                    <a:pt x="323" y="414"/>
                  </a:lnTo>
                  <a:lnTo>
                    <a:pt x="324" y="415"/>
                  </a:lnTo>
                  <a:lnTo>
                    <a:pt x="324" y="416"/>
                  </a:lnTo>
                  <a:lnTo>
                    <a:pt x="325" y="417"/>
                  </a:lnTo>
                  <a:lnTo>
                    <a:pt x="325" y="419"/>
                  </a:lnTo>
                  <a:lnTo>
                    <a:pt x="325" y="421"/>
                  </a:lnTo>
                  <a:lnTo>
                    <a:pt x="326" y="422"/>
                  </a:lnTo>
                  <a:lnTo>
                    <a:pt x="327" y="423"/>
                  </a:lnTo>
                  <a:lnTo>
                    <a:pt x="327" y="424"/>
                  </a:lnTo>
                  <a:lnTo>
                    <a:pt x="327" y="425"/>
                  </a:lnTo>
                  <a:lnTo>
                    <a:pt x="327" y="426"/>
                  </a:lnTo>
                  <a:lnTo>
                    <a:pt x="327" y="427"/>
                  </a:lnTo>
                  <a:lnTo>
                    <a:pt x="326" y="430"/>
                  </a:lnTo>
                  <a:lnTo>
                    <a:pt x="325" y="431"/>
                  </a:lnTo>
                  <a:lnTo>
                    <a:pt x="324" y="432"/>
                  </a:lnTo>
                  <a:lnTo>
                    <a:pt x="323" y="433"/>
                  </a:lnTo>
                  <a:lnTo>
                    <a:pt x="322" y="433"/>
                  </a:lnTo>
                  <a:lnTo>
                    <a:pt x="320" y="434"/>
                  </a:lnTo>
                  <a:lnTo>
                    <a:pt x="318" y="435"/>
                  </a:lnTo>
                  <a:lnTo>
                    <a:pt x="317" y="435"/>
                  </a:lnTo>
                  <a:lnTo>
                    <a:pt x="315" y="435"/>
                  </a:lnTo>
                  <a:lnTo>
                    <a:pt x="312" y="437"/>
                  </a:lnTo>
                  <a:lnTo>
                    <a:pt x="310" y="438"/>
                  </a:lnTo>
                  <a:lnTo>
                    <a:pt x="309" y="438"/>
                  </a:lnTo>
                  <a:lnTo>
                    <a:pt x="308" y="439"/>
                  </a:lnTo>
                  <a:lnTo>
                    <a:pt x="307" y="440"/>
                  </a:lnTo>
                  <a:lnTo>
                    <a:pt x="304" y="441"/>
                  </a:lnTo>
                  <a:lnTo>
                    <a:pt x="303" y="441"/>
                  </a:lnTo>
                  <a:lnTo>
                    <a:pt x="301" y="441"/>
                  </a:lnTo>
                  <a:lnTo>
                    <a:pt x="300" y="441"/>
                  </a:lnTo>
                  <a:lnTo>
                    <a:pt x="300" y="440"/>
                  </a:lnTo>
                  <a:lnTo>
                    <a:pt x="300" y="439"/>
                  </a:lnTo>
                  <a:lnTo>
                    <a:pt x="301" y="437"/>
                  </a:lnTo>
                  <a:lnTo>
                    <a:pt x="302" y="435"/>
                  </a:lnTo>
                  <a:lnTo>
                    <a:pt x="301" y="433"/>
                  </a:lnTo>
                  <a:lnTo>
                    <a:pt x="301" y="432"/>
                  </a:lnTo>
                  <a:lnTo>
                    <a:pt x="301" y="431"/>
                  </a:lnTo>
                  <a:lnTo>
                    <a:pt x="302" y="430"/>
                  </a:lnTo>
                  <a:lnTo>
                    <a:pt x="302" y="429"/>
                  </a:lnTo>
                  <a:lnTo>
                    <a:pt x="301" y="429"/>
                  </a:lnTo>
                  <a:lnTo>
                    <a:pt x="300" y="427"/>
                  </a:lnTo>
                  <a:lnTo>
                    <a:pt x="299" y="427"/>
                  </a:lnTo>
                  <a:lnTo>
                    <a:pt x="298" y="429"/>
                  </a:lnTo>
                  <a:lnTo>
                    <a:pt x="298" y="430"/>
                  </a:lnTo>
                  <a:lnTo>
                    <a:pt x="296" y="430"/>
                  </a:lnTo>
                  <a:lnTo>
                    <a:pt x="293" y="430"/>
                  </a:lnTo>
                  <a:lnTo>
                    <a:pt x="292" y="430"/>
                  </a:lnTo>
                  <a:lnTo>
                    <a:pt x="290" y="429"/>
                  </a:lnTo>
                  <a:lnTo>
                    <a:pt x="288" y="429"/>
                  </a:lnTo>
                  <a:lnTo>
                    <a:pt x="287" y="426"/>
                  </a:lnTo>
                  <a:lnTo>
                    <a:pt x="286" y="425"/>
                  </a:lnTo>
                  <a:lnTo>
                    <a:pt x="285" y="425"/>
                  </a:lnTo>
                  <a:lnTo>
                    <a:pt x="284" y="424"/>
                  </a:lnTo>
                  <a:lnTo>
                    <a:pt x="283" y="423"/>
                  </a:lnTo>
                  <a:lnTo>
                    <a:pt x="282" y="422"/>
                  </a:lnTo>
                  <a:lnTo>
                    <a:pt x="279" y="421"/>
                  </a:lnTo>
                  <a:lnTo>
                    <a:pt x="279" y="418"/>
                  </a:lnTo>
                  <a:lnTo>
                    <a:pt x="279" y="417"/>
                  </a:lnTo>
                  <a:lnTo>
                    <a:pt x="278" y="415"/>
                  </a:lnTo>
                  <a:lnTo>
                    <a:pt x="278" y="414"/>
                  </a:lnTo>
                  <a:lnTo>
                    <a:pt x="277" y="413"/>
                  </a:lnTo>
                  <a:lnTo>
                    <a:pt x="277" y="411"/>
                  </a:lnTo>
                  <a:lnTo>
                    <a:pt x="275" y="411"/>
                  </a:lnTo>
                  <a:lnTo>
                    <a:pt x="274" y="410"/>
                  </a:lnTo>
                  <a:lnTo>
                    <a:pt x="272" y="410"/>
                  </a:lnTo>
                  <a:lnTo>
                    <a:pt x="270" y="410"/>
                  </a:lnTo>
                  <a:lnTo>
                    <a:pt x="268" y="410"/>
                  </a:lnTo>
                  <a:lnTo>
                    <a:pt x="266" y="410"/>
                  </a:lnTo>
                  <a:lnTo>
                    <a:pt x="264" y="411"/>
                  </a:lnTo>
                  <a:lnTo>
                    <a:pt x="263" y="411"/>
                  </a:lnTo>
                  <a:lnTo>
                    <a:pt x="262" y="411"/>
                  </a:lnTo>
                  <a:lnTo>
                    <a:pt x="259" y="411"/>
                  </a:lnTo>
                  <a:lnTo>
                    <a:pt x="258" y="411"/>
                  </a:lnTo>
                  <a:lnTo>
                    <a:pt x="256" y="411"/>
                  </a:lnTo>
                  <a:lnTo>
                    <a:pt x="254" y="411"/>
                  </a:lnTo>
                  <a:lnTo>
                    <a:pt x="253" y="411"/>
                  </a:lnTo>
                  <a:lnTo>
                    <a:pt x="252" y="410"/>
                  </a:lnTo>
                  <a:lnTo>
                    <a:pt x="250" y="410"/>
                  </a:lnTo>
                  <a:lnTo>
                    <a:pt x="247" y="410"/>
                  </a:lnTo>
                  <a:lnTo>
                    <a:pt x="247" y="409"/>
                  </a:lnTo>
                  <a:lnTo>
                    <a:pt x="246" y="409"/>
                  </a:lnTo>
                  <a:lnTo>
                    <a:pt x="244" y="409"/>
                  </a:lnTo>
                  <a:lnTo>
                    <a:pt x="243" y="409"/>
                  </a:lnTo>
                  <a:lnTo>
                    <a:pt x="240" y="409"/>
                  </a:lnTo>
                  <a:lnTo>
                    <a:pt x="238" y="409"/>
                  </a:lnTo>
                  <a:lnTo>
                    <a:pt x="237" y="410"/>
                  </a:lnTo>
                  <a:lnTo>
                    <a:pt x="236" y="410"/>
                  </a:lnTo>
                  <a:lnTo>
                    <a:pt x="235" y="411"/>
                  </a:lnTo>
                  <a:lnTo>
                    <a:pt x="235" y="413"/>
                  </a:lnTo>
                  <a:lnTo>
                    <a:pt x="234" y="414"/>
                  </a:lnTo>
                  <a:lnTo>
                    <a:pt x="234" y="415"/>
                  </a:lnTo>
                  <a:lnTo>
                    <a:pt x="234" y="416"/>
                  </a:lnTo>
                  <a:lnTo>
                    <a:pt x="234" y="419"/>
                  </a:lnTo>
                  <a:lnTo>
                    <a:pt x="235" y="421"/>
                  </a:lnTo>
                  <a:lnTo>
                    <a:pt x="235" y="422"/>
                  </a:lnTo>
                  <a:lnTo>
                    <a:pt x="236" y="423"/>
                  </a:lnTo>
                  <a:lnTo>
                    <a:pt x="236" y="424"/>
                  </a:lnTo>
                  <a:lnTo>
                    <a:pt x="238" y="425"/>
                  </a:lnTo>
                  <a:lnTo>
                    <a:pt x="238" y="427"/>
                  </a:lnTo>
                  <a:lnTo>
                    <a:pt x="237" y="429"/>
                  </a:lnTo>
                  <a:lnTo>
                    <a:pt x="237" y="430"/>
                  </a:lnTo>
                  <a:lnTo>
                    <a:pt x="235" y="431"/>
                  </a:lnTo>
                  <a:lnTo>
                    <a:pt x="232" y="431"/>
                  </a:lnTo>
                  <a:lnTo>
                    <a:pt x="230" y="432"/>
                  </a:lnTo>
                  <a:lnTo>
                    <a:pt x="228" y="432"/>
                  </a:lnTo>
                  <a:lnTo>
                    <a:pt x="227" y="433"/>
                  </a:lnTo>
                  <a:lnTo>
                    <a:pt x="226" y="434"/>
                  </a:lnTo>
                  <a:lnTo>
                    <a:pt x="224" y="434"/>
                  </a:lnTo>
                  <a:lnTo>
                    <a:pt x="223" y="437"/>
                  </a:lnTo>
                  <a:lnTo>
                    <a:pt x="222" y="438"/>
                  </a:lnTo>
                  <a:lnTo>
                    <a:pt x="222" y="440"/>
                  </a:lnTo>
                  <a:lnTo>
                    <a:pt x="223" y="441"/>
                  </a:lnTo>
                  <a:lnTo>
                    <a:pt x="223" y="442"/>
                  </a:lnTo>
                  <a:lnTo>
                    <a:pt x="223" y="445"/>
                  </a:lnTo>
                  <a:lnTo>
                    <a:pt x="224" y="446"/>
                  </a:lnTo>
                  <a:lnTo>
                    <a:pt x="226" y="447"/>
                  </a:lnTo>
                  <a:lnTo>
                    <a:pt x="227" y="448"/>
                  </a:lnTo>
                  <a:lnTo>
                    <a:pt x="228" y="450"/>
                  </a:lnTo>
                  <a:lnTo>
                    <a:pt x="229" y="451"/>
                  </a:lnTo>
                  <a:lnTo>
                    <a:pt x="229" y="453"/>
                  </a:lnTo>
                  <a:lnTo>
                    <a:pt x="230" y="455"/>
                  </a:lnTo>
                  <a:lnTo>
                    <a:pt x="230" y="456"/>
                  </a:lnTo>
                  <a:lnTo>
                    <a:pt x="229" y="457"/>
                  </a:lnTo>
                  <a:lnTo>
                    <a:pt x="229" y="458"/>
                  </a:lnTo>
                  <a:lnTo>
                    <a:pt x="228" y="459"/>
                  </a:lnTo>
                  <a:lnTo>
                    <a:pt x="227" y="459"/>
                  </a:lnTo>
                  <a:lnTo>
                    <a:pt x="226" y="459"/>
                  </a:lnTo>
                  <a:lnTo>
                    <a:pt x="223" y="459"/>
                  </a:lnTo>
                  <a:lnTo>
                    <a:pt x="222" y="459"/>
                  </a:lnTo>
                  <a:lnTo>
                    <a:pt x="221" y="461"/>
                  </a:lnTo>
                  <a:lnTo>
                    <a:pt x="219" y="461"/>
                  </a:lnTo>
                  <a:lnTo>
                    <a:pt x="218" y="461"/>
                  </a:lnTo>
                  <a:lnTo>
                    <a:pt x="215" y="461"/>
                  </a:lnTo>
                  <a:lnTo>
                    <a:pt x="214" y="462"/>
                  </a:lnTo>
                  <a:lnTo>
                    <a:pt x="212" y="462"/>
                  </a:lnTo>
                  <a:lnTo>
                    <a:pt x="210" y="462"/>
                  </a:lnTo>
                  <a:lnTo>
                    <a:pt x="208" y="462"/>
                  </a:lnTo>
                  <a:lnTo>
                    <a:pt x="207" y="462"/>
                  </a:lnTo>
                  <a:lnTo>
                    <a:pt x="205" y="462"/>
                  </a:lnTo>
                  <a:lnTo>
                    <a:pt x="203" y="462"/>
                  </a:lnTo>
                  <a:lnTo>
                    <a:pt x="200" y="463"/>
                  </a:lnTo>
                  <a:lnTo>
                    <a:pt x="199" y="463"/>
                  </a:lnTo>
                  <a:lnTo>
                    <a:pt x="198" y="463"/>
                  </a:lnTo>
                  <a:lnTo>
                    <a:pt x="192" y="464"/>
                  </a:lnTo>
                  <a:lnTo>
                    <a:pt x="190" y="464"/>
                  </a:lnTo>
                  <a:lnTo>
                    <a:pt x="188" y="465"/>
                  </a:lnTo>
                  <a:lnTo>
                    <a:pt x="187" y="465"/>
                  </a:lnTo>
                  <a:lnTo>
                    <a:pt x="186" y="466"/>
                  </a:lnTo>
                  <a:lnTo>
                    <a:pt x="183" y="467"/>
                  </a:lnTo>
                  <a:lnTo>
                    <a:pt x="182" y="467"/>
                  </a:lnTo>
                  <a:lnTo>
                    <a:pt x="181" y="469"/>
                  </a:lnTo>
                  <a:lnTo>
                    <a:pt x="181" y="470"/>
                  </a:lnTo>
                  <a:lnTo>
                    <a:pt x="180" y="471"/>
                  </a:lnTo>
                  <a:lnTo>
                    <a:pt x="179" y="472"/>
                  </a:lnTo>
                  <a:lnTo>
                    <a:pt x="178" y="473"/>
                  </a:lnTo>
                  <a:lnTo>
                    <a:pt x="176" y="473"/>
                  </a:lnTo>
                  <a:lnTo>
                    <a:pt x="175" y="474"/>
                  </a:lnTo>
                  <a:lnTo>
                    <a:pt x="170" y="479"/>
                  </a:lnTo>
                  <a:lnTo>
                    <a:pt x="168" y="479"/>
                  </a:lnTo>
                  <a:lnTo>
                    <a:pt x="166" y="481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0" y="485"/>
                  </a:lnTo>
                  <a:lnTo>
                    <a:pt x="159" y="487"/>
                  </a:lnTo>
                  <a:lnTo>
                    <a:pt x="158" y="488"/>
                  </a:lnTo>
                  <a:lnTo>
                    <a:pt x="157" y="488"/>
                  </a:lnTo>
                  <a:lnTo>
                    <a:pt x="157" y="489"/>
                  </a:lnTo>
                  <a:lnTo>
                    <a:pt x="157" y="490"/>
                  </a:lnTo>
                  <a:lnTo>
                    <a:pt x="157" y="491"/>
                  </a:lnTo>
                  <a:lnTo>
                    <a:pt x="157" y="493"/>
                  </a:lnTo>
                  <a:lnTo>
                    <a:pt x="159" y="494"/>
                  </a:lnTo>
                  <a:lnTo>
                    <a:pt x="160" y="494"/>
                  </a:lnTo>
                  <a:lnTo>
                    <a:pt x="163" y="495"/>
                  </a:lnTo>
                  <a:lnTo>
                    <a:pt x="165" y="496"/>
                  </a:lnTo>
                  <a:lnTo>
                    <a:pt x="166" y="497"/>
                  </a:lnTo>
                  <a:lnTo>
                    <a:pt x="167" y="498"/>
                  </a:lnTo>
                  <a:lnTo>
                    <a:pt x="168" y="498"/>
                  </a:lnTo>
                  <a:lnTo>
                    <a:pt x="168" y="499"/>
                  </a:lnTo>
                  <a:lnTo>
                    <a:pt x="168" y="501"/>
                  </a:lnTo>
                  <a:lnTo>
                    <a:pt x="167" y="502"/>
                  </a:lnTo>
                  <a:lnTo>
                    <a:pt x="166" y="502"/>
                  </a:lnTo>
                  <a:lnTo>
                    <a:pt x="165" y="503"/>
                  </a:lnTo>
                  <a:lnTo>
                    <a:pt x="164" y="504"/>
                  </a:lnTo>
                  <a:lnTo>
                    <a:pt x="162" y="504"/>
                  </a:lnTo>
                  <a:lnTo>
                    <a:pt x="159" y="505"/>
                  </a:lnTo>
                  <a:lnTo>
                    <a:pt x="158" y="506"/>
                  </a:lnTo>
                  <a:lnTo>
                    <a:pt x="157" y="506"/>
                  </a:lnTo>
                  <a:lnTo>
                    <a:pt x="156" y="507"/>
                  </a:lnTo>
                  <a:lnTo>
                    <a:pt x="155" y="507"/>
                  </a:lnTo>
                  <a:lnTo>
                    <a:pt x="152" y="509"/>
                  </a:lnTo>
                  <a:lnTo>
                    <a:pt x="151" y="510"/>
                  </a:lnTo>
                  <a:lnTo>
                    <a:pt x="150" y="511"/>
                  </a:lnTo>
                  <a:lnTo>
                    <a:pt x="148" y="511"/>
                  </a:lnTo>
                  <a:lnTo>
                    <a:pt x="147" y="512"/>
                  </a:lnTo>
                  <a:lnTo>
                    <a:pt x="144" y="512"/>
                  </a:lnTo>
                  <a:lnTo>
                    <a:pt x="143" y="512"/>
                  </a:lnTo>
                  <a:lnTo>
                    <a:pt x="142" y="513"/>
                  </a:lnTo>
                  <a:lnTo>
                    <a:pt x="141" y="513"/>
                  </a:lnTo>
                  <a:lnTo>
                    <a:pt x="139" y="512"/>
                  </a:lnTo>
                  <a:lnTo>
                    <a:pt x="136" y="513"/>
                  </a:lnTo>
                  <a:lnTo>
                    <a:pt x="135" y="514"/>
                  </a:lnTo>
                  <a:lnTo>
                    <a:pt x="134" y="514"/>
                  </a:lnTo>
                  <a:lnTo>
                    <a:pt x="132" y="514"/>
                  </a:lnTo>
                  <a:lnTo>
                    <a:pt x="131" y="512"/>
                  </a:lnTo>
                  <a:lnTo>
                    <a:pt x="130" y="511"/>
                  </a:lnTo>
                  <a:lnTo>
                    <a:pt x="128" y="510"/>
                  </a:lnTo>
                  <a:lnTo>
                    <a:pt x="128" y="509"/>
                  </a:lnTo>
                  <a:lnTo>
                    <a:pt x="128" y="506"/>
                  </a:lnTo>
                  <a:lnTo>
                    <a:pt x="130" y="505"/>
                  </a:lnTo>
                  <a:lnTo>
                    <a:pt x="128" y="504"/>
                  </a:lnTo>
                  <a:lnTo>
                    <a:pt x="127" y="501"/>
                  </a:lnTo>
                  <a:lnTo>
                    <a:pt x="127" y="499"/>
                  </a:lnTo>
                  <a:lnTo>
                    <a:pt x="126" y="498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3" y="497"/>
                  </a:lnTo>
                  <a:lnTo>
                    <a:pt x="122" y="497"/>
                  </a:lnTo>
                  <a:lnTo>
                    <a:pt x="120" y="497"/>
                  </a:lnTo>
                  <a:lnTo>
                    <a:pt x="118" y="497"/>
                  </a:lnTo>
                  <a:lnTo>
                    <a:pt x="117" y="497"/>
                  </a:lnTo>
                  <a:lnTo>
                    <a:pt x="116" y="496"/>
                  </a:lnTo>
                  <a:lnTo>
                    <a:pt x="115" y="496"/>
                  </a:lnTo>
                  <a:lnTo>
                    <a:pt x="115" y="495"/>
                  </a:lnTo>
                  <a:lnTo>
                    <a:pt x="114" y="495"/>
                  </a:lnTo>
                  <a:lnTo>
                    <a:pt x="112" y="494"/>
                  </a:lnTo>
                  <a:lnTo>
                    <a:pt x="112" y="493"/>
                  </a:lnTo>
                  <a:lnTo>
                    <a:pt x="111" y="493"/>
                  </a:lnTo>
                  <a:lnTo>
                    <a:pt x="111" y="491"/>
                  </a:lnTo>
                  <a:lnTo>
                    <a:pt x="110" y="490"/>
                  </a:lnTo>
                  <a:lnTo>
                    <a:pt x="110" y="489"/>
                  </a:lnTo>
                  <a:lnTo>
                    <a:pt x="110" y="488"/>
                  </a:lnTo>
                  <a:lnTo>
                    <a:pt x="109" y="488"/>
                  </a:lnTo>
                  <a:lnTo>
                    <a:pt x="108" y="487"/>
                  </a:lnTo>
                  <a:lnTo>
                    <a:pt x="107" y="487"/>
                  </a:lnTo>
                  <a:lnTo>
                    <a:pt x="106" y="488"/>
                  </a:lnTo>
                  <a:lnTo>
                    <a:pt x="106" y="489"/>
                  </a:lnTo>
                  <a:lnTo>
                    <a:pt x="104" y="490"/>
                  </a:lnTo>
                  <a:lnTo>
                    <a:pt x="104" y="491"/>
                  </a:lnTo>
                  <a:lnTo>
                    <a:pt x="103" y="493"/>
                  </a:lnTo>
                  <a:lnTo>
                    <a:pt x="103" y="494"/>
                  </a:lnTo>
                  <a:lnTo>
                    <a:pt x="103" y="496"/>
                  </a:lnTo>
                  <a:lnTo>
                    <a:pt x="102" y="498"/>
                  </a:lnTo>
                  <a:lnTo>
                    <a:pt x="102" y="499"/>
                  </a:lnTo>
                  <a:lnTo>
                    <a:pt x="102" y="501"/>
                  </a:lnTo>
                  <a:lnTo>
                    <a:pt x="103" y="502"/>
                  </a:lnTo>
                  <a:lnTo>
                    <a:pt x="103" y="503"/>
                  </a:lnTo>
                  <a:lnTo>
                    <a:pt x="102" y="506"/>
                  </a:lnTo>
                  <a:lnTo>
                    <a:pt x="101" y="506"/>
                  </a:lnTo>
                  <a:lnTo>
                    <a:pt x="100" y="507"/>
                  </a:lnTo>
                  <a:lnTo>
                    <a:pt x="98" y="509"/>
                  </a:lnTo>
                  <a:lnTo>
                    <a:pt x="96" y="510"/>
                  </a:lnTo>
                  <a:lnTo>
                    <a:pt x="95" y="510"/>
                  </a:lnTo>
                  <a:lnTo>
                    <a:pt x="93" y="511"/>
                  </a:lnTo>
                  <a:lnTo>
                    <a:pt x="92" y="512"/>
                  </a:lnTo>
                  <a:lnTo>
                    <a:pt x="91" y="513"/>
                  </a:lnTo>
                  <a:lnTo>
                    <a:pt x="90" y="515"/>
                  </a:lnTo>
                  <a:lnTo>
                    <a:pt x="88" y="517"/>
                  </a:lnTo>
                  <a:lnTo>
                    <a:pt x="87" y="517"/>
                  </a:lnTo>
                  <a:lnTo>
                    <a:pt x="86" y="518"/>
                  </a:lnTo>
                  <a:lnTo>
                    <a:pt x="86" y="520"/>
                  </a:lnTo>
                  <a:lnTo>
                    <a:pt x="85" y="521"/>
                  </a:lnTo>
                  <a:lnTo>
                    <a:pt x="84" y="523"/>
                  </a:lnTo>
                  <a:lnTo>
                    <a:pt x="83" y="525"/>
                  </a:lnTo>
                  <a:lnTo>
                    <a:pt x="82" y="525"/>
                  </a:lnTo>
                  <a:lnTo>
                    <a:pt x="80" y="523"/>
                  </a:lnTo>
                  <a:lnTo>
                    <a:pt x="79" y="522"/>
                  </a:lnTo>
                  <a:lnTo>
                    <a:pt x="78" y="521"/>
                  </a:lnTo>
                  <a:lnTo>
                    <a:pt x="78" y="520"/>
                  </a:lnTo>
                  <a:lnTo>
                    <a:pt x="77" y="520"/>
                  </a:lnTo>
                  <a:lnTo>
                    <a:pt x="76" y="519"/>
                  </a:lnTo>
                  <a:lnTo>
                    <a:pt x="75" y="519"/>
                  </a:lnTo>
                  <a:lnTo>
                    <a:pt x="74" y="518"/>
                  </a:lnTo>
                  <a:lnTo>
                    <a:pt x="71" y="518"/>
                  </a:lnTo>
                  <a:lnTo>
                    <a:pt x="70" y="519"/>
                  </a:lnTo>
                  <a:lnTo>
                    <a:pt x="70" y="521"/>
                  </a:lnTo>
                  <a:lnTo>
                    <a:pt x="69" y="521"/>
                  </a:lnTo>
                  <a:lnTo>
                    <a:pt x="70" y="522"/>
                  </a:lnTo>
                  <a:lnTo>
                    <a:pt x="71" y="523"/>
                  </a:lnTo>
                  <a:lnTo>
                    <a:pt x="71" y="525"/>
                  </a:lnTo>
                  <a:lnTo>
                    <a:pt x="71" y="526"/>
                  </a:lnTo>
                  <a:lnTo>
                    <a:pt x="70" y="527"/>
                  </a:lnTo>
                  <a:lnTo>
                    <a:pt x="69" y="527"/>
                  </a:lnTo>
                  <a:lnTo>
                    <a:pt x="68" y="528"/>
                  </a:lnTo>
                  <a:lnTo>
                    <a:pt x="67" y="528"/>
                  </a:lnTo>
                  <a:lnTo>
                    <a:pt x="66" y="528"/>
                  </a:lnTo>
                  <a:lnTo>
                    <a:pt x="64" y="527"/>
                  </a:lnTo>
                  <a:lnTo>
                    <a:pt x="63" y="526"/>
                  </a:lnTo>
                  <a:lnTo>
                    <a:pt x="62" y="525"/>
                  </a:lnTo>
                  <a:lnTo>
                    <a:pt x="61" y="525"/>
                  </a:lnTo>
                  <a:lnTo>
                    <a:pt x="60" y="523"/>
                  </a:lnTo>
                  <a:lnTo>
                    <a:pt x="59" y="522"/>
                  </a:lnTo>
                  <a:lnTo>
                    <a:pt x="58" y="522"/>
                  </a:lnTo>
                  <a:lnTo>
                    <a:pt x="56" y="523"/>
                  </a:lnTo>
                  <a:lnTo>
                    <a:pt x="55" y="526"/>
                  </a:lnTo>
                  <a:lnTo>
                    <a:pt x="54" y="526"/>
                  </a:lnTo>
                  <a:lnTo>
                    <a:pt x="53" y="527"/>
                  </a:lnTo>
                  <a:lnTo>
                    <a:pt x="52" y="527"/>
                  </a:lnTo>
                  <a:lnTo>
                    <a:pt x="51" y="528"/>
                  </a:lnTo>
                  <a:lnTo>
                    <a:pt x="51" y="529"/>
                  </a:lnTo>
                  <a:lnTo>
                    <a:pt x="51" y="530"/>
                  </a:lnTo>
                  <a:lnTo>
                    <a:pt x="50" y="531"/>
                  </a:lnTo>
                  <a:lnTo>
                    <a:pt x="50" y="533"/>
                  </a:lnTo>
                  <a:lnTo>
                    <a:pt x="52" y="534"/>
                  </a:lnTo>
                  <a:lnTo>
                    <a:pt x="53" y="534"/>
                  </a:lnTo>
                  <a:lnTo>
                    <a:pt x="54" y="534"/>
                  </a:lnTo>
                  <a:lnTo>
                    <a:pt x="55" y="534"/>
                  </a:lnTo>
                  <a:lnTo>
                    <a:pt x="56" y="533"/>
                  </a:lnTo>
                  <a:lnTo>
                    <a:pt x="58" y="533"/>
                  </a:lnTo>
                  <a:lnTo>
                    <a:pt x="60" y="533"/>
                  </a:lnTo>
                  <a:lnTo>
                    <a:pt x="61" y="533"/>
                  </a:lnTo>
                  <a:lnTo>
                    <a:pt x="61" y="534"/>
                  </a:lnTo>
                  <a:lnTo>
                    <a:pt x="62" y="535"/>
                  </a:lnTo>
                  <a:lnTo>
                    <a:pt x="63" y="535"/>
                  </a:lnTo>
                  <a:lnTo>
                    <a:pt x="63" y="536"/>
                  </a:lnTo>
                  <a:lnTo>
                    <a:pt x="63" y="537"/>
                  </a:lnTo>
                  <a:lnTo>
                    <a:pt x="62" y="538"/>
                  </a:lnTo>
                  <a:lnTo>
                    <a:pt x="62" y="539"/>
                  </a:lnTo>
                  <a:lnTo>
                    <a:pt x="61" y="542"/>
                  </a:lnTo>
                  <a:lnTo>
                    <a:pt x="61" y="543"/>
                  </a:lnTo>
                  <a:lnTo>
                    <a:pt x="61" y="545"/>
                  </a:lnTo>
                  <a:lnTo>
                    <a:pt x="63" y="546"/>
                  </a:lnTo>
                  <a:lnTo>
                    <a:pt x="64" y="547"/>
                  </a:lnTo>
                  <a:lnTo>
                    <a:pt x="66" y="547"/>
                  </a:lnTo>
                  <a:lnTo>
                    <a:pt x="69" y="547"/>
                  </a:lnTo>
                  <a:lnTo>
                    <a:pt x="70" y="549"/>
                  </a:lnTo>
                  <a:lnTo>
                    <a:pt x="71" y="550"/>
                  </a:lnTo>
                  <a:lnTo>
                    <a:pt x="74" y="553"/>
                  </a:lnTo>
                  <a:lnTo>
                    <a:pt x="74" y="554"/>
                  </a:lnTo>
                  <a:lnTo>
                    <a:pt x="76" y="557"/>
                  </a:lnTo>
                  <a:lnTo>
                    <a:pt x="77" y="558"/>
                  </a:lnTo>
                  <a:lnTo>
                    <a:pt x="78" y="559"/>
                  </a:lnTo>
                  <a:lnTo>
                    <a:pt x="79" y="560"/>
                  </a:lnTo>
                  <a:lnTo>
                    <a:pt x="79" y="561"/>
                  </a:lnTo>
                  <a:lnTo>
                    <a:pt x="80" y="562"/>
                  </a:lnTo>
                  <a:lnTo>
                    <a:pt x="82" y="563"/>
                  </a:lnTo>
                  <a:lnTo>
                    <a:pt x="82" y="566"/>
                  </a:lnTo>
                  <a:lnTo>
                    <a:pt x="82" y="567"/>
                  </a:lnTo>
                  <a:lnTo>
                    <a:pt x="80" y="568"/>
                  </a:lnTo>
                  <a:lnTo>
                    <a:pt x="79" y="569"/>
                  </a:lnTo>
                  <a:lnTo>
                    <a:pt x="78" y="569"/>
                  </a:lnTo>
                  <a:lnTo>
                    <a:pt x="77" y="569"/>
                  </a:lnTo>
                  <a:lnTo>
                    <a:pt x="76" y="569"/>
                  </a:lnTo>
                  <a:lnTo>
                    <a:pt x="75" y="569"/>
                  </a:lnTo>
                  <a:lnTo>
                    <a:pt x="74" y="568"/>
                  </a:lnTo>
                  <a:lnTo>
                    <a:pt x="72" y="567"/>
                  </a:lnTo>
                  <a:lnTo>
                    <a:pt x="71" y="566"/>
                  </a:lnTo>
                  <a:lnTo>
                    <a:pt x="70" y="566"/>
                  </a:lnTo>
                  <a:lnTo>
                    <a:pt x="68" y="566"/>
                  </a:lnTo>
                  <a:lnTo>
                    <a:pt x="67" y="567"/>
                  </a:lnTo>
                  <a:lnTo>
                    <a:pt x="67" y="569"/>
                  </a:lnTo>
                  <a:lnTo>
                    <a:pt x="67" y="570"/>
                  </a:lnTo>
                  <a:lnTo>
                    <a:pt x="66" y="571"/>
                  </a:lnTo>
                  <a:lnTo>
                    <a:pt x="67" y="573"/>
                  </a:lnTo>
                  <a:lnTo>
                    <a:pt x="68" y="574"/>
                  </a:lnTo>
                  <a:lnTo>
                    <a:pt x="68" y="575"/>
                  </a:lnTo>
                  <a:lnTo>
                    <a:pt x="69" y="577"/>
                  </a:lnTo>
                  <a:lnTo>
                    <a:pt x="70" y="578"/>
                  </a:lnTo>
                  <a:lnTo>
                    <a:pt x="69" y="581"/>
                  </a:lnTo>
                  <a:lnTo>
                    <a:pt x="68" y="582"/>
                  </a:lnTo>
                  <a:lnTo>
                    <a:pt x="67" y="583"/>
                  </a:lnTo>
                  <a:lnTo>
                    <a:pt x="66" y="583"/>
                  </a:lnTo>
                  <a:lnTo>
                    <a:pt x="64" y="585"/>
                  </a:lnTo>
                  <a:lnTo>
                    <a:pt x="63" y="586"/>
                  </a:lnTo>
                  <a:lnTo>
                    <a:pt x="63" y="589"/>
                  </a:lnTo>
                  <a:lnTo>
                    <a:pt x="64" y="591"/>
                  </a:lnTo>
                  <a:lnTo>
                    <a:pt x="66" y="592"/>
                  </a:lnTo>
                  <a:lnTo>
                    <a:pt x="67" y="594"/>
                  </a:lnTo>
                  <a:lnTo>
                    <a:pt x="68" y="595"/>
                  </a:lnTo>
                  <a:lnTo>
                    <a:pt x="69" y="597"/>
                  </a:lnTo>
                  <a:lnTo>
                    <a:pt x="72" y="597"/>
                  </a:lnTo>
                  <a:lnTo>
                    <a:pt x="75" y="597"/>
                  </a:lnTo>
                  <a:lnTo>
                    <a:pt x="77" y="597"/>
                  </a:lnTo>
                  <a:lnTo>
                    <a:pt x="78" y="595"/>
                  </a:lnTo>
                  <a:lnTo>
                    <a:pt x="79" y="594"/>
                  </a:lnTo>
                  <a:lnTo>
                    <a:pt x="80" y="593"/>
                  </a:lnTo>
                  <a:lnTo>
                    <a:pt x="82" y="593"/>
                  </a:lnTo>
                  <a:lnTo>
                    <a:pt x="82" y="592"/>
                  </a:lnTo>
                  <a:lnTo>
                    <a:pt x="83" y="592"/>
                  </a:lnTo>
                  <a:lnTo>
                    <a:pt x="85" y="592"/>
                  </a:lnTo>
                  <a:lnTo>
                    <a:pt x="87" y="593"/>
                  </a:lnTo>
                  <a:lnTo>
                    <a:pt x="90" y="594"/>
                  </a:lnTo>
                  <a:lnTo>
                    <a:pt x="90" y="595"/>
                  </a:lnTo>
                  <a:lnTo>
                    <a:pt x="91" y="597"/>
                  </a:lnTo>
                  <a:lnTo>
                    <a:pt x="91" y="598"/>
                  </a:lnTo>
                  <a:lnTo>
                    <a:pt x="92" y="598"/>
                  </a:lnTo>
                  <a:lnTo>
                    <a:pt x="93" y="599"/>
                  </a:lnTo>
                  <a:lnTo>
                    <a:pt x="94" y="599"/>
                  </a:lnTo>
                  <a:lnTo>
                    <a:pt x="95" y="599"/>
                  </a:lnTo>
                  <a:lnTo>
                    <a:pt x="96" y="599"/>
                  </a:lnTo>
                  <a:lnTo>
                    <a:pt x="99" y="599"/>
                  </a:lnTo>
                  <a:lnTo>
                    <a:pt x="100" y="599"/>
                  </a:lnTo>
                  <a:lnTo>
                    <a:pt x="102" y="599"/>
                  </a:lnTo>
                  <a:lnTo>
                    <a:pt x="103" y="600"/>
                  </a:lnTo>
                  <a:lnTo>
                    <a:pt x="106" y="601"/>
                  </a:lnTo>
                  <a:lnTo>
                    <a:pt x="106" y="602"/>
                  </a:lnTo>
                  <a:lnTo>
                    <a:pt x="108" y="605"/>
                  </a:lnTo>
                  <a:lnTo>
                    <a:pt x="108" y="606"/>
                  </a:lnTo>
                  <a:lnTo>
                    <a:pt x="109" y="607"/>
                  </a:lnTo>
                  <a:lnTo>
                    <a:pt x="111" y="609"/>
                  </a:lnTo>
                  <a:lnTo>
                    <a:pt x="112" y="610"/>
                  </a:lnTo>
                  <a:lnTo>
                    <a:pt x="114" y="613"/>
                  </a:lnTo>
                  <a:lnTo>
                    <a:pt x="114" y="614"/>
                  </a:lnTo>
                  <a:lnTo>
                    <a:pt x="114" y="615"/>
                  </a:lnTo>
                  <a:lnTo>
                    <a:pt x="115" y="617"/>
                  </a:lnTo>
                  <a:lnTo>
                    <a:pt x="114" y="619"/>
                  </a:lnTo>
                  <a:lnTo>
                    <a:pt x="115" y="622"/>
                  </a:lnTo>
                  <a:lnTo>
                    <a:pt x="115" y="623"/>
                  </a:lnTo>
                  <a:lnTo>
                    <a:pt x="115" y="624"/>
                  </a:lnTo>
                  <a:lnTo>
                    <a:pt x="115" y="625"/>
                  </a:lnTo>
                  <a:lnTo>
                    <a:pt x="116" y="629"/>
                  </a:lnTo>
                  <a:lnTo>
                    <a:pt x="116" y="631"/>
                  </a:lnTo>
                  <a:lnTo>
                    <a:pt x="116" y="634"/>
                  </a:lnTo>
                  <a:lnTo>
                    <a:pt x="116" y="635"/>
                  </a:lnTo>
                  <a:lnTo>
                    <a:pt x="115" y="637"/>
                  </a:lnTo>
                  <a:lnTo>
                    <a:pt x="116" y="639"/>
                  </a:lnTo>
                  <a:lnTo>
                    <a:pt x="116" y="641"/>
                  </a:lnTo>
                  <a:lnTo>
                    <a:pt x="116" y="642"/>
                  </a:lnTo>
                  <a:lnTo>
                    <a:pt x="115" y="643"/>
                  </a:lnTo>
                  <a:lnTo>
                    <a:pt x="115" y="645"/>
                  </a:lnTo>
                  <a:lnTo>
                    <a:pt x="112" y="645"/>
                  </a:lnTo>
                  <a:lnTo>
                    <a:pt x="111" y="645"/>
                  </a:lnTo>
                  <a:lnTo>
                    <a:pt x="109" y="645"/>
                  </a:lnTo>
                  <a:lnTo>
                    <a:pt x="108" y="645"/>
                  </a:lnTo>
                  <a:lnTo>
                    <a:pt x="106" y="643"/>
                  </a:lnTo>
                  <a:lnTo>
                    <a:pt x="104" y="643"/>
                  </a:lnTo>
                  <a:lnTo>
                    <a:pt x="103" y="643"/>
                  </a:lnTo>
                  <a:lnTo>
                    <a:pt x="100" y="643"/>
                  </a:lnTo>
                  <a:lnTo>
                    <a:pt x="98" y="643"/>
                  </a:lnTo>
                  <a:lnTo>
                    <a:pt x="95" y="643"/>
                  </a:lnTo>
                  <a:lnTo>
                    <a:pt x="94" y="645"/>
                  </a:lnTo>
                  <a:lnTo>
                    <a:pt x="93" y="645"/>
                  </a:lnTo>
                  <a:lnTo>
                    <a:pt x="91" y="648"/>
                  </a:lnTo>
                  <a:lnTo>
                    <a:pt x="90" y="650"/>
                  </a:lnTo>
                  <a:lnTo>
                    <a:pt x="88" y="651"/>
                  </a:lnTo>
                  <a:lnTo>
                    <a:pt x="87" y="654"/>
                  </a:lnTo>
                  <a:lnTo>
                    <a:pt x="85" y="656"/>
                  </a:lnTo>
                  <a:lnTo>
                    <a:pt x="84" y="658"/>
                  </a:lnTo>
                  <a:lnTo>
                    <a:pt x="83" y="659"/>
                  </a:lnTo>
                  <a:lnTo>
                    <a:pt x="83" y="661"/>
                  </a:lnTo>
                  <a:lnTo>
                    <a:pt x="84" y="662"/>
                  </a:lnTo>
                  <a:lnTo>
                    <a:pt x="85" y="663"/>
                  </a:lnTo>
                  <a:lnTo>
                    <a:pt x="87" y="664"/>
                  </a:lnTo>
                  <a:lnTo>
                    <a:pt x="88" y="664"/>
                  </a:lnTo>
                  <a:lnTo>
                    <a:pt x="90" y="663"/>
                  </a:lnTo>
                  <a:lnTo>
                    <a:pt x="91" y="663"/>
                  </a:lnTo>
                  <a:lnTo>
                    <a:pt x="92" y="663"/>
                  </a:lnTo>
                  <a:lnTo>
                    <a:pt x="94" y="662"/>
                  </a:lnTo>
                  <a:lnTo>
                    <a:pt x="95" y="661"/>
                  </a:lnTo>
                  <a:lnTo>
                    <a:pt x="96" y="661"/>
                  </a:lnTo>
                  <a:lnTo>
                    <a:pt x="99" y="661"/>
                  </a:lnTo>
                  <a:lnTo>
                    <a:pt x="100" y="661"/>
                  </a:lnTo>
                  <a:lnTo>
                    <a:pt x="102" y="659"/>
                  </a:lnTo>
                  <a:lnTo>
                    <a:pt x="103" y="659"/>
                  </a:lnTo>
                  <a:lnTo>
                    <a:pt x="104" y="657"/>
                  </a:lnTo>
                  <a:lnTo>
                    <a:pt x="106" y="657"/>
                  </a:lnTo>
                  <a:lnTo>
                    <a:pt x="108" y="656"/>
                  </a:lnTo>
                  <a:lnTo>
                    <a:pt x="109" y="657"/>
                  </a:lnTo>
                  <a:lnTo>
                    <a:pt x="109" y="658"/>
                  </a:lnTo>
                  <a:lnTo>
                    <a:pt x="109" y="659"/>
                  </a:lnTo>
                  <a:lnTo>
                    <a:pt x="109" y="662"/>
                  </a:lnTo>
                  <a:lnTo>
                    <a:pt x="109" y="663"/>
                  </a:lnTo>
                  <a:lnTo>
                    <a:pt x="109" y="664"/>
                  </a:lnTo>
                  <a:lnTo>
                    <a:pt x="109" y="665"/>
                  </a:lnTo>
                  <a:lnTo>
                    <a:pt x="108" y="665"/>
                  </a:lnTo>
                  <a:lnTo>
                    <a:pt x="107" y="670"/>
                  </a:lnTo>
                  <a:lnTo>
                    <a:pt x="106" y="671"/>
                  </a:lnTo>
                  <a:lnTo>
                    <a:pt x="104" y="673"/>
                  </a:lnTo>
                  <a:lnTo>
                    <a:pt x="104" y="675"/>
                  </a:lnTo>
                  <a:lnTo>
                    <a:pt x="103" y="677"/>
                  </a:lnTo>
                  <a:lnTo>
                    <a:pt x="102" y="679"/>
                  </a:lnTo>
                  <a:lnTo>
                    <a:pt x="102" y="680"/>
                  </a:lnTo>
                  <a:lnTo>
                    <a:pt x="101" y="680"/>
                  </a:lnTo>
                  <a:lnTo>
                    <a:pt x="100" y="682"/>
                  </a:lnTo>
                  <a:lnTo>
                    <a:pt x="100" y="683"/>
                  </a:lnTo>
                  <a:lnTo>
                    <a:pt x="100" y="685"/>
                  </a:lnTo>
                  <a:lnTo>
                    <a:pt x="98" y="688"/>
                  </a:lnTo>
                  <a:lnTo>
                    <a:pt x="96" y="689"/>
                  </a:lnTo>
                  <a:lnTo>
                    <a:pt x="96" y="690"/>
                  </a:lnTo>
                  <a:lnTo>
                    <a:pt x="95" y="691"/>
                  </a:lnTo>
                  <a:lnTo>
                    <a:pt x="94" y="693"/>
                  </a:lnTo>
                  <a:lnTo>
                    <a:pt x="90" y="697"/>
                  </a:lnTo>
                  <a:lnTo>
                    <a:pt x="90" y="698"/>
                  </a:lnTo>
                  <a:lnTo>
                    <a:pt x="87" y="699"/>
                  </a:lnTo>
                  <a:lnTo>
                    <a:pt x="85" y="701"/>
                  </a:lnTo>
                  <a:lnTo>
                    <a:pt x="84" y="702"/>
                  </a:lnTo>
                  <a:lnTo>
                    <a:pt x="83" y="702"/>
                  </a:lnTo>
                  <a:lnTo>
                    <a:pt x="80" y="704"/>
                  </a:lnTo>
                  <a:lnTo>
                    <a:pt x="79" y="706"/>
                  </a:lnTo>
                  <a:lnTo>
                    <a:pt x="77" y="709"/>
                  </a:lnTo>
                  <a:lnTo>
                    <a:pt x="76" y="709"/>
                  </a:lnTo>
                  <a:lnTo>
                    <a:pt x="76" y="710"/>
                  </a:lnTo>
                  <a:lnTo>
                    <a:pt x="74" y="711"/>
                  </a:lnTo>
                  <a:lnTo>
                    <a:pt x="72" y="712"/>
                  </a:lnTo>
                  <a:lnTo>
                    <a:pt x="71" y="714"/>
                  </a:lnTo>
                  <a:lnTo>
                    <a:pt x="74" y="715"/>
                  </a:lnTo>
                  <a:lnTo>
                    <a:pt x="75" y="715"/>
                  </a:lnTo>
                  <a:lnTo>
                    <a:pt x="77" y="715"/>
                  </a:lnTo>
                  <a:lnTo>
                    <a:pt x="78" y="715"/>
                  </a:lnTo>
                  <a:lnTo>
                    <a:pt x="80" y="715"/>
                  </a:lnTo>
                  <a:lnTo>
                    <a:pt x="82" y="714"/>
                  </a:lnTo>
                  <a:lnTo>
                    <a:pt x="83" y="714"/>
                  </a:lnTo>
                  <a:lnTo>
                    <a:pt x="84" y="714"/>
                  </a:lnTo>
                  <a:lnTo>
                    <a:pt x="84" y="715"/>
                  </a:lnTo>
                  <a:lnTo>
                    <a:pt x="86" y="715"/>
                  </a:lnTo>
                  <a:lnTo>
                    <a:pt x="87" y="715"/>
                  </a:lnTo>
                  <a:lnTo>
                    <a:pt x="88" y="715"/>
                  </a:lnTo>
                  <a:lnTo>
                    <a:pt x="90" y="717"/>
                  </a:lnTo>
                  <a:lnTo>
                    <a:pt x="90" y="718"/>
                  </a:lnTo>
                  <a:lnTo>
                    <a:pt x="90" y="719"/>
                  </a:lnTo>
                  <a:lnTo>
                    <a:pt x="88" y="720"/>
                  </a:lnTo>
                  <a:lnTo>
                    <a:pt x="87" y="721"/>
                  </a:lnTo>
                  <a:lnTo>
                    <a:pt x="86" y="722"/>
                  </a:lnTo>
                  <a:lnTo>
                    <a:pt x="84" y="725"/>
                  </a:lnTo>
                  <a:lnTo>
                    <a:pt x="83" y="726"/>
                  </a:lnTo>
                  <a:lnTo>
                    <a:pt x="77" y="731"/>
                  </a:lnTo>
                  <a:lnTo>
                    <a:pt x="76" y="733"/>
                  </a:lnTo>
                  <a:lnTo>
                    <a:pt x="75" y="734"/>
                  </a:lnTo>
                  <a:lnTo>
                    <a:pt x="72" y="734"/>
                  </a:lnTo>
                  <a:lnTo>
                    <a:pt x="71" y="735"/>
                  </a:lnTo>
                  <a:lnTo>
                    <a:pt x="69" y="736"/>
                  </a:lnTo>
                  <a:lnTo>
                    <a:pt x="68" y="737"/>
                  </a:lnTo>
                  <a:lnTo>
                    <a:pt x="61" y="742"/>
                  </a:lnTo>
                  <a:lnTo>
                    <a:pt x="59" y="743"/>
                  </a:lnTo>
                  <a:lnTo>
                    <a:pt x="58" y="743"/>
                  </a:lnTo>
                  <a:lnTo>
                    <a:pt x="56" y="744"/>
                  </a:lnTo>
                  <a:lnTo>
                    <a:pt x="54" y="744"/>
                  </a:lnTo>
                  <a:lnTo>
                    <a:pt x="51" y="745"/>
                  </a:lnTo>
                  <a:lnTo>
                    <a:pt x="50" y="745"/>
                  </a:lnTo>
                  <a:lnTo>
                    <a:pt x="48" y="745"/>
                  </a:lnTo>
                  <a:lnTo>
                    <a:pt x="47" y="744"/>
                  </a:lnTo>
                  <a:lnTo>
                    <a:pt x="46" y="744"/>
                  </a:lnTo>
                  <a:lnTo>
                    <a:pt x="45" y="743"/>
                  </a:lnTo>
                  <a:lnTo>
                    <a:pt x="44" y="742"/>
                  </a:lnTo>
                  <a:lnTo>
                    <a:pt x="43" y="741"/>
                  </a:lnTo>
                  <a:lnTo>
                    <a:pt x="43" y="739"/>
                  </a:lnTo>
                  <a:lnTo>
                    <a:pt x="43" y="738"/>
                  </a:lnTo>
                  <a:lnTo>
                    <a:pt x="43" y="737"/>
                  </a:lnTo>
                  <a:lnTo>
                    <a:pt x="42" y="735"/>
                  </a:lnTo>
                  <a:lnTo>
                    <a:pt x="43" y="734"/>
                  </a:lnTo>
                  <a:lnTo>
                    <a:pt x="42" y="733"/>
                  </a:lnTo>
                  <a:lnTo>
                    <a:pt x="42" y="731"/>
                  </a:lnTo>
                  <a:lnTo>
                    <a:pt x="40" y="731"/>
                  </a:lnTo>
                  <a:lnTo>
                    <a:pt x="39" y="731"/>
                  </a:lnTo>
                  <a:lnTo>
                    <a:pt x="38" y="733"/>
                  </a:lnTo>
                  <a:lnTo>
                    <a:pt x="38" y="734"/>
                  </a:lnTo>
                  <a:lnTo>
                    <a:pt x="38" y="735"/>
                  </a:lnTo>
                  <a:lnTo>
                    <a:pt x="37" y="736"/>
                  </a:lnTo>
                  <a:lnTo>
                    <a:pt x="37" y="737"/>
                  </a:lnTo>
                  <a:lnTo>
                    <a:pt x="35" y="739"/>
                  </a:lnTo>
                  <a:lnTo>
                    <a:pt x="34" y="741"/>
                  </a:lnTo>
                  <a:lnTo>
                    <a:pt x="32" y="741"/>
                  </a:lnTo>
                  <a:lnTo>
                    <a:pt x="32" y="742"/>
                  </a:lnTo>
                  <a:lnTo>
                    <a:pt x="31" y="742"/>
                  </a:lnTo>
                  <a:lnTo>
                    <a:pt x="30" y="742"/>
                  </a:lnTo>
                  <a:lnTo>
                    <a:pt x="28" y="743"/>
                  </a:lnTo>
                  <a:lnTo>
                    <a:pt x="27" y="744"/>
                  </a:lnTo>
                  <a:lnTo>
                    <a:pt x="26" y="744"/>
                  </a:lnTo>
                  <a:lnTo>
                    <a:pt x="24" y="745"/>
                  </a:lnTo>
                  <a:lnTo>
                    <a:pt x="23" y="746"/>
                  </a:lnTo>
                  <a:lnTo>
                    <a:pt x="21" y="747"/>
                  </a:lnTo>
                  <a:lnTo>
                    <a:pt x="21" y="749"/>
                  </a:lnTo>
                  <a:lnTo>
                    <a:pt x="19" y="751"/>
                  </a:lnTo>
                  <a:lnTo>
                    <a:pt x="18" y="752"/>
                  </a:lnTo>
                  <a:lnTo>
                    <a:pt x="16" y="753"/>
                  </a:lnTo>
                  <a:lnTo>
                    <a:pt x="15" y="755"/>
                  </a:lnTo>
                  <a:lnTo>
                    <a:pt x="14" y="757"/>
                  </a:lnTo>
                  <a:lnTo>
                    <a:pt x="13" y="759"/>
                  </a:lnTo>
                  <a:lnTo>
                    <a:pt x="13" y="760"/>
                  </a:lnTo>
                  <a:lnTo>
                    <a:pt x="12" y="761"/>
                  </a:lnTo>
                  <a:lnTo>
                    <a:pt x="12" y="762"/>
                  </a:lnTo>
                  <a:lnTo>
                    <a:pt x="12" y="763"/>
                  </a:lnTo>
                  <a:lnTo>
                    <a:pt x="10" y="766"/>
                  </a:lnTo>
                  <a:lnTo>
                    <a:pt x="10" y="767"/>
                  </a:lnTo>
                  <a:lnTo>
                    <a:pt x="10" y="769"/>
                  </a:lnTo>
                  <a:lnTo>
                    <a:pt x="11" y="770"/>
                  </a:lnTo>
                  <a:lnTo>
                    <a:pt x="12" y="770"/>
                  </a:lnTo>
                  <a:lnTo>
                    <a:pt x="13" y="770"/>
                  </a:lnTo>
                  <a:lnTo>
                    <a:pt x="14" y="770"/>
                  </a:lnTo>
                  <a:lnTo>
                    <a:pt x="15" y="768"/>
                  </a:lnTo>
                  <a:lnTo>
                    <a:pt x="16" y="766"/>
                  </a:lnTo>
                  <a:lnTo>
                    <a:pt x="18" y="766"/>
                  </a:lnTo>
                  <a:lnTo>
                    <a:pt x="18" y="765"/>
                  </a:lnTo>
                  <a:lnTo>
                    <a:pt x="19" y="763"/>
                  </a:lnTo>
                  <a:lnTo>
                    <a:pt x="20" y="762"/>
                  </a:lnTo>
                  <a:lnTo>
                    <a:pt x="21" y="762"/>
                  </a:lnTo>
                  <a:lnTo>
                    <a:pt x="23" y="762"/>
                  </a:lnTo>
                  <a:lnTo>
                    <a:pt x="24" y="762"/>
                  </a:lnTo>
                  <a:lnTo>
                    <a:pt x="26" y="762"/>
                  </a:lnTo>
                  <a:lnTo>
                    <a:pt x="27" y="762"/>
                  </a:lnTo>
                  <a:lnTo>
                    <a:pt x="28" y="762"/>
                  </a:lnTo>
                  <a:lnTo>
                    <a:pt x="29" y="762"/>
                  </a:lnTo>
                  <a:lnTo>
                    <a:pt x="30" y="763"/>
                  </a:lnTo>
                  <a:lnTo>
                    <a:pt x="31" y="763"/>
                  </a:lnTo>
                  <a:lnTo>
                    <a:pt x="31" y="765"/>
                  </a:lnTo>
                  <a:lnTo>
                    <a:pt x="32" y="766"/>
                  </a:lnTo>
                  <a:lnTo>
                    <a:pt x="34" y="767"/>
                  </a:lnTo>
                  <a:lnTo>
                    <a:pt x="35" y="767"/>
                  </a:lnTo>
                  <a:lnTo>
                    <a:pt x="36" y="767"/>
                  </a:lnTo>
                  <a:lnTo>
                    <a:pt x="37" y="768"/>
                  </a:lnTo>
                  <a:lnTo>
                    <a:pt x="38" y="768"/>
                  </a:lnTo>
                  <a:lnTo>
                    <a:pt x="39" y="767"/>
                  </a:lnTo>
                  <a:lnTo>
                    <a:pt x="40" y="767"/>
                  </a:lnTo>
                  <a:lnTo>
                    <a:pt x="43" y="767"/>
                  </a:lnTo>
                  <a:lnTo>
                    <a:pt x="44" y="767"/>
                  </a:lnTo>
                  <a:lnTo>
                    <a:pt x="45" y="767"/>
                  </a:lnTo>
                  <a:lnTo>
                    <a:pt x="46" y="767"/>
                  </a:lnTo>
                  <a:lnTo>
                    <a:pt x="47" y="768"/>
                  </a:lnTo>
                  <a:lnTo>
                    <a:pt x="48" y="768"/>
                  </a:lnTo>
                  <a:lnTo>
                    <a:pt x="50" y="769"/>
                  </a:lnTo>
                  <a:lnTo>
                    <a:pt x="50" y="770"/>
                  </a:lnTo>
                  <a:lnTo>
                    <a:pt x="50" y="773"/>
                  </a:lnTo>
                  <a:lnTo>
                    <a:pt x="51" y="774"/>
                  </a:lnTo>
                  <a:lnTo>
                    <a:pt x="51" y="775"/>
                  </a:lnTo>
                  <a:lnTo>
                    <a:pt x="51" y="776"/>
                  </a:lnTo>
                  <a:lnTo>
                    <a:pt x="51" y="777"/>
                  </a:lnTo>
                  <a:lnTo>
                    <a:pt x="51" y="778"/>
                  </a:lnTo>
                  <a:lnTo>
                    <a:pt x="50" y="779"/>
                  </a:lnTo>
                  <a:lnTo>
                    <a:pt x="50" y="781"/>
                  </a:lnTo>
                  <a:lnTo>
                    <a:pt x="50" y="782"/>
                  </a:lnTo>
                  <a:lnTo>
                    <a:pt x="48" y="784"/>
                  </a:lnTo>
                  <a:lnTo>
                    <a:pt x="48" y="785"/>
                  </a:lnTo>
                  <a:lnTo>
                    <a:pt x="48" y="787"/>
                  </a:lnTo>
                  <a:lnTo>
                    <a:pt x="48" y="789"/>
                  </a:lnTo>
                  <a:lnTo>
                    <a:pt x="48" y="790"/>
                  </a:lnTo>
                  <a:lnTo>
                    <a:pt x="50" y="790"/>
                  </a:lnTo>
                  <a:lnTo>
                    <a:pt x="50" y="791"/>
                  </a:lnTo>
                  <a:lnTo>
                    <a:pt x="50" y="792"/>
                  </a:lnTo>
                  <a:lnTo>
                    <a:pt x="51" y="794"/>
                  </a:lnTo>
                  <a:lnTo>
                    <a:pt x="52" y="795"/>
                  </a:lnTo>
                  <a:lnTo>
                    <a:pt x="52" y="797"/>
                  </a:lnTo>
                  <a:lnTo>
                    <a:pt x="53" y="798"/>
                  </a:lnTo>
                  <a:lnTo>
                    <a:pt x="54" y="799"/>
                  </a:lnTo>
                  <a:lnTo>
                    <a:pt x="54" y="800"/>
                  </a:lnTo>
                  <a:lnTo>
                    <a:pt x="55" y="802"/>
                  </a:lnTo>
                  <a:lnTo>
                    <a:pt x="56" y="803"/>
                  </a:lnTo>
                  <a:lnTo>
                    <a:pt x="56" y="805"/>
                  </a:lnTo>
                  <a:lnTo>
                    <a:pt x="56" y="807"/>
                  </a:lnTo>
                  <a:lnTo>
                    <a:pt x="55" y="808"/>
                  </a:lnTo>
                  <a:lnTo>
                    <a:pt x="54" y="808"/>
                  </a:lnTo>
                  <a:lnTo>
                    <a:pt x="54" y="809"/>
                  </a:lnTo>
                  <a:lnTo>
                    <a:pt x="52" y="811"/>
                  </a:lnTo>
                  <a:lnTo>
                    <a:pt x="52" y="813"/>
                  </a:lnTo>
                  <a:lnTo>
                    <a:pt x="52" y="815"/>
                  </a:lnTo>
                  <a:lnTo>
                    <a:pt x="52" y="816"/>
                  </a:lnTo>
                  <a:lnTo>
                    <a:pt x="52" y="817"/>
                  </a:lnTo>
                  <a:lnTo>
                    <a:pt x="52" y="818"/>
                  </a:lnTo>
                  <a:lnTo>
                    <a:pt x="52" y="821"/>
                  </a:lnTo>
                  <a:lnTo>
                    <a:pt x="53" y="822"/>
                  </a:lnTo>
                  <a:lnTo>
                    <a:pt x="54" y="825"/>
                  </a:lnTo>
                  <a:lnTo>
                    <a:pt x="54" y="826"/>
                  </a:lnTo>
                  <a:lnTo>
                    <a:pt x="54" y="827"/>
                  </a:lnTo>
                  <a:lnTo>
                    <a:pt x="54" y="829"/>
                  </a:lnTo>
                  <a:lnTo>
                    <a:pt x="54" y="830"/>
                  </a:lnTo>
                  <a:lnTo>
                    <a:pt x="53" y="831"/>
                  </a:lnTo>
                  <a:lnTo>
                    <a:pt x="53" y="832"/>
                  </a:lnTo>
                  <a:lnTo>
                    <a:pt x="53" y="834"/>
                  </a:lnTo>
                  <a:lnTo>
                    <a:pt x="53" y="835"/>
                  </a:lnTo>
                  <a:lnTo>
                    <a:pt x="54" y="838"/>
                  </a:lnTo>
                  <a:lnTo>
                    <a:pt x="55" y="840"/>
                  </a:lnTo>
                  <a:lnTo>
                    <a:pt x="56" y="842"/>
                  </a:lnTo>
                  <a:lnTo>
                    <a:pt x="58" y="843"/>
                  </a:lnTo>
                  <a:lnTo>
                    <a:pt x="60" y="845"/>
                  </a:lnTo>
                  <a:lnTo>
                    <a:pt x="60" y="846"/>
                  </a:lnTo>
                  <a:lnTo>
                    <a:pt x="61" y="847"/>
                  </a:lnTo>
                  <a:lnTo>
                    <a:pt x="62" y="847"/>
                  </a:lnTo>
                  <a:lnTo>
                    <a:pt x="63" y="848"/>
                  </a:lnTo>
                  <a:lnTo>
                    <a:pt x="64" y="849"/>
                  </a:lnTo>
                  <a:lnTo>
                    <a:pt x="66" y="850"/>
                  </a:lnTo>
                  <a:lnTo>
                    <a:pt x="66" y="853"/>
                  </a:lnTo>
                  <a:lnTo>
                    <a:pt x="67" y="854"/>
                  </a:lnTo>
                  <a:lnTo>
                    <a:pt x="67" y="855"/>
                  </a:lnTo>
                  <a:lnTo>
                    <a:pt x="68" y="857"/>
                  </a:lnTo>
                  <a:lnTo>
                    <a:pt x="68" y="858"/>
                  </a:lnTo>
                  <a:lnTo>
                    <a:pt x="69" y="859"/>
                  </a:lnTo>
                  <a:lnTo>
                    <a:pt x="70" y="862"/>
                  </a:lnTo>
                  <a:lnTo>
                    <a:pt x="70" y="863"/>
                  </a:lnTo>
                  <a:lnTo>
                    <a:pt x="70" y="864"/>
                  </a:lnTo>
                  <a:lnTo>
                    <a:pt x="71" y="865"/>
                  </a:lnTo>
                  <a:lnTo>
                    <a:pt x="71" y="866"/>
                  </a:lnTo>
                  <a:lnTo>
                    <a:pt x="71" y="867"/>
                  </a:lnTo>
                  <a:lnTo>
                    <a:pt x="70" y="869"/>
                  </a:lnTo>
                  <a:lnTo>
                    <a:pt x="69" y="870"/>
                  </a:lnTo>
                  <a:lnTo>
                    <a:pt x="68" y="870"/>
                  </a:lnTo>
                  <a:lnTo>
                    <a:pt x="67" y="871"/>
                  </a:lnTo>
                  <a:lnTo>
                    <a:pt x="64" y="871"/>
                  </a:lnTo>
                  <a:lnTo>
                    <a:pt x="63" y="871"/>
                  </a:lnTo>
                  <a:lnTo>
                    <a:pt x="62" y="871"/>
                  </a:lnTo>
                  <a:lnTo>
                    <a:pt x="61" y="871"/>
                  </a:lnTo>
                  <a:lnTo>
                    <a:pt x="60" y="872"/>
                  </a:lnTo>
                  <a:lnTo>
                    <a:pt x="59" y="873"/>
                  </a:lnTo>
                  <a:lnTo>
                    <a:pt x="56" y="873"/>
                  </a:lnTo>
                  <a:lnTo>
                    <a:pt x="55" y="873"/>
                  </a:lnTo>
                  <a:lnTo>
                    <a:pt x="53" y="873"/>
                  </a:lnTo>
                  <a:lnTo>
                    <a:pt x="52" y="874"/>
                  </a:lnTo>
                  <a:lnTo>
                    <a:pt x="51" y="875"/>
                  </a:lnTo>
                  <a:lnTo>
                    <a:pt x="48" y="878"/>
                  </a:lnTo>
                  <a:lnTo>
                    <a:pt x="48" y="879"/>
                  </a:lnTo>
                  <a:lnTo>
                    <a:pt x="48" y="880"/>
                  </a:lnTo>
                  <a:lnTo>
                    <a:pt x="48" y="882"/>
                  </a:lnTo>
                  <a:lnTo>
                    <a:pt x="50" y="883"/>
                  </a:lnTo>
                  <a:lnTo>
                    <a:pt x="51" y="886"/>
                  </a:lnTo>
                  <a:lnTo>
                    <a:pt x="52" y="886"/>
                  </a:lnTo>
                  <a:lnTo>
                    <a:pt x="53" y="886"/>
                  </a:lnTo>
                  <a:lnTo>
                    <a:pt x="53" y="887"/>
                  </a:lnTo>
                  <a:lnTo>
                    <a:pt x="55" y="888"/>
                  </a:lnTo>
                  <a:lnTo>
                    <a:pt x="56" y="888"/>
                  </a:lnTo>
                  <a:lnTo>
                    <a:pt x="58" y="889"/>
                  </a:lnTo>
                  <a:lnTo>
                    <a:pt x="59" y="889"/>
                  </a:lnTo>
                  <a:lnTo>
                    <a:pt x="61" y="891"/>
                  </a:lnTo>
                  <a:lnTo>
                    <a:pt x="62" y="891"/>
                  </a:lnTo>
                  <a:lnTo>
                    <a:pt x="63" y="893"/>
                  </a:lnTo>
                  <a:lnTo>
                    <a:pt x="64" y="893"/>
                  </a:lnTo>
                  <a:lnTo>
                    <a:pt x="64" y="894"/>
                  </a:lnTo>
                  <a:lnTo>
                    <a:pt x="66" y="896"/>
                  </a:lnTo>
                  <a:lnTo>
                    <a:pt x="66" y="898"/>
                  </a:lnTo>
                  <a:lnTo>
                    <a:pt x="66" y="899"/>
                  </a:lnTo>
                  <a:lnTo>
                    <a:pt x="66" y="902"/>
                  </a:lnTo>
                  <a:lnTo>
                    <a:pt x="62" y="904"/>
                  </a:lnTo>
                  <a:lnTo>
                    <a:pt x="62" y="905"/>
                  </a:lnTo>
                  <a:lnTo>
                    <a:pt x="61" y="906"/>
                  </a:lnTo>
                  <a:lnTo>
                    <a:pt x="61" y="907"/>
                  </a:lnTo>
                  <a:lnTo>
                    <a:pt x="61" y="909"/>
                  </a:lnTo>
                  <a:lnTo>
                    <a:pt x="60" y="909"/>
                  </a:lnTo>
                  <a:lnTo>
                    <a:pt x="60" y="910"/>
                  </a:lnTo>
                  <a:lnTo>
                    <a:pt x="59" y="911"/>
                  </a:lnTo>
                  <a:lnTo>
                    <a:pt x="59" y="912"/>
                  </a:lnTo>
                  <a:lnTo>
                    <a:pt x="58" y="912"/>
                  </a:lnTo>
                  <a:lnTo>
                    <a:pt x="58" y="914"/>
                  </a:lnTo>
                  <a:lnTo>
                    <a:pt x="58" y="917"/>
                  </a:lnTo>
                  <a:lnTo>
                    <a:pt x="59" y="918"/>
                  </a:lnTo>
                  <a:lnTo>
                    <a:pt x="59" y="919"/>
                  </a:lnTo>
                  <a:lnTo>
                    <a:pt x="59" y="920"/>
                  </a:lnTo>
                  <a:lnTo>
                    <a:pt x="60" y="921"/>
                  </a:lnTo>
                  <a:lnTo>
                    <a:pt x="60" y="923"/>
                  </a:lnTo>
                  <a:lnTo>
                    <a:pt x="61" y="925"/>
                  </a:lnTo>
                  <a:lnTo>
                    <a:pt x="61" y="926"/>
                  </a:lnTo>
                  <a:lnTo>
                    <a:pt x="61" y="927"/>
                  </a:lnTo>
                  <a:lnTo>
                    <a:pt x="62" y="929"/>
                  </a:lnTo>
                  <a:lnTo>
                    <a:pt x="62" y="931"/>
                  </a:lnTo>
                  <a:lnTo>
                    <a:pt x="62" y="934"/>
                  </a:lnTo>
                  <a:lnTo>
                    <a:pt x="61" y="935"/>
                  </a:lnTo>
                  <a:lnTo>
                    <a:pt x="61" y="936"/>
                  </a:lnTo>
                  <a:lnTo>
                    <a:pt x="60" y="937"/>
                  </a:lnTo>
                  <a:lnTo>
                    <a:pt x="59" y="939"/>
                  </a:lnTo>
                  <a:lnTo>
                    <a:pt x="59" y="941"/>
                  </a:lnTo>
                  <a:lnTo>
                    <a:pt x="59" y="943"/>
                  </a:lnTo>
                  <a:lnTo>
                    <a:pt x="59" y="945"/>
                  </a:lnTo>
                  <a:lnTo>
                    <a:pt x="58" y="947"/>
                  </a:lnTo>
                  <a:lnTo>
                    <a:pt x="58" y="949"/>
                  </a:lnTo>
                  <a:lnTo>
                    <a:pt x="56" y="950"/>
                  </a:lnTo>
                  <a:lnTo>
                    <a:pt x="55" y="951"/>
                  </a:lnTo>
                  <a:lnTo>
                    <a:pt x="54" y="952"/>
                  </a:lnTo>
                  <a:lnTo>
                    <a:pt x="52" y="954"/>
                  </a:lnTo>
                  <a:lnTo>
                    <a:pt x="50" y="955"/>
                  </a:lnTo>
                  <a:lnTo>
                    <a:pt x="47" y="959"/>
                  </a:lnTo>
                  <a:lnTo>
                    <a:pt x="46" y="959"/>
                  </a:lnTo>
                  <a:lnTo>
                    <a:pt x="45" y="960"/>
                  </a:lnTo>
                  <a:lnTo>
                    <a:pt x="43" y="962"/>
                  </a:lnTo>
                  <a:lnTo>
                    <a:pt x="42" y="963"/>
                  </a:lnTo>
                  <a:lnTo>
                    <a:pt x="40" y="966"/>
                  </a:lnTo>
                  <a:lnTo>
                    <a:pt x="40" y="967"/>
                  </a:lnTo>
                  <a:lnTo>
                    <a:pt x="39" y="968"/>
                  </a:lnTo>
                  <a:lnTo>
                    <a:pt x="38" y="968"/>
                  </a:lnTo>
                  <a:lnTo>
                    <a:pt x="37" y="969"/>
                  </a:lnTo>
                  <a:lnTo>
                    <a:pt x="36" y="968"/>
                  </a:lnTo>
                  <a:lnTo>
                    <a:pt x="35" y="968"/>
                  </a:lnTo>
                  <a:lnTo>
                    <a:pt x="35" y="967"/>
                  </a:lnTo>
                  <a:lnTo>
                    <a:pt x="34" y="966"/>
                  </a:lnTo>
                  <a:lnTo>
                    <a:pt x="34" y="965"/>
                  </a:lnTo>
                  <a:lnTo>
                    <a:pt x="32" y="962"/>
                  </a:lnTo>
                  <a:lnTo>
                    <a:pt x="31" y="961"/>
                  </a:lnTo>
                  <a:lnTo>
                    <a:pt x="30" y="960"/>
                  </a:lnTo>
                  <a:lnTo>
                    <a:pt x="29" y="959"/>
                  </a:lnTo>
                  <a:lnTo>
                    <a:pt x="27" y="958"/>
                  </a:lnTo>
                  <a:lnTo>
                    <a:pt x="26" y="958"/>
                  </a:lnTo>
                  <a:lnTo>
                    <a:pt x="23" y="961"/>
                  </a:lnTo>
                  <a:lnTo>
                    <a:pt x="23" y="962"/>
                  </a:lnTo>
                  <a:lnTo>
                    <a:pt x="23" y="963"/>
                  </a:lnTo>
                  <a:lnTo>
                    <a:pt x="22" y="965"/>
                  </a:lnTo>
                  <a:lnTo>
                    <a:pt x="22" y="966"/>
                  </a:lnTo>
                  <a:lnTo>
                    <a:pt x="22" y="968"/>
                  </a:lnTo>
                  <a:lnTo>
                    <a:pt x="22" y="969"/>
                  </a:lnTo>
                  <a:lnTo>
                    <a:pt x="22" y="970"/>
                  </a:lnTo>
                  <a:lnTo>
                    <a:pt x="21" y="971"/>
                  </a:lnTo>
                  <a:lnTo>
                    <a:pt x="21" y="973"/>
                  </a:lnTo>
                  <a:lnTo>
                    <a:pt x="19" y="973"/>
                  </a:lnTo>
                  <a:lnTo>
                    <a:pt x="18" y="973"/>
                  </a:lnTo>
                  <a:lnTo>
                    <a:pt x="15" y="971"/>
                  </a:lnTo>
                  <a:lnTo>
                    <a:pt x="14" y="971"/>
                  </a:lnTo>
                  <a:lnTo>
                    <a:pt x="13" y="971"/>
                  </a:lnTo>
                  <a:lnTo>
                    <a:pt x="4" y="971"/>
                  </a:lnTo>
                  <a:lnTo>
                    <a:pt x="3" y="971"/>
                  </a:lnTo>
                  <a:lnTo>
                    <a:pt x="2" y="971"/>
                  </a:lnTo>
                  <a:lnTo>
                    <a:pt x="2" y="973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26" name="MH"/>
            <p:cNvSpPr>
              <a:spLocks/>
            </p:cNvSpPr>
            <p:nvPr/>
          </p:nvSpPr>
          <p:spPr bwMode="auto">
            <a:xfrm>
              <a:off x="5827355" y="3532636"/>
              <a:ext cx="909576" cy="687260"/>
            </a:xfrm>
            <a:custGeom>
              <a:avLst/>
              <a:gdLst>
                <a:gd name="T0" fmla="*/ 95 w 2270"/>
                <a:gd name="T1" fmla="*/ 812 h 1773"/>
                <a:gd name="T2" fmla="*/ 93 w 2270"/>
                <a:gd name="T3" fmla="*/ 884 h 1773"/>
                <a:gd name="T4" fmla="*/ 70 w 2270"/>
                <a:gd name="T5" fmla="*/ 944 h 1773"/>
                <a:gd name="T6" fmla="*/ 99 w 2270"/>
                <a:gd name="T7" fmla="*/ 1034 h 1773"/>
                <a:gd name="T8" fmla="*/ 102 w 2270"/>
                <a:gd name="T9" fmla="*/ 1097 h 1773"/>
                <a:gd name="T10" fmla="*/ 120 w 2270"/>
                <a:gd name="T11" fmla="*/ 1152 h 1773"/>
                <a:gd name="T12" fmla="*/ 155 w 2270"/>
                <a:gd name="T13" fmla="*/ 1232 h 1773"/>
                <a:gd name="T14" fmla="*/ 165 w 2270"/>
                <a:gd name="T15" fmla="*/ 1307 h 1773"/>
                <a:gd name="T16" fmla="*/ 179 w 2270"/>
                <a:gd name="T17" fmla="*/ 1370 h 1773"/>
                <a:gd name="T18" fmla="*/ 182 w 2270"/>
                <a:gd name="T19" fmla="*/ 1446 h 1773"/>
                <a:gd name="T20" fmla="*/ 195 w 2270"/>
                <a:gd name="T21" fmla="*/ 1557 h 1773"/>
                <a:gd name="T22" fmla="*/ 243 w 2270"/>
                <a:gd name="T23" fmla="*/ 1685 h 1773"/>
                <a:gd name="T24" fmla="*/ 299 w 2270"/>
                <a:gd name="T25" fmla="*/ 1744 h 1773"/>
                <a:gd name="T26" fmla="*/ 360 w 2270"/>
                <a:gd name="T27" fmla="*/ 1760 h 1773"/>
                <a:gd name="T28" fmla="*/ 429 w 2270"/>
                <a:gd name="T29" fmla="*/ 1730 h 1773"/>
                <a:gd name="T30" fmla="*/ 489 w 2270"/>
                <a:gd name="T31" fmla="*/ 1675 h 1773"/>
                <a:gd name="T32" fmla="*/ 502 w 2270"/>
                <a:gd name="T33" fmla="*/ 1612 h 1773"/>
                <a:gd name="T34" fmla="*/ 469 w 2270"/>
                <a:gd name="T35" fmla="*/ 1562 h 1773"/>
                <a:gd name="T36" fmla="*/ 463 w 2270"/>
                <a:gd name="T37" fmla="*/ 1514 h 1773"/>
                <a:gd name="T38" fmla="*/ 519 w 2270"/>
                <a:gd name="T39" fmla="*/ 1509 h 1773"/>
                <a:gd name="T40" fmla="*/ 597 w 2270"/>
                <a:gd name="T41" fmla="*/ 1457 h 1773"/>
                <a:gd name="T42" fmla="*/ 651 w 2270"/>
                <a:gd name="T43" fmla="*/ 1406 h 1773"/>
                <a:gd name="T44" fmla="*/ 711 w 2270"/>
                <a:gd name="T45" fmla="*/ 1410 h 1773"/>
                <a:gd name="T46" fmla="*/ 790 w 2270"/>
                <a:gd name="T47" fmla="*/ 1392 h 1773"/>
                <a:gd name="T48" fmla="*/ 816 w 2270"/>
                <a:gd name="T49" fmla="*/ 1323 h 1773"/>
                <a:gd name="T50" fmla="*/ 839 w 2270"/>
                <a:gd name="T51" fmla="*/ 1281 h 1773"/>
                <a:gd name="T52" fmla="*/ 931 w 2270"/>
                <a:gd name="T53" fmla="*/ 1298 h 1773"/>
                <a:gd name="T54" fmla="*/ 1003 w 2270"/>
                <a:gd name="T55" fmla="*/ 1307 h 1773"/>
                <a:gd name="T56" fmla="*/ 1022 w 2270"/>
                <a:gd name="T57" fmla="*/ 1218 h 1773"/>
                <a:gd name="T58" fmla="*/ 1098 w 2270"/>
                <a:gd name="T59" fmla="*/ 1177 h 1773"/>
                <a:gd name="T60" fmla="*/ 1158 w 2270"/>
                <a:gd name="T61" fmla="*/ 1092 h 1773"/>
                <a:gd name="T62" fmla="*/ 1224 w 2270"/>
                <a:gd name="T63" fmla="*/ 1034 h 1773"/>
                <a:gd name="T64" fmla="*/ 1344 w 2270"/>
                <a:gd name="T65" fmla="*/ 990 h 1773"/>
                <a:gd name="T66" fmla="*/ 1410 w 2270"/>
                <a:gd name="T67" fmla="*/ 827 h 1773"/>
                <a:gd name="T68" fmla="*/ 1521 w 2270"/>
                <a:gd name="T69" fmla="*/ 739 h 1773"/>
                <a:gd name="T70" fmla="*/ 1573 w 2270"/>
                <a:gd name="T71" fmla="*/ 609 h 1773"/>
                <a:gd name="T72" fmla="*/ 1730 w 2270"/>
                <a:gd name="T73" fmla="*/ 666 h 1773"/>
                <a:gd name="T74" fmla="*/ 1953 w 2270"/>
                <a:gd name="T75" fmla="*/ 678 h 1773"/>
                <a:gd name="T76" fmla="*/ 2069 w 2270"/>
                <a:gd name="T77" fmla="*/ 921 h 1773"/>
                <a:gd name="T78" fmla="*/ 2222 w 2270"/>
                <a:gd name="T79" fmla="*/ 766 h 1773"/>
                <a:gd name="T80" fmla="*/ 2154 w 2270"/>
                <a:gd name="T81" fmla="*/ 613 h 1773"/>
                <a:gd name="T82" fmla="*/ 2138 w 2270"/>
                <a:gd name="T83" fmla="*/ 523 h 1773"/>
                <a:gd name="T84" fmla="*/ 2171 w 2270"/>
                <a:gd name="T85" fmla="*/ 348 h 1773"/>
                <a:gd name="T86" fmla="*/ 2058 w 2270"/>
                <a:gd name="T87" fmla="*/ 121 h 1773"/>
                <a:gd name="T88" fmla="*/ 1771 w 2270"/>
                <a:gd name="T89" fmla="*/ 124 h 1773"/>
                <a:gd name="T90" fmla="*/ 1526 w 2270"/>
                <a:gd name="T91" fmla="*/ 139 h 1773"/>
                <a:gd name="T92" fmla="*/ 1305 w 2270"/>
                <a:gd name="T93" fmla="*/ 140 h 1773"/>
                <a:gd name="T94" fmla="*/ 1142 w 2270"/>
                <a:gd name="T95" fmla="*/ 131 h 1773"/>
                <a:gd name="T96" fmla="*/ 955 w 2270"/>
                <a:gd name="T97" fmla="*/ 262 h 1773"/>
                <a:gd name="T98" fmla="*/ 767 w 2270"/>
                <a:gd name="T99" fmla="*/ 186 h 1773"/>
                <a:gd name="T100" fmla="*/ 498 w 2270"/>
                <a:gd name="T101" fmla="*/ 73 h 1773"/>
                <a:gd name="T102" fmla="*/ 345 w 2270"/>
                <a:gd name="T103" fmla="*/ 51 h 1773"/>
                <a:gd name="T104" fmla="*/ 399 w 2270"/>
                <a:gd name="T105" fmla="*/ 133 h 1773"/>
                <a:gd name="T106" fmla="*/ 305 w 2270"/>
                <a:gd name="T107" fmla="*/ 220 h 1773"/>
                <a:gd name="T108" fmla="*/ 337 w 2270"/>
                <a:gd name="T109" fmla="*/ 332 h 1773"/>
                <a:gd name="T110" fmla="*/ 211 w 2270"/>
                <a:gd name="T111" fmla="*/ 419 h 1773"/>
                <a:gd name="T112" fmla="*/ 119 w 2270"/>
                <a:gd name="T113" fmla="*/ 534 h 1773"/>
                <a:gd name="T114" fmla="*/ 27 w 2270"/>
                <a:gd name="T115" fmla="*/ 491 h 1773"/>
                <a:gd name="T116" fmla="*/ 22 w 2270"/>
                <a:gd name="T117" fmla="*/ 554 h 1773"/>
                <a:gd name="T118" fmla="*/ 5 w 2270"/>
                <a:gd name="T119" fmla="*/ 613 h 1773"/>
                <a:gd name="T120" fmla="*/ 56 w 2270"/>
                <a:gd name="T121" fmla="*/ 698 h 1773"/>
                <a:gd name="T122" fmla="*/ 62 w 2270"/>
                <a:gd name="T123" fmla="*/ 752 h 1773"/>
                <a:gd name="T124" fmla="*/ 57 w 2270"/>
                <a:gd name="T125" fmla="*/ 808 h 1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70" h="1773">
                  <a:moveTo>
                    <a:pt x="56" y="857"/>
                  </a:moveTo>
                  <a:lnTo>
                    <a:pt x="55" y="857"/>
                  </a:lnTo>
                  <a:lnTo>
                    <a:pt x="55" y="858"/>
                  </a:lnTo>
                  <a:lnTo>
                    <a:pt x="55" y="859"/>
                  </a:lnTo>
                  <a:lnTo>
                    <a:pt x="54" y="859"/>
                  </a:lnTo>
                  <a:lnTo>
                    <a:pt x="54" y="860"/>
                  </a:lnTo>
                  <a:lnTo>
                    <a:pt x="53" y="861"/>
                  </a:lnTo>
                  <a:lnTo>
                    <a:pt x="53" y="862"/>
                  </a:lnTo>
                  <a:lnTo>
                    <a:pt x="53" y="864"/>
                  </a:lnTo>
                  <a:lnTo>
                    <a:pt x="53" y="865"/>
                  </a:lnTo>
                  <a:lnTo>
                    <a:pt x="51" y="865"/>
                  </a:lnTo>
                  <a:lnTo>
                    <a:pt x="51" y="866"/>
                  </a:lnTo>
                  <a:lnTo>
                    <a:pt x="50" y="868"/>
                  </a:lnTo>
                  <a:lnTo>
                    <a:pt x="50" y="869"/>
                  </a:lnTo>
                  <a:lnTo>
                    <a:pt x="50" y="870"/>
                  </a:lnTo>
                  <a:lnTo>
                    <a:pt x="49" y="872"/>
                  </a:lnTo>
                  <a:lnTo>
                    <a:pt x="50" y="873"/>
                  </a:lnTo>
                  <a:lnTo>
                    <a:pt x="50" y="874"/>
                  </a:lnTo>
                  <a:lnTo>
                    <a:pt x="51" y="875"/>
                  </a:lnTo>
                  <a:lnTo>
                    <a:pt x="51" y="876"/>
                  </a:lnTo>
                  <a:lnTo>
                    <a:pt x="53" y="876"/>
                  </a:lnTo>
                  <a:lnTo>
                    <a:pt x="54" y="876"/>
                  </a:lnTo>
                  <a:lnTo>
                    <a:pt x="55" y="875"/>
                  </a:lnTo>
                  <a:lnTo>
                    <a:pt x="56" y="874"/>
                  </a:lnTo>
                  <a:lnTo>
                    <a:pt x="56" y="873"/>
                  </a:lnTo>
                  <a:lnTo>
                    <a:pt x="57" y="870"/>
                  </a:lnTo>
                  <a:lnTo>
                    <a:pt x="58" y="869"/>
                  </a:lnTo>
                  <a:lnTo>
                    <a:pt x="59" y="868"/>
                  </a:lnTo>
                  <a:lnTo>
                    <a:pt x="59" y="867"/>
                  </a:lnTo>
                  <a:lnTo>
                    <a:pt x="59" y="865"/>
                  </a:lnTo>
                  <a:lnTo>
                    <a:pt x="61" y="864"/>
                  </a:lnTo>
                  <a:lnTo>
                    <a:pt x="62" y="862"/>
                  </a:lnTo>
                  <a:lnTo>
                    <a:pt x="63" y="861"/>
                  </a:lnTo>
                  <a:lnTo>
                    <a:pt x="64" y="859"/>
                  </a:lnTo>
                  <a:lnTo>
                    <a:pt x="66" y="856"/>
                  </a:lnTo>
                  <a:lnTo>
                    <a:pt x="66" y="854"/>
                  </a:lnTo>
                  <a:lnTo>
                    <a:pt x="66" y="852"/>
                  </a:lnTo>
                  <a:lnTo>
                    <a:pt x="67" y="851"/>
                  </a:lnTo>
                  <a:lnTo>
                    <a:pt x="67" y="849"/>
                  </a:lnTo>
                  <a:lnTo>
                    <a:pt x="67" y="848"/>
                  </a:lnTo>
                  <a:lnTo>
                    <a:pt x="69" y="846"/>
                  </a:lnTo>
                  <a:lnTo>
                    <a:pt x="70" y="845"/>
                  </a:lnTo>
                  <a:lnTo>
                    <a:pt x="73" y="844"/>
                  </a:lnTo>
                  <a:lnTo>
                    <a:pt x="74" y="843"/>
                  </a:lnTo>
                  <a:lnTo>
                    <a:pt x="75" y="842"/>
                  </a:lnTo>
                  <a:lnTo>
                    <a:pt x="78" y="841"/>
                  </a:lnTo>
                  <a:lnTo>
                    <a:pt x="80" y="841"/>
                  </a:lnTo>
                  <a:lnTo>
                    <a:pt x="82" y="838"/>
                  </a:lnTo>
                  <a:lnTo>
                    <a:pt x="83" y="838"/>
                  </a:lnTo>
                  <a:lnTo>
                    <a:pt x="86" y="837"/>
                  </a:lnTo>
                  <a:lnTo>
                    <a:pt x="87" y="837"/>
                  </a:lnTo>
                  <a:lnTo>
                    <a:pt x="88" y="835"/>
                  </a:lnTo>
                  <a:lnTo>
                    <a:pt x="89" y="834"/>
                  </a:lnTo>
                  <a:lnTo>
                    <a:pt x="89" y="833"/>
                  </a:lnTo>
                  <a:lnTo>
                    <a:pt x="90" y="833"/>
                  </a:lnTo>
                  <a:lnTo>
                    <a:pt x="93" y="830"/>
                  </a:lnTo>
                  <a:lnTo>
                    <a:pt x="93" y="827"/>
                  </a:lnTo>
                  <a:lnTo>
                    <a:pt x="93" y="826"/>
                  </a:lnTo>
                  <a:lnTo>
                    <a:pt x="93" y="825"/>
                  </a:lnTo>
                  <a:lnTo>
                    <a:pt x="93" y="824"/>
                  </a:lnTo>
                  <a:lnTo>
                    <a:pt x="93" y="822"/>
                  </a:lnTo>
                  <a:lnTo>
                    <a:pt x="94" y="820"/>
                  </a:lnTo>
                  <a:lnTo>
                    <a:pt x="94" y="819"/>
                  </a:lnTo>
                  <a:lnTo>
                    <a:pt x="94" y="818"/>
                  </a:lnTo>
                  <a:lnTo>
                    <a:pt x="94" y="817"/>
                  </a:lnTo>
                  <a:lnTo>
                    <a:pt x="94" y="814"/>
                  </a:lnTo>
                  <a:lnTo>
                    <a:pt x="95" y="812"/>
                  </a:lnTo>
                  <a:lnTo>
                    <a:pt x="96" y="812"/>
                  </a:lnTo>
                  <a:lnTo>
                    <a:pt x="96" y="811"/>
                  </a:lnTo>
                  <a:lnTo>
                    <a:pt x="97" y="810"/>
                  </a:lnTo>
                  <a:lnTo>
                    <a:pt x="97" y="809"/>
                  </a:lnTo>
                  <a:lnTo>
                    <a:pt x="97" y="808"/>
                  </a:lnTo>
                  <a:lnTo>
                    <a:pt x="98" y="806"/>
                  </a:lnTo>
                  <a:lnTo>
                    <a:pt x="99" y="805"/>
                  </a:lnTo>
                  <a:lnTo>
                    <a:pt x="99" y="804"/>
                  </a:lnTo>
                  <a:lnTo>
                    <a:pt x="101" y="803"/>
                  </a:lnTo>
                  <a:lnTo>
                    <a:pt x="102" y="803"/>
                  </a:lnTo>
                  <a:lnTo>
                    <a:pt x="104" y="804"/>
                  </a:lnTo>
                  <a:lnTo>
                    <a:pt x="103" y="805"/>
                  </a:lnTo>
                  <a:lnTo>
                    <a:pt x="103" y="806"/>
                  </a:lnTo>
                  <a:lnTo>
                    <a:pt x="102" y="808"/>
                  </a:lnTo>
                  <a:lnTo>
                    <a:pt x="101" y="810"/>
                  </a:lnTo>
                  <a:lnTo>
                    <a:pt x="99" y="811"/>
                  </a:lnTo>
                  <a:lnTo>
                    <a:pt x="99" y="813"/>
                  </a:lnTo>
                  <a:lnTo>
                    <a:pt x="98" y="816"/>
                  </a:lnTo>
                  <a:lnTo>
                    <a:pt x="98" y="818"/>
                  </a:lnTo>
                  <a:lnTo>
                    <a:pt x="98" y="819"/>
                  </a:lnTo>
                  <a:lnTo>
                    <a:pt x="99" y="821"/>
                  </a:lnTo>
                  <a:lnTo>
                    <a:pt x="99" y="822"/>
                  </a:lnTo>
                  <a:lnTo>
                    <a:pt x="101" y="825"/>
                  </a:lnTo>
                  <a:lnTo>
                    <a:pt x="102" y="826"/>
                  </a:lnTo>
                  <a:lnTo>
                    <a:pt x="103" y="827"/>
                  </a:lnTo>
                  <a:lnTo>
                    <a:pt x="104" y="828"/>
                  </a:lnTo>
                  <a:lnTo>
                    <a:pt x="105" y="829"/>
                  </a:lnTo>
                  <a:lnTo>
                    <a:pt x="103" y="833"/>
                  </a:lnTo>
                  <a:lnTo>
                    <a:pt x="103" y="834"/>
                  </a:lnTo>
                  <a:lnTo>
                    <a:pt x="104" y="835"/>
                  </a:lnTo>
                  <a:lnTo>
                    <a:pt x="103" y="837"/>
                  </a:lnTo>
                  <a:lnTo>
                    <a:pt x="103" y="838"/>
                  </a:lnTo>
                  <a:lnTo>
                    <a:pt x="102" y="840"/>
                  </a:lnTo>
                  <a:lnTo>
                    <a:pt x="101" y="843"/>
                  </a:lnTo>
                  <a:lnTo>
                    <a:pt x="99" y="844"/>
                  </a:lnTo>
                  <a:lnTo>
                    <a:pt x="98" y="846"/>
                  </a:lnTo>
                  <a:lnTo>
                    <a:pt x="97" y="848"/>
                  </a:lnTo>
                  <a:lnTo>
                    <a:pt x="96" y="849"/>
                  </a:lnTo>
                  <a:lnTo>
                    <a:pt x="94" y="852"/>
                  </a:lnTo>
                  <a:lnTo>
                    <a:pt x="93" y="853"/>
                  </a:lnTo>
                  <a:lnTo>
                    <a:pt x="91" y="854"/>
                  </a:lnTo>
                  <a:lnTo>
                    <a:pt x="90" y="857"/>
                  </a:lnTo>
                  <a:lnTo>
                    <a:pt x="89" y="858"/>
                  </a:lnTo>
                  <a:lnTo>
                    <a:pt x="89" y="859"/>
                  </a:lnTo>
                  <a:lnTo>
                    <a:pt x="88" y="859"/>
                  </a:lnTo>
                  <a:lnTo>
                    <a:pt x="87" y="861"/>
                  </a:lnTo>
                  <a:lnTo>
                    <a:pt x="86" y="862"/>
                  </a:lnTo>
                  <a:lnTo>
                    <a:pt x="85" y="864"/>
                  </a:lnTo>
                  <a:lnTo>
                    <a:pt x="83" y="865"/>
                  </a:lnTo>
                  <a:lnTo>
                    <a:pt x="82" y="867"/>
                  </a:lnTo>
                  <a:lnTo>
                    <a:pt x="81" y="869"/>
                  </a:lnTo>
                  <a:lnTo>
                    <a:pt x="81" y="870"/>
                  </a:lnTo>
                  <a:lnTo>
                    <a:pt x="81" y="872"/>
                  </a:lnTo>
                  <a:lnTo>
                    <a:pt x="80" y="874"/>
                  </a:lnTo>
                  <a:lnTo>
                    <a:pt x="80" y="875"/>
                  </a:lnTo>
                  <a:lnTo>
                    <a:pt x="80" y="877"/>
                  </a:lnTo>
                  <a:lnTo>
                    <a:pt x="81" y="878"/>
                  </a:lnTo>
                  <a:lnTo>
                    <a:pt x="82" y="880"/>
                  </a:lnTo>
                  <a:lnTo>
                    <a:pt x="83" y="881"/>
                  </a:lnTo>
                  <a:lnTo>
                    <a:pt x="85" y="881"/>
                  </a:lnTo>
                  <a:lnTo>
                    <a:pt x="86" y="882"/>
                  </a:lnTo>
                  <a:lnTo>
                    <a:pt x="87" y="882"/>
                  </a:lnTo>
                  <a:lnTo>
                    <a:pt x="88" y="883"/>
                  </a:lnTo>
                  <a:lnTo>
                    <a:pt x="89" y="883"/>
                  </a:lnTo>
                  <a:lnTo>
                    <a:pt x="90" y="883"/>
                  </a:lnTo>
                  <a:lnTo>
                    <a:pt x="91" y="884"/>
                  </a:lnTo>
                  <a:lnTo>
                    <a:pt x="93" y="884"/>
                  </a:lnTo>
                  <a:lnTo>
                    <a:pt x="94" y="884"/>
                  </a:lnTo>
                  <a:lnTo>
                    <a:pt x="96" y="884"/>
                  </a:lnTo>
                  <a:lnTo>
                    <a:pt x="97" y="884"/>
                  </a:lnTo>
                  <a:lnTo>
                    <a:pt x="98" y="883"/>
                  </a:lnTo>
                  <a:lnTo>
                    <a:pt x="99" y="884"/>
                  </a:lnTo>
                  <a:lnTo>
                    <a:pt x="99" y="886"/>
                  </a:lnTo>
                  <a:lnTo>
                    <a:pt x="101" y="886"/>
                  </a:lnTo>
                  <a:lnTo>
                    <a:pt x="102" y="890"/>
                  </a:lnTo>
                  <a:lnTo>
                    <a:pt x="102" y="891"/>
                  </a:lnTo>
                  <a:lnTo>
                    <a:pt x="102" y="893"/>
                  </a:lnTo>
                  <a:lnTo>
                    <a:pt x="102" y="896"/>
                  </a:lnTo>
                  <a:lnTo>
                    <a:pt x="102" y="897"/>
                  </a:lnTo>
                  <a:lnTo>
                    <a:pt x="102" y="898"/>
                  </a:lnTo>
                  <a:lnTo>
                    <a:pt x="102" y="902"/>
                  </a:lnTo>
                  <a:lnTo>
                    <a:pt x="103" y="902"/>
                  </a:lnTo>
                  <a:lnTo>
                    <a:pt x="102" y="904"/>
                  </a:lnTo>
                  <a:lnTo>
                    <a:pt x="102" y="905"/>
                  </a:lnTo>
                  <a:lnTo>
                    <a:pt x="101" y="905"/>
                  </a:lnTo>
                  <a:lnTo>
                    <a:pt x="98" y="904"/>
                  </a:lnTo>
                  <a:lnTo>
                    <a:pt x="97" y="902"/>
                  </a:lnTo>
                  <a:lnTo>
                    <a:pt x="96" y="900"/>
                  </a:lnTo>
                  <a:lnTo>
                    <a:pt x="95" y="899"/>
                  </a:lnTo>
                  <a:lnTo>
                    <a:pt x="93" y="898"/>
                  </a:lnTo>
                  <a:lnTo>
                    <a:pt x="91" y="897"/>
                  </a:lnTo>
                  <a:lnTo>
                    <a:pt x="90" y="896"/>
                  </a:lnTo>
                  <a:lnTo>
                    <a:pt x="88" y="893"/>
                  </a:lnTo>
                  <a:lnTo>
                    <a:pt x="87" y="892"/>
                  </a:lnTo>
                  <a:lnTo>
                    <a:pt x="85" y="892"/>
                  </a:lnTo>
                  <a:lnTo>
                    <a:pt x="82" y="893"/>
                  </a:lnTo>
                  <a:lnTo>
                    <a:pt x="81" y="893"/>
                  </a:lnTo>
                  <a:lnTo>
                    <a:pt x="79" y="893"/>
                  </a:lnTo>
                  <a:lnTo>
                    <a:pt x="75" y="893"/>
                  </a:lnTo>
                  <a:lnTo>
                    <a:pt x="74" y="894"/>
                  </a:lnTo>
                  <a:lnTo>
                    <a:pt x="73" y="894"/>
                  </a:lnTo>
                  <a:lnTo>
                    <a:pt x="71" y="896"/>
                  </a:lnTo>
                  <a:lnTo>
                    <a:pt x="70" y="897"/>
                  </a:lnTo>
                  <a:lnTo>
                    <a:pt x="69" y="898"/>
                  </a:lnTo>
                  <a:lnTo>
                    <a:pt x="69" y="899"/>
                  </a:lnTo>
                  <a:lnTo>
                    <a:pt x="67" y="901"/>
                  </a:lnTo>
                  <a:lnTo>
                    <a:pt x="67" y="902"/>
                  </a:lnTo>
                  <a:lnTo>
                    <a:pt x="67" y="905"/>
                  </a:lnTo>
                  <a:lnTo>
                    <a:pt x="69" y="906"/>
                  </a:lnTo>
                  <a:lnTo>
                    <a:pt x="69" y="908"/>
                  </a:lnTo>
                  <a:lnTo>
                    <a:pt x="69" y="909"/>
                  </a:lnTo>
                  <a:lnTo>
                    <a:pt x="67" y="912"/>
                  </a:lnTo>
                  <a:lnTo>
                    <a:pt x="67" y="914"/>
                  </a:lnTo>
                  <a:lnTo>
                    <a:pt x="67" y="915"/>
                  </a:lnTo>
                  <a:lnTo>
                    <a:pt x="67" y="918"/>
                  </a:lnTo>
                  <a:lnTo>
                    <a:pt x="67" y="920"/>
                  </a:lnTo>
                  <a:lnTo>
                    <a:pt x="67" y="923"/>
                  </a:lnTo>
                  <a:lnTo>
                    <a:pt x="67" y="924"/>
                  </a:lnTo>
                  <a:lnTo>
                    <a:pt x="67" y="925"/>
                  </a:lnTo>
                  <a:lnTo>
                    <a:pt x="66" y="926"/>
                  </a:lnTo>
                  <a:lnTo>
                    <a:pt x="66" y="929"/>
                  </a:lnTo>
                  <a:lnTo>
                    <a:pt x="66" y="931"/>
                  </a:lnTo>
                  <a:lnTo>
                    <a:pt x="67" y="932"/>
                  </a:lnTo>
                  <a:lnTo>
                    <a:pt x="67" y="933"/>
                  </a:lnTo>
                  <a:lnTo>
                    <a:pt x="67" y="934"/>
                  </a:lnTo>
                  <a:lnTo>
                    <a:pt x="65" y="936"/>
                  </a:lnTo>
                  <a:lnTo>
                    <a:pt x="64" y="937"/>
                  </a:lnTo>
                  <a:lnTo>
                    <a:pt x="64" y="938"/>
                  </a:lnTo>
                  <a:lnTo>
                    <a:pt x="64" y="939"/>
                  </a:lnTo>
                  <a:lnTo>
                    <a:pt x="64" y="940"/>
                  </a:lnTo>
                  <a:lnTo>
                    <a:pt x="65" y="941"/>
                  </a:lnTo>
                  <a:lnTo>
                    <a:pt x="66" y="942"/>
                  </a:lnTo>
                  <a:lnTo>
                    <a:pt x="67" y="942"/>
                  </a:lnTo>
                  <a:lnTo>
                    <a:pt x="70" y="944"/>
                  </a:lnTo>
                  <a:lnTo>
                    <a:pt x="71" y="946"/>
                  </a:lnTo>
                  <a:lnTo>
                    <a:pt x="72" y="946"/>
                  </a:lnTo>
                  <a:lnTo>
                    <a:pt x="73" y="947"/>
                  </a:lnTo>
                  <a:lnTo>
                    <a:pt x="74" y="949"/>
                  </a:lnTo>
                  <a:lnTo>
                    <a:pt x="74" y="953"/>
                  </a:lnTo>
                  <a:lnTo>
                    <a:pt x="75" y="954"/>
                  </a:lnTo>
                  <a:lnTo>
                    <a:pt x="77" y="955"/>
                  </a:lnTo>
                  <a:lnTo>
                    <a:pt x="77" y="956"/>
                  </a:lnTo>
                  <a:lnTo>
                    <a:pt x="78" y="957"/>
                  </a:lnTo>
                  <a:lnTo>
                    <a:pt x="79" y="958"/>
                  </a:lnTo>
                  <a:lnTo>
                    <a:pt x="79" y="960"/>
                  </a:lnTo>
                  <a:lnTo>
                    <a:pt x="80" y="961"/>
                  </a:lnTo>
                  <a:lnTo>
                    <a:pt x="81" y="962"/>
                  </a:lnTo>
                  <a:lnTo>
                    <a:pt x="82" y="963"/>
                  </a:lnTo>
                  <a:lnTo>
                    <a:pt x="82" y="964"/>
                  </a:lnTo>
                  <a:lnTo>
                    <a:pt x="82" y="966"/>
                  </a:lnTo>
                  <a:lnTo>
                    <a:pt x="82" y="968"/>
                  </a:lnTo>
                  <a:lnTo>
                    <a:pt x="83" y="968"/>
                  </a:lnTo>
                  <a:lnTo>
                    <a:pt x="83" y="969"/>
                  </a:lnTo>
                  <a:lnTo>
                    <a:pt x="85" y="970"/>
                  </a:lnTo>
                  <a:lnTo>
                    <a:pt x="85" y="971"/>
                  </a:lnTo>
                  <a:lnTo>
                    <a:pt x="82" y="971"/>
                  </a:lnTo>
                  <a:lnTo>
                    <a:pt x="81" y="971"/>
                  </a:lnTo>
                  <a:lnTo>
                    <a:pt x="79" y="969"/>
                  </a:lnTo>
                  <a:lnTo>
                    <a:pt x="78" y="969"/>
                  </a:lnTo>
                  <a:lnTo>
                    <a:pt x="77" y="970"/>
                  </a:lnTo>
                  <a:lnTo>
                    <a:pt x="77" y="971"/>
                  </a:lnTo>
                  <a:lnTo>
                    <a:pt x="77" y="972"/>
                  </a:lnTo>
                  <a:lnTo>
                    <a:pt x="77" y="973"/>
                  </a:lnTo>
                  <a:lnTo>
                    <a:pt x="75" y="977"/>
                  </a:lnTo>
                  <a:lnTo>
                    <a:pt x="77" y="978"/>
                  </a:lnTo>
                  <a:lnTo>
                    <a:pt x="77" y="980"/>
                  </a:lnTo>
                  <a:lnTo>
                    <a:pt x="77" y="985"/>
                  </a:lnTo>
                  <a:lnTo>
                    <a:pt x="77" y="987"/>
                  </a:lnTo>
                  <a:lnTo>
                    <a:pt x="78" y="988"/>
                  </a:lnTo>
                  <a:lnTo>
                    <a:pt x="78" y="989"/>
                  </a:lnTo>
                  <a:lnTo>
                    <a:pt x="78" y="990"/>
                  </a:lnTo>
                  <a:lnTo>
                    <a:pt x="77" y="993"/>
                  </a:lnTo>
                  <a:lnTo>
                    <a:pt x="77" y="995"/>
                  </a:lnTo>
                  <a:lnTo>
                    <a:pt x="77" y="997"/>
                  </a:lnTo>
                  <a:lnTo>
                    <a:pt x="77" y="1000"/>
                  </a:lnTo>
                  <a:lnTo>
                    <a:pt x="77" y="1001"/>
                  </a:lnTo>
                  <a:lnTo>
                    <a:pt x="78" y="1003"/>
                  </a:lnTo>
                  <a:lnTo>
                    <a:pt x="79" y="1006"/>
                  </a:lnTo>
                  <a:lnTo>
                    <a:pt x="80" y="1008"/>
                  </a:lnTo>
                  <a:lnTo>
                    <a:pt x="82" y="1009"/>
                  </a:lnTo>
                  <a:lnTo>
                    <a:pt x="82" y="1011"/>
                  </a:lnTo>
                  <a:lnTo>
                    <a:pt x="83" y="1012"/>
                  </a:lnTo>
                  <a:lnTo>
                    <a:pt x="82" y="1013"/>
                  </a:lnTo>
                  <a:lnTo>
                    <a:pt x="82" y="1014"/>
                  </a:lnTo>
                  <a:lnTo>
                    <a:pt x="81" y="1016"/>
                  </a:lnTo>
                  <a:lnTo>
                    <a:pt x="80" y="1017"/>
                  </a:lnTo>
                  <a:lnTo>
                    <a:pt x="79" y="1019"/>
                  </a:lnTo>
                  <a:lnTo>
                    <a:pt x="79" y="1020"/>
                  </a:lnTo>
                  <a:lnTo>
                    <a:pt x="80" y="1021"/>
                  </a:lnTo>
                  <a:lnTo>
                    <a:pt x="81" y="1022"/>
                  </a:lnTo>
                  <a:lnTo>
                    <a:pt x="82" y="1022"/>
                  </a:lnTo>
                  <a:lnTo>
                    <a:pt x="83" y="1024"/>
                  </a:lnTo>
                  <a:lnTo>
                    <a:pt x="87" y="1025"/>
                  </a:lnTo>
                  <a:lnTo>
                    <a:pt x="89" y="1026"/>
                  </a:lnTo>
                  <a:lnTo>
                    <a:pt x="91" y="1027"/>
                  </a:lnTo>
                  <a:lnTo>
                    <a:pt x="93" y="1028"/>
                  </a:lnTo>
                  <a:lnTo>
                    <a:pt x="95" y="1029"/>
                  </a:lnTo>
                  <a:lnTo>
                    <a:pt x="96" y="1030"/>
                  </a:lnTo>
                  <a:lnTo>
                    <a:pt x="97" y="1032"/>
                  </a:lnTo>
                  <a:lnTo>
                    <a:pt x="98" y="1034"/>
                  </a:lnTo>
                  <a:lnTo>
                    <a:pt x="99" y="1034"/>
                  </a:lnTo>
                  <a:lnTo>
                    <a:pt x="101" y="1036"/>
                  </a:lnTo>
                  <a:lnTo>
                    <a:pt x="101" y="1037"/>
                  </a:lnTo>
                  <a:lnTo>
                    <a:pt x="102" y="1038"/>
                  </a:lnTo>
                  <a:lnTo>
                    <a:pt x="102" y="1040"/>
                  </a:lnTo>
                  <a:lnTo>
                    <a:pt x="103" y="1040"/>
                  </a:lnTo>
                  <a:lnTo>
                    <a:pt x="103" y="1042"/>
                  </a:lnTo>
                  <a:lnTo>
                    <a:pt x="103" y="1043"/>
                  </a:lnTo>
                  <a:lnTo>
                    <a:pt x="103" y="1044"/>
                  </a:lnTo>
                  <a:lnTo>
                    <a:pt x="103" y="1045"/>
                  </a:lnTo>
                  <a:lnTo>
                    <a:pt x="102" y="1045"/>
                  </a:lnTo>
                  <a:lnTo>
                    <a:pt x="99" y="1044"/>
                  </a:lnTo>
                  <a:lnTo>
                    <a:pt x="98" y="1043"/>
                  </a:lnTo>
                  <a:lnTo>
                    <a:pt x="97" y="1042"/>
                  </a:lnTo>
                  <a:lnTo>
                    <a:pt x="96" y="1041"/>
                  </a:lnTo>
                  <a:lnTo>
                    <a:pt x="95" y="1040"/>
                  </a:lnTo>
                  <a:lnTo>
                    <a:pt x="93" y="1038"/>
                  </a:lnTo>
                  <a:lnTo>
                    <a:pt x="93" y="1037"/>
                  </a:lnTo>
                  <a:lnTo>
                    <a:pt x="90" y="1036"/>
                  </a:lnTo>
                  <a:lnTo>
                    <a:pt x="89" y="1036"/>
                  </a:lnTo>
                  <a:lnTo>
                    <a:pt x="88" y="1037"/>
                  </a:lnTo>
                  <a:lnTo>
                    <a:pt x="88" y="1038"/>
                  </a:lnTo>
                  <a:lnTo>
                    <a:pt x="88" y="1040"/>
                  </a:lnTo>
                  <a:lnTo>
                    <a:pt x="88" y="1041"/>
                  </a:lnTo>
                  <a:lnTo>
                    <a:pt x="88" y="1043"/>
                  </a:lnTo>
                  <a:lnTo>
                    <a:pt x="88" y="1044"/>
                  </a:lnTo>
                  <a:lnTo>
                    <a:pt x="88" y="1045"/>
                  </a:lnTo>
                  <a:lnTo>
                    <a:pt x="88" y="1046"/>
                  </a:lnTo>
                  <a:lnTo>
                    <a:pt x="88" y="1048"/>
                  </a:lnTo>
                  <a:lnTo>
                    <a:pt x="87" y="1049"/>
                  </a:lnTo>
                  <a:lnTo>
                    <a:pt x="86" y="1050"/>
                  </a:lnTo>
                  <a:lnTo>
                    <a:pt x="86" y="1051"/>
                  </a:lnTo>
                  <a:lnTo>
                    <a:pt x="86" y="1052"/>
                  </a:lnTo>
                  <a:lnTo>
                    <a:pt x="86" y="1053"/>
                  </a:lnTo>
                  <a:lnTo>
                    <a:pt x="87" y="1054"/>
                  </a:lnTo>
                  <a:lnTo>
                    <a:pt x="89" y="1054"/>
                  </a:lnTo>
                  <a:lnTo>
                    <a:pt x="90" y="1056"/>
                  </a:lnTo>
                  <a:lnTo>
                    <a:pt x="91" y="1057"/>
                  </a:lnTo>
                  <a:lnTo>
                    <a:pt x="93" y="1058"/>
                  </a:lnTo>
                  <a:lnTo>
                    <a:pt x="94" y="1060"/>
                  </a:lnTo>
                  <a:lnTo>
                    <a:pt x="94" y="1061"/>
                  </a:lnTo>
                  <a:lnTo>
                    <a:pt x="94" y="1062"/>
                  </a:lnTo>
                  <a:lnTo>
                    <a:pt x="95" y="1064"/>
                  </a:lnTo>
                  <a:lnTo>
                    <a:pt x="96" y="1065"/>
                  </a:lnTo>
                  <a:lnTo>
                    <a:pt x="96" y="1066"/>
                  </a:lnTo>
                  <a:lnTo>
                    <a:pt x="96" y="1068"/>
                  </a:lnTo>
                  <a:lnTo>
                    <a:pt x="96" y="1069"/>
                  </a:lnTo>
                  <a:lnTo>
                    <a:pt x="96" y="1070"/>
                  </a:lnTo>
                  <a:lnTo>
                    <a:pt x="97" y="1072"/>
                  </a:lnTo>
                  <a:lnTo>
                    <a:pt x="97" y="1073"/>
                  </a:lnTo>
                  <a:lnTo>
                    <a:pt x="97" y="1074"/>
                  </a:lnTo>
                  <a:lnTo>
                    <a:pt x="96" y="1075"/>
                  </a:lnTo>
                  <a:lnTo>
                    <a:pt x="96" y="1076"/>
                  </a:lnTo>
                  <a:lnTo>
                    <a:pt x="96" y="1077"/>
                  </a:lnTo>
                  <a:lnTo>
                    <a:pt x="96" y="1078"/>
                  </a:lnTo>
                  <a:lnTo>
                    <a:pt x="97" y="1081"/>
                  </a:lnTo>
                  <a:lnTo>
                    <a:pt x="97" y="1082"/>
                  </a:lnTo>
                  <a:lnTo>
                    <a:pt x="96" y="1083"/>
                  </a:lnTo>
                  <a:lnTo>
                    <a:pt x="96" y="1085"/>
                  </a:lnTo>
                  <a:lnTo>
                    <a:pt x="96" y="1086"/>
                  </a:lnTo>
                  <a:lnTo>
                    <a:pt x="96" y="1089"/>
                  </a:lnTo>
                  <a:lnTo>
                    <a:pt x="97" y="1090"/>
                  </a:lnTo>
                  <a:lnTo>
                    <a:pt x="97" y="1091"/>
                  </a:lnTo>
                  <a:lnTo>
                    <a:pt x="98" y="1091"/>
                  </a:lnTo>
                  <a:lnTo>
                    <a:pt x="99" y="1092"/>
                  </a:lnTo>
                  <a:lnTo>
                    <a:pt x="101" y="1093"/>
                  </a:lnTo>
                  <a:lnTo>
                    <a:pt x="102" y="1094"/>
                  </a:lnTo>
                  <a:lnTo>
                    <a:pt x="102" y="1097"/>
                  </a:lnTo>
                  <a:lnTo>
                    <a:pt x="102" y="1098"/>
                  </a:lnTo>
                  <a:lnTo>
                    <a:pt x="102" y="1099"/>
                  </a:lnTo>
                  <a:lnTo>
                    <a:pt x="101" y="1104"/>
                  </a:lnTo>
                  <a:lnTo>
                    <a:pt x="101" y="1106"/>
                  </a:lnTo>
                  <a:lnTo>
                    <a:pt x="101" y="1109"/>
                  </a:lnTo>
                  <a:lnTo>
                    <a:pt x="101" y="1112"/>
                  </a:lnTo>
                  <a:lnTo>
                    <a:pt x="101" y="1113"/>
                  </a:lnTo>
                  <a:lnTo>
                    <a:pt x="101" y="1114"/>
                  </a:lnTo>
                  <a:lnTo>
                    <a:pt x="101" y="1116"/>
                  </a:lnTo>
                  <a:lnTo>
                    <a:pt x="102" y="1117"/>
                  </a:lnTo>
                  <a:lnTo>
                    <a:pt x="103" y="1117"/>
                  </a:lnTo>
                  <a:lnTo>
                    <a:pt x="103" y="1118"/>
                  </a:lnTo>
                  <a:lnTo>
                    <a:pt x="105" y="1118"/>
                  </a:lnTo>
                  <a:lnTo>
                    <a:pt x="107" y="1118"/>
                  </a:lnTo>
                  <a:lnTo>
                    <a:pt x="109" y="1118"/>
                  </a:lnTo>
                  <a:lnTo>
                    <a:pt x="111" y="1117"/>
                  </a:lnTo>
                  <a:lnTo>
                    <a:pt x="112" y="1117"/>
                  </a:lnTo>
                  <a:lnTo>
                    <a:pt x="113" y="1116"/>
                  </a:lnTo>
                  <a:lnTo>
                    <a:pt x="115" y="1116"/>
                  </a:lnTo>
                  <a:lnTo>
                    <a:pt x="117" y="1115"/>
                  </a:lnTo>
                  <a:lnTo>
                    <a:pt x="120" y="1116"/>
                  </a:lnTo>
                  <a:lnTo>
                    <a:pt x="121" y="1116"/>
                  </a:lnTo>
                  <a:lnTo>
                    <a:pt x="122" y="1117"/>
                  </a:lnTo>
                  <a:lnTo>
                    <a:pt x="126" y="1118"/>
                  </a:lnTo>
                  <a:lnTo>
                    <a:pt x="127" y="1118"/>
                  </a:lnTo>
                  <a:lnTo>
                    <a:pt x="129" y="1118"/>
                  </a:lnTo>
                  <a:lnTo>
                    <a:pt x="130" y="1118"/>
                  </a:lnTo>
                  <a:lnTo>
                    <a:pt x="133" y="1118"/>
                  </a:lnTo>
                  <a:lnTo>
                    <a:pt x="134" y="1118"/>
                  </a:lnTo>
                  <a:lnTo>
                    <a:pt x="135" y="1118"/>
                  </a:lnTo>
                  <a:lnTo>
                    <a:pt x="136" y="1118"/>
                  </a:lnTo>
                  <a:lnTo>
                    <a:pt x="137" y="1120"/>
                  </a:lnTo>
                  <a:lnTo>
                    <a:pt x="138" y="1120"/>
                  </a:lnTo>
                  <a:lnTo>
                    <a:pt x="138" y="1121"/>
                  </a:lnTo>
                  <a:lnTo>
                    <a:pt x="138" y="1122"/>
                  </a:lnTo>
                  <a:lnTo>
                    <a:pt x="136" y="1123"/>
                  </a:lnTo>
                  <a:lnTo>
                    <a:pt x="134" y="1123"/>
                  </a:lnTo>
                  <a:lnTo>
                    <a:pt x="131" y="1123"/>
                  </a:lnTo>
                  <a:lnTo>
                    <a:pt x="129" y="1123"/>
                  </a:lnTo>
                  <a:lnTo>
                    <a:pt x="125" y="1123"/>
                  </a:lnTo>
                  <a:lnTo>
                    <a:pt x="123" y="1123"/>
                  </a:lnTo>
                  <a:lnTo>
                    <a:pt x="118" y="1124"/>
                  </a:lnTo>
                  <a:lnTo>
                    <a:pt x="114" y="1125"/>
                  </a:lnTo>
                  <a:lnTo>
                    <a:pt x="113" y="1126"/>
                  </a:lnTo>
                  <a:lnTo>
                    <a:pt x="112" y="1129"/>
                  </a:lnTo>
                  <a:lnTo>
                    <a:pt x="111" y="1130"/>
                  </a:lnTo>
                  <a:lnTo>
                    <a:pt x="110" y="1131"/>
                  </a:lnTo>
                  <a:lnTo>
                    <a:pt x="110" y="1132"/>
                  </a:lnTo>
                  <a:lnTo>
                    <a:pt x="110" y="1133"/>
                  </a:lnTo>
                  <a:lnTo>
                    <a:pt x="111" y="1134"/>
                  </a:lnTo>
                  <a:lnTo>
                    <a:pt x="112" y="1136"/>
                  </a:lnTo>
                  <a:lnTo>
                    <a:pt x="114" y="1136"/>
                  </a:lnTo>
                  <a:lnTo>
                    <a:pt x="115" y="1136"/>
                  </a:lnTo>
                  <a:lnTo>
                    <a:pt x="118" y="1134"/>
                  </a:lnTo>
                  <a:lnTo>
                    <a:pt x="119" y="1134"/>
                  </a:lnTo>
                  <a:lnTo>
                    <a:pt x="120" y="1134"/>
                  </a:lnTo>
                  <a:lnTo>
                    <a:pt x="121" y="1136"/>
                  </a:lnTo>
                  <a:lnTo>
                    <a:pt x="121" y="1137"/>
                  </a:lnTo>
                  <a:lnTo>
                    <a:pt x="120" y="1138"/>
                  </a:lnTo>
                  <a:lnTo>
                    <a:pt x="120" y="1140"/>
                  </a:lnTo>
                  <a:lnTo>
                    <a:pt x="119" y="1141"/>
                  </a:lnTo>
                  <a:lnTo>
                    <a:pt x="118" y="1144"/>
                  </a:lnTo>
                  <a:lnTo>
                    <a:pt x="118" y="1145"/>
                  </a:lnTo>
                  <a:lnTo>
                    <a:pt x="118" y="1147"/>
                  </a:lnTo>
                  <a:lnTo>
                    <a:pt x="118" y="1148"/>
                  </a:lnTo>
                  <a:lnTo>
                    <a:pt x="119" y="1149"/>
                  </a:lnTo>
                  <a:lnTo>
                    <a:pt x="120" y="1152"/>
                  </a:lnTo>
                  <a:lnTo>
                    <a:pt x="121" y="1154"/>
                  </a:lnTo>
                  <a:lnTo>
                    <a:pt x="122" y="1154"/>
                  </a:lnTo>
                  <a:lnTo>
                    <a:pt x="122" y="1155"/>
                  </a:lnTo>
                  <a:lnTo>
                    <a:pt x="122" y="1156"/>
                  </a:lnTo>
                  <a:lnTo>
                    <a:pt x="123" y="1158"/>
                  </a:lnTo>
                  <a:lnTo>
                    <a:pt x="125" y="1158"/>
                  </a:lnTo>
                  <a:lnTo>
                    <a:pt x="125" y="1161"/>
                  </a:lnTo>
                  <a:lnTo>
                    <a:pt x="125" y="1162"/>
                  </a:lnTo>
                  <a:lnTo>
                    <a:pt x="125" y="1163"/>
                  </a:lnTo>
                  <a:lnTo>
                    <a:pt x="125" y="1169"/>
                  </a:lnTo>
                  <a:lnTo>
                    <a:pt x="125" y="1170"/>
                  </a:lnTo>
                  <a:lnTo>
                    <a:pt x="125" y="1171"/>
                  </a:lnTo>
                  <a:lnTo>
                    <a:pt x="126" y="1174"/>
                  </a:lnTo>
                  <a:lnTo>
                    <a:pt x="127" y="1176"/>
                  </a:lnTo>
                  <a:lnTo>
                    <a:pt x="130" y="1179"/>
                  </a:lnTo>
                  <a:lnTo>
                    <a:pt x="131" y="1180"/>
                  </a:lnTo>
                  <a:lnTo>
                    <a:pt x="133" y="1181"/>
                  </a:lnTo>
                  <a:lnTo>
                    <a:pt x="133" y="1182"/>
                  </a:lnTo>
                  <a:lnTo>
                    <a:pt x="134" y="1184"/>
                  </a:lnTo>
                  <a:lnTo>
                    <a:pt x="134" y="1185"/>
                  </a:lnTo>
                  <a:lnTo>
                    <a:pt x="135" y="1187"/>
                  </a:lnTo>
                  <a:lnTo>
                    <a:pt x="135" y="1189"/>
                  </a:lnTo>
                  <a:lnTo>
                    <a:pt x="134" y="1192"/>
                  </a:lnTo>
                  <a:lnTo>
                    <a:pt x="134" y="1193"/>
                  </a:lnTo>
                  <a:lnTo>
                    <a:pt x="134" y="1194"/>
                  </a:lnTo>
                  <a:lnTo>
                    <a:pt x="134" y="1196"/>
                  </a:lnTo>
                  <a:lnTo>
                    <a:pt x="134" y="1198"/>
                  </a:lnTo>
                  <a:lnTo>
                    <a:pt x="133" y="1200"/>
                  </a:lnTo>
                  <a:lnTo>
                    <a:pt x="133" y="1201"/>
                  </a:lnTo>
                  <a:lnTo>
                    <a:pt x="133" y="1202"/>
                  </a:lnTo>
                  <a:lnTo>
                    <a:pt x="133" y="1204"/>
                  </a:lnTo>
                  <a:lnTo>
                    <a:pt x="133" y="1205"/>
                  </a:lnTo>
                  <a:lnTo>
                    <a:pt x="134" y="1206"/>
                  </a:lnTo>
                  <a:lnTo>
                    <a:pt x="136" y="1210"/>
                  </a:lnTo>
                  <a:lnTo>
                    <a:pt x="137" y="1211"/>
                  </a:lnTo>
                  <a:lnTo>
                    <a:pt x="138" y="1212"/>
                  </a:lnTo>
                  <a:lnTo>
                    <a:pt x="138" y="1213"/>
                  </a:lnTo>
                  <a:lnTo>
                    <a:pt x="138" y="1214"/>
                  </a:lnTo>
                  <a:lnTo>
                    <a:pt x="139" y="1217"/>
                  </a:lnTo>
                  <a:lnTo>
                    <a:pt x="139" y="1218"/>
                  </a:lnTo>
                  <a:lnTo>
                    <a:pt x="139" y="1219"/>
                  </a:lnTo>
                  <a:lnTo>
                    <a:pt x="139" y="1220"/>
                  </a:lnTo>
                  <a:lnTo>
                    <a:pt x="138" y="1221"/>
                  </a:lnTo>
                  <a:lnTo>
                    <a:pt x="139" y="1222"/>
                  </a:lnTo>
                  <a:lnTo>
                    <a:pt x="141" y="1224"/>
                  </a:lnTo>
                  <a:lnTo>
                    <a:pt x="142" y="1225"/>
                  </a:lnTo>
                  <a:lnTo>
                    <a:pt x="144" y="1225"/>
                  </a:lnTo>
                  <a:lnTo>
                    <a:pt x="145" y="1225"/>
                  </a:lnTo>
                  <a:lnTo>
                    <a:pt x="147" y="1225"/>
                  </a:lnTo>
                  <a:lnTo>
                    <a:pt x="150" y="1225"/>
                  </a:lnTo>
                  <a:lnTo>
                    <a:pt x="151" y="1226"/>
                  </a:lnTo>
                  <a:lnTo>
                    <a:pt x="153" y="1226"/>
                  </a:lnTo>
                  <a:lnTo>
                    <a:pt x="154" y="1226"/>
                  </a:lnTo>
                  <a:lnTo>
                    <a:pt x="157" y="1227"/>
                  </a:lnTo>
                  <a:lnTo>
                    <a:pt x="158" y="1227"/>
                  </a:lnTo>
                  <a:lnTo>
                    <a:pt x="159" y="1227"/>
                  </a:lnTo>
                  <a:lnTo>
                    <a:pt x="160" y="1227"/>
                  </a:lnTo>
                  <a:lnTo>
                    <a:pt x="161" y="1227"/>
                  </a:lnTo>
                  <a:lnTo>
                    <a:pt x="162" y="1228"/>
                  </a:lnTo>
                  <a:lnTo>
                    <a:pt x="163" y="1229"/>
                  </a:lnTo>
                  <a:lnTo>
                    <a:pt x="165" y="1230"/>
                  </a:lnTo>
                  <a:lnTo>
                    <a:pt x="166" y="1230"/>
                  </a:lnTo>
                  <a:lnTo>
                    <a:pt x="165" y="1232"/>
                  </a:lnTo>
                  <a:lnTo>
                    <a:pt x="163" y="1233"/>
                  </a:lnTo>
                  <a:lnTo>
                    <a:pt x="161" y="1233"/>
                  </a:lnTo>
                  <a:lnTo>
                    <a:pt x="158" y="1233"/>
                  </a:lnTo>
                  <a:lnTo>
                    <a:pt x="155" y="1232"/>
                  </a:lnTo>
                  <a:lnTo>
                    <a:pt x="154" y="1232"/>
                  </a:lnTo>
                  <a:lnTo>
                    <a:pt x="152" y="1232"/>
                  </a:lnTo>
                  <a:lnTo>
                    <a:pt x="151" y="1233"/>
                  </a:lnTo>
                  <a:lnTo>
                    <a:pt x="149" y="1233"/>
                  </a:lnTo>
                  <a:lnTo>
                    <a:pt x="149" y="1232"/>
                  </a:lnTo>
                  <a:lnTo>
                    <a:pt x="147" y="1232"/>
                  </a:lnTo>
                  <a:lnTo>
                    <a:pt x="146" y="1232"/>
                  </a:lnTo>
                  <a:lnTo>
                    <a:pt x="145" y="1230"/>
                  </a:lnTo>
                  <a:lnTo>
                    <a:pt x="142" y="1230"/>
                  </a:lnTo>
                  <a:lnTo>
                    <a:pt x="142" y="1229"/>
                  </a:lnTo>
                  <a:lnTo>
                    <a:pt x="139" y="1229"/>
                  </a:lnTo>
                  <a:lnTo>
                    <a:pt x="139" y="1230"/>
                  </a:lnTo>
                  <a:lnTo>
                    <a:pt x="139" y="1232"/>
                  </a:lnTo>
                  <a:lnTo>
                    <a:pt x="141" y="1233"/>
                  </a:lnTo>
                  <a:lnTo>
                    <a:pt x="142" y="1235"/>
                  </a:lnTo>
                  <a:lnTo>
                    <a:pt x="143" y="1237"/>
                  </a:lnTo>
                  <a:lnTo>
                    <a:pt x="150" y="1246"/>
                  </a:lnTo>
                  <a:lnTo>
                    <a:pt x="150" y="1248"/>
                  </a:lnTo>
                  <a:lnTo>
                    <a:pt x="151" y="1249"/>
                  </a:lnTo>
                  <a:lnTo>
                    <a:pt x="151" y="1250"/>
                  </a:lnTo>
                  <a:lnTo>
                    <a:pt x="151" y="1251"/>
                  </a:lnTo>
                  <a:lnTo>
                    <a:pt x="151" y="1253"/>
                  </a:lnTo>
                  <a:lnTo>
                    <a:pt x="151" y="1254"/>
                  </a:lnTo>
                  <a:lnTo>
                    <a:pt x="151" y="1257"/>
                  </a:lnTo>
                  <a:lnTo>
                    <a:pt x="150" y="1259"/>
                  </a:lnTo>
                  <a:lnTo>
                    <a:pt x="150" y="1260"/>
                  </a:lnTo>
                  <a:lnTo>
                    <a:pt x="150" y="1261"/>
                  </a:lnTo>
                  <a:lnTo>
                    <a:pt x="150" y="1262"/>
                  </a:lnTo>
                  <a:lnTo>
                    <a:pt x="150" y="1264"/>
                  </a:lnTo>
                  <a:lnTo>
                    <a:pt x="150" y="1265"/>
                  </a:lnTo>
                  <a:lnTo>
                    <a:pt x="151" y="1266"/>
                  </a:lnTo>
                  <a:lnTo>
                    <a:pt x="151" y="1267"/>
                  </a:lnTo>
                  <a:lnTo>
                    <a:pt x="151" y="1268"/>
                  </a:lnTo>
                  <a:lnTo>
                    <a:pt x="151" y="1269"/>
                  </a:lnTo>
                  <a:lnTo>
                    <a:pt x="150" y="1272"/>
                  </a:lnTo>
                  <a:lnTo>
                    <a:pt x="147" y="1274"/>
                  </a:lnTo>
                  <a:lnTo>
                    <a:pt x="146" y="1275"/>
                  </a:lnTo>
                  <a:lnTo>
                    <a:pt x="146" y="1276"/>
                  </a:lnTo>
                  <a:lnTo>
                    <a:pt x="145" y="1276"/>
                  </a:lnTo>
                  <a:lnTo>
                    <a:pt x="145" y="1277"/>
                  </a:lnTo>
                  <a:lnTo>
                    <a:pt x="144" y="1277"/>
                  </a:lnTo>
                  <a:lnTo>
                    <a:pt x="144" y="1278"/>
                  </a:lnTo>
                  <a:lnTo>
                    <a:pt x="144" y="1280"/>
                  </a:lnTo>
                  <a:lnTo>
                    <a:pt x="144" y="1281"/>
                  </a:lnTo>
                  <a:lnTo>
                    <a:pt x="143" y="1281"/>
                  </a:lnTo>
                  <a:lnTo>
                    <a:pt x="143" y="1283"/>
                  </a:lnTo>
                  <a:lnTo>
                    <a:pt x="144" y="1284"/>
                  </a:lnTo>
                  <a:lnTo>
                    <a:pt x="147" y="1285"/>
                  </a:lnTo>
                  <a:lnTo>
                    <a:pt x="149" y="1285"/>
                  </a:lnTo>
                  <a:lnTo>
                    <a:pt x="151" y="1286"/>
                  </a:lnTo>
                  <a:lnTo>
                    <a:pt x="152" y="1288"/>
                  </a:lnTo>
                  <a:lnTo>
                    <a:pt x="153" y="1289"/>
                  </a:lnTo>
                  <a:lnTo>
                    <a:pt x="154" y="1290"/>
                  </a:lnTo>
                  <a:lnTo>
                    <a:pt x="155" y="1293"/>
                  </a:lnTo>
                  <a:lnTo>
                    <a:pt x="155" y="1294"/>
                  </a:lnTo>
                  <a:lnTo>
                    <a:pt x="155" y="1296"/>
                  </a:lnTo>
                  <a:lnTo>
                    <a:pt x="155" y="1297"/>
                  </a:lnTo>
                  <a:lnTo>
                    <a:pt x="158" y="1298"/>
                  </a:lnTo>
                  <a:lnTo>
                    <a:pt x="158" y="1299"/>
                  </a:lnTo>
                  <a:lnTo>
                    <a:pt x="159" y="1300"/>
                  </a:lnTo>
                  <a:lnTo>
                    <a:pt x="160" y="1301"/>
                  </a:lnTo>
                  <a:lnTo>
                    <a:pt x="161" y="1302"/>
                  </a:lnTo>
                  <a:lnTo>
                    <a:pt x="162" y="1304"/>
                  </a:lnTo>
                  <a:lnTo>
                    <a:pt x="162" y="1305"/>
                  </a:lnTo>
                  <a:lnTo>
                    <a:pt x="163" y="1306"/>
                  </a:lnTo>
                  <a:lnTo>
                    <a:pt x="165" y="1306"/>
                  </a:lnTo>
                  <a:lnTo>
                    <a:pt x="165" y="1307"/>
                  </a:lnTo>
                  <a:lnTo>
                    <a:pt x="166" y="1307"/>
                  </a:lnTo>
                  <a:lnTo>
                    <a:pt x="166" y="1308"/>
                  </a:lnTo>
                  <a:lnTo>
                    <a:pt x="167" y="1309"/>
                  </a:lnTo>
                  <a:lnTo>
                    <a:pt x="168" y="1310"/>
                  </a:lnTo>
                  <a:lnTo>
                    <a:pt x="168" y="1312"/>
                  </a:lnTo>
                  <a:lnTo>
                    <a:pt x="169" y="1312"/>
                  </a:lnTo>
                  <a:lnTo>
                    <a:pt x="169" y="1313"/>
                  </a:lnTo>
                  <a:lnTo>
                    <a:pt x="170" y="1313"/>
                  </a:lnTo>
                  <a:lnTo>
                    <a:pt x="170" y="1314"/>
                  </a:lnTo>
                  <a:lnTo>
                    <a:pt x="169" y="1315"/>
                  </a:lnTo>
                  <a:lnTo>
                    <a:pt x="168" y="1315"/>
                  </a:lnTo>
                  <a:lnTo>
                    <a:pt x="167" y="1315"/>
                  </a:lnTo>
                  <a:lnTo>
                    <a:pt x="166" y="1315"/>
                  </a:lnTo>
                  <a:lnTo>
                    <a:pt x="163" y="1314"/>
                  </a:lnTo>
                  <a:lnTo>
                    <a:pt x="162" y="1312"/>
                  </a:lnTo>
                  <a:lnTo>
                    <a:pt x="161" y="1310"/>
                  </a:lnTo>
                  <a:lnTo>
                    <a:pt x="159" y="1308"/>
                  </a:lnTo>
                  <a:lnTo>
                    <a:pt x="158" y="1307"/>
                  </a:lnTo>
                  <a:lnTo>
                    <a:pt x="157" y="1306"/>
                  </a:lnTo>
                  <a:lnTo>
                    <a:pt x="155" y="1305"/>
                  </a:lnTo>
                  <a:lnTo>
                    <a:pt x="154" y="1305"/>
                  </a:lnTo>
                  <a:lnTo>
                    <a:pt x="153" y="1306"/>
                  </a:lnTo>
                  <a:lnTo>
                    <a:pt x="153" y="1307"/>
                  </a:lnTo>
                  <a:lnTo>
                    <a:pt x="153" y="1308"/>
                  </a:lnTo>
                  <a:lnTo>
                    <a:pt x="154" y="1310"/>
                  </a:lnTo>
                  <a:lnTo>
                    <a:pt x="155" y="1310"/>
                  </a:lnTo>
                  <a:lnTo>
                    <a:pt x="157" y="1313"/>
                  </a:lnTo>
                  <a:lnTo>
                    <a:pt x="158" y="1314"/>
                  </a:lnTo>
                  <a:lnTo>
                    <a:pt x="159" y="1315"/>
                  </a:lnTo>
                  <a:lnTo>
                    <a:pt x="160" y="1316"/>
                  </a:lnTo>
                  <a:lnTo>
                    <a:pt x="161" y="1317"/>
                  </a:lnTo>
                  <a:lnTo>
                    <a:pt x="163" y="1320"/>
                  </a:lnTo>
                  <a:lnTo>
                    <a:pt x="163" y="1321"/>
                  </a:lnTo>
                  <a:lnTo>
                    <a:pt x="165" y="1323"/>
                  </a:lnTo>
                  <a:lnTo>
                    <a:pt x="166" y="1325"/>
                  </a:lnTo>
                  <a:lnTo>
                    <a:pt x="167" y="1326"/>
                  </a:lnTo>
                  <a:lnTo>
                    <a:pt x="167" y="1329"/>
                  </a:lnTo>
                  <a:lnTo>
                    <a:pt x="166" y="1330"/>
                  </a:lnTo>
                  <a:lnTo>
                    <a:pt x="166" y="1331"/>
                  </a:lnTo>
                  <a:lnTo>
                    <a:pt x="166" y="1332"/>
                  </a:lnTo>
                  <a:lnTo>
                    <a:pt x="167" y="1333"/>
                  </a:lnTo>
                  <a:lnTo>
                    <a:pt x="167" y="1336"/>
                  </a:lnTo>
                  <a:lnTo>
                    <a:pt x="169" y="1338"/>
                  </a:lnTo>
                  <a:lnTo>
                    <a:pt x="170" y="1338"/>
                  </a:lnTo>
                  <a:lnTo>
                    <a:pt x="171" y="1339"/>
                  </a:lnTo>
                  <a:lnTo>
                    <a:pt x="171" y="1341"/>
                  </a:lnTo>
                  <a:lnTo>
                    <a:pt x="171" y="1342"/>
                  </a:lnTo>
                  <a:lnTo>
                    <a:pt x="171" y="1344"/>
                  </a:lnTo>
                  <a:lnTo>
                    <a:pt x="173" y="1344"/>
                  </a:lnTo>
                  <a:lnTo>
                    <a:pt x="171" y="1345"/>
                  </a:lnTo>
                  <a:lnTo>
                    <a:pt x="171" y="1348"/>
                  </a:lnTo>
                  <a:lnTo>
                    <a:pt x="171" y="1349"/>
                  </a:lnTo>
                  <a:lnTo>
                    <a:pt x="171" y="1350"/>
                  </a:lnTo>
                  <a:lnTo>
                    <a:pt x="171" y="1352"/>
                  </a:lnTo>
                  <a:lnTo>
                    <a:pt x="173" y="1354"/>
                  </a:lnTo>
                  <a:lnTo>
                    <a:pt x="174" y="1355"/>
                  </a:lnTo>
                  <a:lnTo>
                    <a:pt x="174" y="1356"/>
                  </a:lnTo>
                  <a:lnTo>
                    <a:pt x="174" y="1358"/>
                  </a:lnTo>
                  <a:lnTo>
                    <a:pt x="173" y="1358"/>
                  </a:lnTo>
                  <a:lnTo>
                    <a:pt x="173" y="1361"/>
                  </a:lnTo>
                  <a:lnTo>
                    <a:pt x="173" y="1362"/>
                  </a:lnTo>
                  <a:lnTo>
                    <a:pt x="176" y="1364"/>
                  </a:lnTo>
                  <a:lnTo>
                    <a:pt x="178" y="1365"/>
                  </a:lnTo>
                  <a:lnTo>
                    <a:pt x="178" y="1366"/>
                  </a:lnTo>
                  <a:lnTo>
                    <a:pt x="179" y="1368"/>
                  </a:lnTo>
                  <a:lnTo>
                    <a:pt x="179" y="1369"/>
                  </a:lnTo>
                  <a:lnTo>
                    <a:pt x="179" y="1370"/>
                  </a:lnTo>
                  <a:lnTo>
                    <a:pt x="179" y="1371"/>
                  </a:lnTo>
                  <a:lnTo>
                    <a:pt x="178" y="1371"/>
                  </a:lnTo>
                  <a:lnTo>
                    <a:pt x="178" y="1372"/>
                  </a:lnTo>
                  <a:lnTo>
                    <a:pt x="177" y="1373"/>
                  </a:lnTo>
                  <a:lnTo>
                    <a:pt x="176" y="1374"/>
                  </a:lnTo>
                  <a:lnTo>
                    <a:pt x="175" y="1376"/>
                  </a:lnTo>
                  <a:lnTo>
                    <a:pt x="174" y="1377"/>
                  </a:lnTo>
                  <a:lnTo>
                    <a:pt x="171" y="1378"/>
                  </a:lnTo>
                  <a:lnTo>
                    <a:pt x="169" y="1379"/>
                  </a:lnTo>
                  <a:lnTo>
                    <a:pt x="169" y="1380"/>
                  </a:lnTo>
                  <a:lnTo>
                    <a:pt x="169" y="1381"/>
                  </a:lnTo>
                  <a:lnTo>
                    <a:pt x="170" y="1381"/>
                  </a:lnTo>
                  <a:lnTo>
                    <a:pt x="171" y="1381"/>
                  </a:lnTo>
                  <a:lnTo>
                    <a:pt x="173" y="1382"/>
                  </a:lnTo>
                  <a:lnTo>
                    <a:pt x="174" y="1384"/>
                  </a:lnTo>
                  <a:lnTo>
                    <a:pt x="175" y="1385"/>
                  </a:lnTo>
                  <a:lnTo>
                    <a:pt x="176" y="1386"/>
                  </a:lnTo>
                  <a:lnTo>
                    <a:pt x="175" y="1388"/>
                  </a:lnTo>
                  <a:lnTo>
                    <a:pt x="174" y="1389"/>
                  </a:lnTo>
                  <a:lnTo>
                    <a:pt x="173" y="1389"/>
                  </a:lnTo>
                  <a:lnTo>
                    <a:pt x="171" y="1389"/>
                  </a:lnTo>
                  <a:lnTo>
                    <a:pt x="171" y="1390"/>
                  </a:lnTo>
                  <a:lnTo>
                    <a:pt x="170" y="1392"/>
                  </a:lnTo>
                  <a:lnTo>
                    <a:pt x="171" y="1393"/>
                  </a:lnTo>
                  <a:lnTo>
                    <a:pt x="173" y="1394"/>
                  </a:lnTo>
                  <a:lnTo>
                    <a:pt x="174" y="1394"/>
                  </a:lnTo>
                  <a:lnTo>
                    <a:pt x="175" y="1395"/>
                  </a:lnTo>
                  <a:lnTo>
                    <a:pt x="175" y="1396"/>
                  </a:lnTo>
                  <a:lnTo>
                    <a:pt x="174" y="1397"/>
                  </a:lnTo>
                  <a:lnTo>
                    <a:pt x="174" y="1400"/>
                  </a:lnTo>
                  <a:lnTo>
                    <a:pt x="174" y="1401"/>
                  </a:lnTo>
                  <a:lnTo>
                    <a:pt x="174" y="1402"/>
                  </a:lnTo>
                  <a:lnTo>
                    <a:pt x="173" y="1403"/>
                  </a:lnTo>
                  <a:lnTo>
                    <a:pt x="173" y="1404"/>
                  </a:lnTo>
                  <a:lnTo>
                    <a:pt x="174" y="1405"/>
                  </a:lnTo>
                  <a:lnTo>
                    <a:pt x="174" y="1406"/>
                  </a:lnTo>
                  <a:lnTo>
                    <a:pt x="174" y="1408"/>
                  </a:lnTo>
                  <a:lnTo>
                    <a:pt x="173" y="1410"/>
                  </a:lnTo>
                  <a:lnTo>
                    <a:pt x="173" y="1411"/>
                  </a:lnTo>
                  <a:lnTo>
                    <a:pt x="174" y="1412"/>
                  </a:lnTo>
                  <a:lnTo>
                    <a:pt x="174" y="1413"/>
                  </a:lnTo>
                  <a:lnTo>
                    <a:pt x="174" y="1414"/>
                  </a:lnTo>
                  <a:lnTo>
                    <a:pt x="173" y="1416"/>
                  </a:lnTo>
                  <a:lnTo>
                    <a:pt x="171" y="1417"/>
                  </a:lnTo>
                  <a:lnTo>
                    <a:pt x="171" y="1419"/>
                  </a:lnTo>
                  <a:lnTo>
                    <a:pt x="173" y="1420"/>
                  </a:lnTo>
                  <a:lnTo>
                    <a:pt x="174" y="1421"/>
                  </a:lnTo>
                  <a:lnTo>
                    <a:pt x="175" y="1421"/>
                  </a:lnTo>
                  <a:lnTo>
                    <a:pt x="177" y="1424"/>
                  </a:lnTo>
                  <a:lnTo>
                    <a:pt x="177" y="1425"/>
                  </a:lnTo>
                  <a:lnTo>
                    <a:pt x="178" y="1426"/>
                  </a:lnTo>
                  <a:lnTo>
                    <a:pt x="178" y="1427"/>
                  </a:lnTo>
                  <a:lnTo>
                    <a:pt x="178" y="1428"/>
                  </a:lnTo>
                  <a:lnTo>
                    <a:pt x="178" y="1430"/>
                  </a:lnTo>
                  <a:lnTo>
                    <a:pt x="178" y="1432"/>
                  </a:lnTo>
                  <a:lnTo>
                    <a:pt x="176" y="1433"/>
                  </a:lnTo>
                  <a:lnTo>
                    <a:pt x="176" y="1434"/>
                  </a:lnTo>
                  <a:lnTo>
                    <a:pt x="175" y="1435"/>
                  </a:lnTo>
                  <a:lnTo>
                    <a:pt x="175" y="1436"/>
                  </a:lnTo>
                  <a:lnTo>
                    <a:pt x="176" y="1437"/>
                  </a:lnTo>
                  <a:lnTo>
                    <a:pt x="177" y="1440"/>
                  </a:lnTo>
                  <a:lnTo>
                    <a:pt x="178" y="1441"/>
                  </a:lnTo>
                  <a:lnTo>
                    <a:pt x="178" y="1442"/>
                  </a:lnTo>
                  <a:lnTo>
                    <a:pt x="179" y="1443"/>
                  </a:lnTo>
                  <a:lnTo>
                    <a:pt x="181" y="1444"/>
                  </a:lnTo>
                  <a:lnTo>
                    <a:pt x="182" y="1445"/>
                  </a:lnTo>
                  <a:lnTo>
                    <a:pt x="182" y="1446"/>
                  </a:lnTo>
                  <a:lnTo>
                    <a:pt x="183" y="1448"/>
                  </a:lnTo>
                  <a:lnTo>
                    <a:pt x="184" y="1449"/>
                  </a:lnTo>
                  <a:lnTo>
                    <a:pt x="184" y="1450"/>
                  </a:lnTo>
                  <a:lnTo>
                    <a:pt x="183" y="1452"/>
                  </a:lnTo>
                  <a:lnTo>
                    <a:pt x="183" y="1454"/>
                  </a:lnTo>
                  <a:lnTo>
                    <a:pt x="183" y="1456"/>
                  </a:lnTo>
                  <a:lnTo>
                    <a:pt x="182" y="1458"/>
                  </a:lnTo>
                  <a:lnTo>
                    <a:pt x="182" y="1460"/>
                  </a:lnTo>
                  <a:lnTo>
                    <a:pt x="182" y="1461"/>
                  </a:lnTo>
                  <a:lnTo>
                    <a:pt x="182" y="1462"/>
                  </a:lnTo>
                  <a:lnTo>
                    <a:pt x="182" y="1465"/>
                  </a:lnTo>
                  <a:lnTo>
                    <a:pt x="182" y="1467"/>
                  </a:lnTo>
                  <a:lnTo>
                    <a:pt x="182" y="1468"/>
                  </a:lnTo>
                  <a:lnTo>
                    <a:pt x="183" y="1470"/>
                  </a:lnTo>
                  <a:lnTo>
                    <a:pt x="185" y="1474"/>
                  </a:lnTo>
                  <a:lnTo>
                    <a:pt x="186" y="1476"/>
                  </a:lnTo>
                  <a:lnTo>
                    <a:pt x="187" y="1478"/>
                  </a:lnTo>
                  <a:lnTo>
                    <a:pt x="187" y="1480"/>
                  </a:lnTo>
                  <a:lnTo>
                    <a:pt x="189" y="1482"/>
                  </a:lnTo>
                  <a:lnTo>
                    <a:pt x="187" y="1486"/>
                  </a:lnTo>
                  <a:lnTo>
                    <a:pt x="187" y="1489"/>
                  </a:lnTo>
                  <a:lnTo>
                    <a:pt x="189" y="1490"/>
                  </a:lnTo>
                  <a:lnTo>
                    <a:pt x="189" y="1492"/>
                  </a:lnTo>
                  <a:lnTo>
                    <a:pt x="189" y="1493"/>
                  </a:lnTo>
                  <a:lnTo>
                    <a:pt x="190" y="1494"/>
                  </a:lnTo>
                  <a:lnTo>
                    <a:pt x="191" y="1496"/>
                  </a:lnTo>
                  <a:lnTo>
                    <a:pt x="192" y="1497"/>
                  </a:lnTo>
                  <a:lnTo>
                    <a:pt x="193" y="1498"/>
                  </a:lnTo>
                  <a:lnTo>
                    <a:pt x="193" y="1499"/>
                  </a:lnTo>
                  <a:lnTo>
                    <a:pt x="193" y="1500"/>
                  </a:lnTo>
                  <a:lnTo>
                    <a:pt x="192" y="1502"/>
                  </a:lnTo>
                  <a:lnTo>
                    <a:pt x="190" y="1504"/>
                  </a:lnTo>
                  <a:lnTo>
                    <a:pt x="189" y="1504"/>
                  </a:lnTo>
                  <a:lnTo>
                    <a:pt x="189" y="1506"/>
                  </a:lnTo>
                  <a:lnTo>
                    <a:pt x="189" y="1508"/>
                  </a:lnTo>
                  <a:lnTo>
                    <a:pt x="191" y="1509"/>
                  </a:lnTo>
                  <a:lnTo>
                    <a:pt x="192" y="1509"/>
                  </a:lnTo>
                  <a:lnTo>
                    <a:pt x="192" y="1510"/>
                  </a:lnTo>
                  <a:lnTo>
                    <a:pt x="193" y="1512"/>
                  </a:lnTo>
                  <a:lnTo>
                    <a:pt x="193" y="1513"/>
                  </a:lnTo>
                  <a:lnTo>
                    <a:pt x="193" y="1514"/>
                  </a:lnTo>
                  <a:lnTo>
                    <a:pt x="192" y="1514"/>
                  </a:lnTo>
                  <a:lnTo>
                    <a:pt x="191" y="1514"/>
                  </a:lnTo>
                  <a:lnTo>
                    <a:pt x="190" y="1514"/>
                  </a:lnTo>
                  <a:lnTo>
                    <a:pt x="187" y="1514"/>
                  </a:lnTo>
                  <a:lnTo>
                    <a:pt x="186" y="1514"/>
                  </a:lnTo>
                  <a:lnTo>
                    <a:pt x="186" y="1515"/>
                  </a:lnTo>
                  <a:lnTo>
                    <a:pt x="186" y="1516"/>
                  </a:lnTo>
                  <a:lnTo>
                    <a:pt x="185" y="1518"/>
                  </a:lnTo>
                  <a:lnTo>
                    <a:pt x="185" y="1521"/>
                  </a:lnTo>
                  <a:lnTo>
                    <a:pt x="185" y="1522"/>
                  </a:lnTo>
                  <a:lnTo>
                    <a:pt x="185" y="1526"/>
                  </a:lnTo>
                  <a:lnTo>
                    <a:pt x="186" y="1529"/>
                  </a:lnTo>
                  <a:lnTo>
                    <a:pt x="186" y="1531"/>
                  </a:lnTo>
                  <a:lnTo>
                    <a:pt x="186" y="1533"/>
                  </a:lnTo>
                  <a:lnTo>
                    <a:pt x="187" y="1537"/>
                  </a:lnTo>
                  <a:lnTo>
                    <a:pt x="189" y="1538"/>
                  </a:lnTo>
                  <a:lnTo>
                    <a:pt x="190" y="1540"/>
                  </a:lnTo>
                  <a:lnTo>
                    <a:pt x="190" y="1544"/>
                  </a:lnTo>
                  <a:lnTo>
                    <a:pt x="191" y="1545"/>
                  </a:lnTo>
                  <a:lnTo>
                    <a:pt x="191" y="1546"/>
                  </a:lnTo>
                  <a:lnTo>
                    <a:pt x="192" y="1548"/>
                  </a:lnTo>
                  <a:lnTo>
                    <a:pt x="192" y="1552"/>
                  </a:lnTo>
                  <a:lnTo>
                    <a:pt x="193" y="1553"/>
                  </a:lnTo>
                  <a:lnTo>
                    <a:pt x="194" y="1555"/>
                  </a:lnTo>
                  <a:lnTo>
                    <a:pt x="195" y="1556"/>
                  </a:lnTo>
                  <a:lnTo>
                    <a:pt x="195" y="1557"/>
                  </a:lnTo>
                  <a:lnTo>
                    <a:pt x="197" y="1562"/>
                  </a:lnTo>
                  <a:lnTo>
                    <a:pt x="197" y="1563"/>
                  </a:lnTo>
                  <a:lnTo>
                    <a:pt x="198" y="1566"/>
                  </a:lnTo>
                  <a:lnTo>
                    <a:pt x="198" y="1568"/>
                  </a:lnTo>
                  <a:lnTo>
                    <a:pt x="200" y="1571"/>
                  </a:lnTo>
                  <a:lnTo>
                    <a:pt x="202" y="1573"/>
                  </a:lnTo>
                  <a:lnTo>
                    <a:pt x="203" y="1574"/>
                  </a:lnTo>
                  <a:lnTo>
                    <a:pt x="205" y="1577"/>
                  </a:lnTo>
                  <a:lnTo>
                    <a:pt x="206" y="1584"/>
                  </a:lnTo>
                  <a:lnTo>
                    <a:pt x="206" y="1586"/>
                  </a:lnTo>
                  <a:lnTo>
                    <a:pt x="207" y="1587"/>
                  </a:lnTo>
                  <a:lnTo>
                    <a:pt x="209" y="1594"/>
                  </a:lnTo>
                  <a:lnTo>
                    <a:pt x="210" y="1596"/>
                  </a:lnTo>
                  <a:lnTo>
                    <a:pt x="210" y="1598"/>
                  </a:lnTo>
                  <a:lnTo>
                    <a:pt x="215" y="1608"/>
                  </a:lnTo>
                  <a:lnTo>
                    <a:pt x="215" y="1611"/>
                  </a:lnTo>
                  <a:lnTo>
                    <a:pt x="216" y="1617"/>
                  </a:lnTo>
                  <a:lnTo>
                    <a:pt x="216" y="1619"/>
                  </a:lnTo>
                  <a:lnTo>
                    <a:pt x="216" y="1620"/>
                  </a:lnTo>
                  <a:lnTo>
                    <a:pt x="217" y="1621"/>
                  </a:lnTo>
                  <a:lnTo>
                    <a:pt x="217" y="1622"/>
                  </a:lnTo>
                  <a:lnTo>
                    <a:pt x="218" y="1625"/>
                  </a:lnTo>
                  <a:lnTo>
                    <a:pt x="219" y="1626"/>
                  </a:lnTo>
                  <a:lnTo>
                    <a:pt x="219" y="1627"/>
                  </a:lnTo>
                  <a:lnTo>
                    <a:pt x="221" y="1629"/>
                  </a:lnTo>
                  <a:lnTo>
                    <a:pt x="222" y="1632"/>
                  </a:lnTo>
                  <a:lnTo>
                    <a:pt x="222" y="1633"/>
                  </a:lnTo>
                  <a:lnTo>
                    <a:pt x="222" y="1635"/>
                  </a:lnTo>
                  <a:lnTo>
                    <a:pt x="222" y="1636"/>
                  </a:lnTo>
                  <a:lnTo>
                    <a:pt x="222" y="1637"/>
                  </a:lnTo>
                  <a:lnTo>
                    <a:pt x="223" y="1640"/>
                  </a:lnTo>
                  <a:lnTo>
                    <a:pt x="222" y="1643"/>
                  </a:lnTo>
                  <a:lnTo>
                    <a:pt x="222" y="1645"/>
                  </a:lnTo>
                  <a:lnTo>
                    <a:pt x="222" y="1648"/>
                  </a:lnTo>
                  <a:lnTo>
                    <a:pt x="221" y="1649"/>
                  </a:lnTo>
                  <a:lnTo>
                    <a:pt x="221" y="1650"/>
                  </a:lnTo>
                  <a:lnTo>
                    <a:pt x="221" y="1651"/>
                  </a:lnTo>
                  <a:lnTo>
                    <a:pt x="221" y="1652"/>
                  </a:lnTo>
                  <a:lnTo>
                    <a:pt x="221" y="1654"/>
                  </a:lnTo>
                  <a:lnTo>
                    <a:pt x="221" y="1656"/>
                  </a:lnTo>
                  <a:lnTo>
                    <a:pt x="221" y="1657"/>
                  </a:lnTo>
                  <a:lnTo>
                    <a:pt x="221" y="1658"/>
                  </a:lnTo>
                  <a:lnTo>
                    <a:pt x="222" y="1660"/>
                  </a:lnTo>
                  <a:lnTo>
                    <a:pt x="223" y="1661"/>
                  </a:lnTo>
                  <a:lnTo>
                    <a:pt x="224" y="1661"/>
                  </a:lnTo>
                  <a:lnTo>
                    <a:pt x="225" y="1662"/>
                  </a:lnTo>
                  <a:lnTo>
                    <a:pt x="227" y="1664"/>
                  </a:lnTo>
                  <a:lnTo>
                    <a:pt x="227" y="1665"/>
                  </a:lnTo>
                  <a:lnTo>
                    <a:pt x="229" y="1667"/>
                  </a:lnTo>
                  <a:lnTo>
                    <a:pt x="230" y="1668"/>
                  </a:lnTo>
                  <a:lnTo>
                    <a:pt x="230" y="1669"/>
                  </a:lnTo>
                  <a:lnTo>
                    <a:pt x="230" y="1672"/>
                  </a:lnTo>
                  <a:lnTo>
                    <a:pt x="230" y="1673"/>
                  </a:lnTo>
                  <a:lnTo>
                    <a:pt x="230" y="1674"/>
                  </a:lnTo>
                  <a:lnTo>
                    <a:pt x="230" y="1675"/>
                  </a:lnTo>
                  <a:lnTo>
                    <a:pt x="230" y="1676"/>
                  </a:lnTo>
                  <a:lnTo>
                    <a:pt x="230" y="1678"/>
                  </a:lnTo>
                  <a:lnTo>
                    <a:pt x="231" y="1680"/>
                  </a:lnTo>
                  <a:lnTo>
                    <a:pt x="232" y="1681"/>
                  </a:lnTo>
                  <a:lnTo>
                    <a:pt x="233" y="1681"/>
                  </a:lnTo>
                  <a:lnTo>
                    <a:pt x="234" y="1682"/>
                  </a:lnTo>
                  <a:lnTo>
                    <a:pt x="235" y="1683"/>
                  </a:lnTo>
                  <a:lnTo>
                    <a:pt x="237" y="1683"/>
                  </a:lnTo>
                  <a:lnTo>
                    <a:pt x="239" y="1684"/>
                  </a:lnTo>
                  <a:lnTo>
                    <a:pt x="240" y="1684"/>
                  </a:lnTo>
                  <a:lnTo>
                    <a:pt x="242" y="1685"/>
                  </a:lnTo>
                  <a:lnTo>
                    <a:pt x="243" y="1685"/>
                  </a:lnTo>
                  <a:lnTo>
                    <a:pt x="246" y="1686"/>
                  </a:lnTo>
                  <a:lnTo>
                    <a:pt x="247" y="1686"/>
                  </a:lnTo>
                  <a:lnTo>
                    <a:pt x="250" y="1690"/>
                  </a:lnTo>
                  <a:lnTo>
                    <a:pt x="253" y="1691"/>
                  </a:lnTo>
                  <a:lnTo>
                    <a:pt x="255" y="1692"/>
                  </a:lnTo>
                  <a:lnTo>
                    <a:pt x="256" y="1692"/>
                  </a:lnTo>
                  <a:lnTo>
                    <a:pt x="258" y="1693"/>
                  </a:lnTo>
                  <a:lnTo>
                    <a:pt x="261" y="1694"/>
                  </a:lnTo>
                  <a:lnTo>
                    <a:pt x="262" y="1696"/>
                  </a:lnTo>
                  <a:lnTo>
                    <a:pt x="263" y="1697"/>
                  </a:lnTo>
                  <a:lnTo>
                    <a:pt x="263" y="1698"/>
                  </a:lnTo>
                  <a:lnTo>
                    <a:pt x="263" y="1699"/>
                  </a:lnTo>
                  <a:lnTo>
                    <a:pt x="263" y="1700"/>
                  </a:lnTo>
                  <a:lnTo>
                    <a:pt x="263" y="1701"/>
                  </a:lnTo>
                  <a:lnTo>
                    <a:pt x="262" y="1701"/>
                  </a:lnTo>
                  <a:lnTo>
                    <a:pt x="261" y="1704"/>
                  </a:lnTo>
                  <a:lnTo>
                    <a:pt x="261" y="1705"/>
                  </a:lnTo>
                  <a:lnTo>
                    <a:pt x="262" y="1706"/>
                  </a:lnTo>
                  <a:lnTo>
                    <a:pt x="263" y="1706"/>
                  </a:lnTo>
                  <a:lnTo>
                    <a:pt x="264" y="1707"/>
                  </a:lnTo>
                  <a:lnTo>
                    <a:pt x="265" y="1708"/>
                  </a:lnTo>
                  <a:lnTo>
                    <a:pt x="266" y="1709"/>
                  </a:lnTo>
                  <a:lnTo>
                    <a:pt x="266" y="1710"/>
                  </a:lnTo>
                  <a:lnTo>
                    <a:pt x="267" y="1712"/>
                  </a:lnTo>
                  <a:lnTo>
                    <a:pt x="267" y="1713"/>
                  </a:lnTo>
                  <a:lnTo>
                    <a:pt x="267" y="1714"/>
                  </a:lnTo>
                  <a:lnTo>
                    <a:pt x="267" y="1715"/>
                  </a:lnTo>
                  <a:lnTo>
                    <a:pt x="267" y="1716"/>
                  </a:lnTo>
                  <a:lnTo>
                    <a:pt x="267" y="1718"/>
                  </a:lnTo>
                  <a:lnTo>
                    <a:pt x="269" y="1720"/>
                  </a:lnTo>
                  <a:lnTo>
                    <a:pt x="270" y="1721"/>
                  </a:lnTo>
                  <a:lnTo>
                    <a:pt x="271" y="1722"/>
                  </a:lnTo>
                  <a:lnTo>
                    <a:pt x="272" y="1723"/>
                  </a:lnTo>
                  <a:lnTo>
                    <a:pt x="273" y="1724"/>
                  </a:lnTo>
                  <a:lnTo>
                    <a:pt x="273" y="1725"/>
                  </a:lnTo>
                  <a:lnTo>
                    <a:pt x="273" y="1728"/>
                  </a:lnTo>
                  <a:lnTo>
                    <a:pt x="274" y="1729"/>
                  </a:lnTo>
                  <a:lnTo>
                    <a:pt x="274" y="1730"/>
                  </a:lnTo>
                  <a:lnTo>
                    <a:pt x="274" y="1731"/>
                  </a:lnTo>
                  <a:lnTo>
                    <a:pt x="274" y="1732"/>
                  </a:lnTo>
                  <a:lnTo>
                    <a:pt x="273" y="1733"/>
                  </a:lnTo>
                  <a:lnTo>
                    <a:pt x="273" y="1734"/>
                  </a:lnTo>
                  <a:lnTo>
                    <a:pt x="273" y="1736"/>
                  </a:lnTo>
                  <a:lnTo>
                    <a:pt x="273" y="1737"/>
                  </a:lnTo>
                  <a:lnTo>
                    <a:pt x="275" y="1738"/>
                  </a:lnTo>
                  <a:lnTo>
                    <a:pt x="277" y="1739"/>
                  </a:lnTo>
                  <a:lnTo>
                    <a:pt x="279" y="1740"/>
                  </a:lnTo>
                  <a:lnTo>
                    <a:pt x="280" y="1741"/>
                  </a:lnTo>
                  <a:lnTo>
                    <a:pt x="281" y="1742"/>
                  </a:lnTo>
                  <a:lnTo>
                    <a:pt x="282" y="1744"/>
                  </a:lnTo>
                  <a:lnTo>
                    <a:pt x="283" y="1745"/>
                  </a:lnTo>
                  <a:lnTo>
                    <a:pt x="285" y="1746"/>
                  </a:lnTo>
                  <a:lnTo>
                    <a:pt x="285" y="1747"/>
                  </a:lnTo>
                  <a:lnTo>
                    <a:pt x="286" y="1747"/>
                  </a:lnTo>
                  <a:lnTo>
                    <a:pt x="287" y="1747"/>
                  </a:lnTo>
                  <a:lnTo>
                    <a:pt x="288" y="1747"/>
                  </a:lnTo>
                  <a:lnTo>
                    <a:pt x="289" y="1747"/>
                  </a:lnTo>
                  <a:lnTo>
                    <a:pt x="290" y="1746"/>
                  </a:lnTo>
                  <a:lnTo>
                    <a:pt x="291" y="1746"/>
                  </a:lnTo>
                  <a:lnTo>
                    <a:pt x="293" y="1745"/>
                  </a:lnTo>
                  <a:lnTo>
                    <a:pt x="294" y="1744"/>
                  </a:lnTo>
                  <a:lnTo>
                    <a:pt x="295" y="1744"/>
                  </a:lnTo>
                  <a:lnTo>
                    <a:pt x="296" y="1744"/>
                  </a:lnTo>
                  <a:lnTo>
                    <a:pt x="297" y="1744"/>
                  </a:lnTo>
                  <a:lnTo>
                    <a:pt x="298" y="1742"/>
                  </a:lnTo>
                  <a:lnTo>
                    <a:pt x="299" y="1742"/>
                  </a:lnTo>
                  <a:lnTo>
                    <a:pt x="299" y="1744"/>
                  </a:lnTo>
                  <a:lnTo>
                    <a:pt x="301" y="1744"/>
                  </a:lnTo>
                  <a:lnTo>
                    <a:pt x="302" y="1744"/>
                  </a:lnTo>
                  <a:lnTo>
                    <a:pt x="303" y="1744"/>
                  </a:lnTo>
                  <a:lnTo>
                    <a:pt x="304" y="1744"/>
                  </a:lnTo>
                  <a:lnTo>
                    <a:pt x="305" y="1742"/>
                  </a:lnTo>
                  <a:lnTo>
                    <a:pt x="306" y="1741"/>
                  </a:lnTo>
                  <a:lnTo>
                    <a:pt x="307" y="1741"/>
                  </a:lnTo>
                  <a:lnTo>
                    <a:pt x="307" y="1740"/>
                  </a:lnTo>
                  <a:lnTo>
                    <a:pt x="309" y="1740"/>
                  </a:lnTo>
                  <a:lnTo>
                    <a:pt x="310" y="1739"/>
                  </a:lnTo>
                  <a:lnTo>
                    <a:pt x="311" y="1738"/>
                  </a:lnTo>
                  <a:lnTo>
                    <a:pt x="313" y="1738"/>
                  </a:lnTo>
                  <a:lnTo>
                    <a:pt x="314" y="1738"/>
                  </a:lnTo>
                  <a:lnTo>
                    <a:pt x="315" y="1737"/>
                  </a:lnTo>
                  <a:lnTo>
                    <a:pt x="318" y="1737"/>
                  </a:lnTo>
                  <a:lnTo>
                    <a:pt x="319" y="1736"/>
                  </a:lnTo>
                  <a:lnTo>
                    <a:pt x="320" y="1734"/>
                  </a:lnTo>
                  <a:lnTo>
                    <a:pt x="322" y="1734"/>
                  </a:lnTo>
                  <a:lnTo>
                    <a:pt x="322" y="1733"/>
                  </a:lnTo>
                  <a:lnTo>
                    <a:pt x="323" y="1731"/>
                  </a:lnTo>
                  <a:lnTo>
                    <a:pt x="325" y="1730"/>
                  </a:lnTo>
                  <a:lnTo>
                    <a:pt x="325" y="1729"/>
                  </a:lnTo>
                  <a:lnTo>
                    <a:pt x="325" y="1728"/>
                  </a:lnTo>
                  <a:lnTo>
                    <a:pt x="326" y="1728"/>
                  </a:lnTo>
                  <a:lnTo>
                    <a:pt x="326" y="1726"/>
                  </a:lnTo>
                  <a:lnTo>
                    <a:pt x="326" y="1725"/>
                  </a:lnTo>
                  <a:lnTo>
                    <a:pt x="327" y="1724"/>
                  </a:lnTo>
                  <a:lnTo>
                    <a:pt x="328" y="1724"/>
                  </a:lnTo>
                  <a:lnTo>
                    <a:pt x="329" y="1724"/>
                  </a:lnTo>
                  <a:lnTo>
                    <a:pt x="330" y="1724"/>
                  </a:lnTo>
                  <a:lnTo>
                    <a:pt x="331" y="1724"/>
                  </a:lnTo>
                  <a:lnTo>
                    <a:pt x="333" y="1725"/>
                  </a:lnTo>
                  <a:lnTo>
                    <a:pt x="333" y="1726"/>
                  </a:lnTo>
                  <a:lnTo>
                    <a:pt x="334" y="1728"/>
                  </a:lnTo>
                  <a:lnTo>
                    <a:pt x="334" y="1729"/>
                  </a:lnTo>
                  <a:lnTo>
                    <a:pt x="335" y="1729"/>
                  </a:lnTo>
                  <a:lnTo>
                    <a:pt x="335" y="1730"/>
                  </a:lnTo>
                  <a:lnTo>
                    <a:pt x="336" y="1731"/>
                  </a:lnTo>
                  <a:lnTo>
                    <a:pt x="337" y="1731"/>
                  </a:lnTo>
                  <a:lnTo>
                    <a:pt x="337" y="1732"/>
                  </a:lnTo>
                  <a:lnTo>
                    <a:pt x="338" y="1732"/>
                  </a:lnTo>
                  <a:lnTo>
                    <a:pt x="338" y="1733"/>
                  </a:lnTo>
                  <a:lnTo>
                    <a:pt x="339" y="1734"/>
                  </a:lnTo>
                  <a:lnTo>
                    <a:pt x="339" y="1736"/>
                  </a:lnTo>
                  <a:lnTo>
                    <a:pt x="341" y="1736"/>
                  </a:lnTo>
                  <a:lnTo>
                    <a:pt x="342" y="1737"/>
                  </a:lnTo>
                  <a:lnTo>
                    <a:pt x="342" y="1738"/>
                  </a:lnTo>
                  <a:lnTo>
                    <a:pt x="344" y="1739"/>
                  </a:lnTo>
                  <a:lnTo>
                    <a:pt x="345" y="1739"/>
                  </a:lnTo>
                  <a:lnTo>
                    <a:pt x="346" y="1739"/>
                  </a:lnTo>
                  <a:lnTo>
                    <a:pt x="350" y="1739"/>
                  </a:lnTo>
                  <a:lnTo>
                    <a:pt x="351" y="1741"/>
                  </a:lnTo>
                  <a:lnTo>
                    <a:pt x="352" y="1742"/>
                  </a:lnTo>
                  <a:lnTo>
                    <a:pt x="353" y="1744"/>
                  </a:lnTo>
                  <a:lnTo>
                    <a:pt x="353" y="1745"/>
                  </a:lnTo>
                  <a:lnTo>
                    <a:pt x="354" y="1746"/>
                  </a:lnTo>
                  <a:lnTo>
                    <a:pt x="355" y="1748"/>
                  </a:lnTo>
                  <a:lnTo>
                    <a:pt x="357" y="1748"/>
                  </a:lnTo>
                  <a:lnTo>
                    <a:pt x="358" y="1749"/>
                  </a:lnTo>
                  <a:lnTo>
                    <a:pt x="358" y="1750"/>
                  </a:lnTo>
                  <a:lnTo>
                    <a:pt x="359" y="1752"/>
                  </a:lnTo>
                  <a:lnTo>
                    <a:pt x="359" y="1753"/>
                  </a:lnTo>
                  <a:lnTo>
                    <a:pt x="359" y="1755"/>
                  </a:lnTo>
                  <a:lnTo>
                    <a:pt x="359" y="1756"/>
                  </a:lnTo>
                  <a:lnTo>
                    <a:pt x="359" y="1758"/>
                  </a:lnTo>
                  <a:lnTo>
                    <a:pt x="360" y="1758"/>
                  </a:lnTo>
                  <a:lnTo>
                    <a:pt x="360" y="1760"/>
                  </a:lnTo>
                  <a:lnTo>
                    <a:pt x="360" y="1762"/>
                  </a:lnTo>
                  <a:lnTo>
                    <a:pt x="360" y="1764"/>
                  </a:lnTo>
                  <a:lnTo>
                    <a:pt x="361" y="1764"/>
                  </a:lnTo>
                  <a:lnTo>
                    <a:pt x="361" y="1765"/>
                  </a:lnTo>
                  <a:lnTo>
                    <a:pt x="362" y="1766"/>
                  </a:lnTo>
                  <a:lnTo>
                    <a:pt x="362" y="1768"/>
                  </a:lnTo>
                  <a:lnTo>
                    <a:pt x="362" y="1769"/>
                  </a:lnTo>
                  <a:lnTo>
                    <a:pt x="363" y="1769"/>
                  </a:lnTo>
                  <a:lnTo>
                    <a:pt x="365" y="1770"/>
                  </a:lnTo>
                  <a:lnTo>
                    <a:pt x="365" y="1772"/>
                  </a:lnTo>
                  <a:lnTo>
                    <a:pt x="366" y="1772"/>
                  </a:lnTo>
                  <a:lnTo>
                    <a:pt x="367" y="1772"/>
                  </a:lnTo>
                  <a:lnTo>
                    <a:pt x="368" y="1773"/>
                  </a:lnTo>
                  <a:lnTo>
                    <a:pt x="370" y="1773"/>
                  </a:lnTo>
                  <a:lnTo>
                    <a:pt x="373" y="1773"/>
                  </a:lnTo>
                  <a:lnTo>
                    <a:pt x="374" y="1773"/>
                  </a:lnTo>
                  <a:lnTo>
                    <a:pt x="375" y="1773"/>
                  </a:lnTo>
                  <a:lnTo>
                    <a:pt x="376" y="1773"/>
                  </a:lnTo>
                  <a:lnTo>
                    <a:pt x="377" y="1773"/>
                  </a:lnTo>
                  <a:lnTo>
                    <a:pt x="379" y="1773"/>
                  </a:lnTo>
                  <a:lnTo>
                    <a:pt x="382" y="1772"/>
                  </a:lnTo>
                  <a:lnTo>
                    <a:pt x="383" y="1771"/>
                  </a:lnTo>
                  <a:lnTo>
                    <a:pt x="384" y="1771"/>
                  </a:lnTo>
                  <a:lnTo>
                    <a:pt x="385" y="1770"/>
                  </a:lnTo>
                  <a:lnTo>
                    <a:pt x="386" y="1770"/>
                  </a:lnTo>
                  <a:lnTo>
                    <a:pt x="389" y="1769"/>
                  </a:lnTo>
                  <a:lnTo>
                    <a:pt x="392" y="1768"/>
                  </a:lnTo>
                  <a:lnTo>
                    <a:pt x="393" y="1768"/>
                  </a:lnTo>
                  <a:lnTo>
                    <a:pt x="394" y="1766"/>
                  </a:lnTo>
                  <a:lnTo>
                    <a:pt x="395" y="1764"/>
                  </a:lnTo>
                  <a:lnTo>
                    <a:pt x="397" y="1764"/>
                  </a:lnTo>
                  <a:lnTo>
                    <a:pt x="397" y="1762"/>
                  </a:lnTo>
                  <a:lnTo>
                    <a:pt x="397" y="1761"/>
                  </a:lnTo>
                  <a:lnTo>
                    <a:pt x="399" y="1758"/>
                  </a:lnTo>
                  <a:lnTo>
                    <a:pt x="399" y="1757"/>
                  </a:lnTo>
                  <a:lnTo>
                    <a:pt x="399" y="1756"/>
                  </a:lnTo>
                  <a:lnTo>
                    <a:pt x="400" y="1755"/>
                  </a:lnTo>
                  <a:lnTo>
                    <a:pt x="400" y="1754"/>
                  </a:lnTo>
                  <a:lnTo>
                    <a:pt x="401" y="1752"/>
                  </a:lnTo>
                  <a:lnTo>
                    <a:pt x="402" y="1750"/>
                  </a:lnTo>
                  <a:lnTo>
                    <a:pt x="403" y="1748"/>
                  </a:lnTo>
                  <a:lnTo>
                    <a:pt x="405" y="1747"/>
                  </a:lnTo>
                  <a:lnTo>
                    <a:pt x="406" y="1746"/>
                  </a:lnTo>
                  <a:lnTo>
                    <a:pt x="408" y="1744"/>
                  </a:lnTo>
                  <a:lnTo>
                    <a:pt x="408" y="1742"/>
                  </a:lnTo>
                  <a:lnTo>
                    <a:pt x="410" y="1741"/>
                  </a:lnTo>
                  <a:lnTo>
                    <a:pt x="411" y="1740"/>
                  </a:lnTo>
                  <a:lnTo>
                    <a:pt x="413" y="1739"/>
                  </a:lnTo>
                  <a:lnTo>
                    <a:pt x="414" y="1739"/>
                  </a:lnTo>
                  <a:lnTo>
                    <a:pt x="415" y="1738"/>
                  </a:lnTo>
                  <a:lnTo>
                    <a:pt x="417" y="1737"/>
                  </a:lnTo>
                  <a:lnTo>
                    <a:pt x="418" y="1737"/>
                  </a:lnTo>
                  <a:lnTo>
                    <a:pt x="419" y="1737"/>
                  </a:lnTo>
                  <a:lnTo>
                    <a:pt x="419" y="1736"/>
                  </a:lnTo>
                  <a:lnTo>
                    <a:pt x="421" y="1736"/>
                  </a:lnTo>
                  <a:lnTo>
                    <a:pt x="422" y="1734"/>
                  </a:lnTo>
                  <a:lnTo>
                    <a:pt x="424" y="1732"/>
                  </a:lnTo>
                  <a:lnTo>
                    <a:pt x="424" y="1731"/>
                  </a:lnTo>
                  <a:lnTo>
                    <a:pt x="425" y="1730"/>
                  </a:lnTo>
                  <a:lnTo>
                    <a:pt x="425" y="1729"/>
                  </a:lnTo>
                  <a:lnTo>
                    <a:pt x="425" y="1728"/>
                  </a:lnTo>
                  <a:lnTo>
                    <a:pt x="426" y="1726"/>
                  </a:lnTo>
                  <a:lnTo>
                    <a:pt x="427" y="1726"/>
                  </a:lnTo>
                  <a:lnTo>
                    <a:pt x="429" y="1726"/>
                  </a:lnTo>
                  <a:lnTo>
                    <a:pt x="429" y="1728"/>
                  </a:lnTo>
                  <a:lnTo>
                    <a:pt x="430" y="1729"/>
                  </a:lnTo>
                  <a:lnTo>
                    <a:pt x="429" y="1730"/>
                  </a:lnTo>
                  <a:lnTo>
                    <a:pt x="430" y="1732"/>
                  </a:lnTo>
                  <a:lnTo>
                    <a:pt x="430" y="1733"/>
                  </a:lnTo>
                  <a:lnTo>
                    <a:pt x="430" y="1734"/>
                  </a:lnTo>
                  <a:lnTo>
                    <a:pt x="430" y="1736"/>
                  </a:lnTo>
                  <a:lnTo>
                    <a:pt x="431" y="1737"/>
                  </a:lnTo>
                  <a:lnTo>
                    <a:pt x="432" y="1738"/>
                  </a:lnTo>
                  <a:lnTo>
                    <a:pt x="433" y="1739"/>
                  </a:lnTo>
                  <a:lnTo>
                    <a:pt x="434" y="1739"/>
                  </a:lnTo>
                  <a:lnTo>
                    <a:pt x="435" y="1740"/>
                  </a:lnTo>
                  <a:lnTo>
                    <a:pt x="437" y="1740"/>
                  </a:lnTo>
                  <a:lnTo>
                    <a:pt x="438" y="1740"/>
                  </a:lnTo>
                  <a:lnTo>
                    <a:pt x="441" y="1739"/>
                  </a:lnTo>
                  <a:lnTo>
                    <a:pt x="443" y="1739"/>
                  </a:lnTo>
                  <a:lnTo>
                    <a:pt x="445" y="1738"/>
                  </a:lnTo>
                  <a:lnTo>
                    <a:pt x="446" y="1738"/>
                  </a:lnTo>
                  <a:lnTo>
                    <a:pt x="448" y="1737"/>
                  </a:lnTo>
                  <a:lnTo>
                    <a:pt x="455" y="1732"/>
                  </a:lnTo>
                  <a:lnTo>
                    <a:pt x="456" y="1731"/>
                  </a:lnTo>
                  <a:lnTo>
                    <a:pt x="458" y="1730"/>
                  </a:lnTo>
                  <a:lnTo>
                    <a:pt x="459" y="1729"/>
                  </a:lnTo>
                  <a:lnTo>
                    <a:pt x="462" y="1729"/>
                  </a:lnTo>
                  <a:lnTo>
                    <a:pt x="463" y="1728"/>
                  </a:lnTo>
                  <a:lnTo>
                    <a:pt x="464" y="1726"/>
                  </a:lnTo>
                  <a:lnTo>
                    <a:pt x="470" y="1721"/>
                  </a:lnTo>
                  <a:lnTo>
                    <a:pt x="471" y="1720"/>
                  </a:lnTo>
                  <a:lnTo>
                    <a:pt x="473" y="1717"/>
                  </a:lnTo>
                  <a:lnTo>
                    <a:pt x="474" y="1716"/>
                  </a:lnTo>
                  <a:lnTo>
                    <a:pt x="475" y="1715"/>
                  </a:lnTo>
                  <a:lnTo>
                    <a:pt x="477" y="1714"/>
                  </a:lnTo>
                  <a:lnTo>
                    <a:pt x="477" y="1713"/>
                  </a:lnTo>
                  <a:lnTo>
                    <a:pt x="477" y="1712"/>
                  </a:lnTo>
                  <a:lnTo>
                    <a:pt x="475" y="1710"/>
                  </a:lnTo>
                  <a:lnTo>
                    <a:pt x="474" y="1710"/>
                  </a:lnTo>
                  <a:lnTo>
                    <a:pt x="473" y="1710"/>
                  </a:lnTo>
                  <a:lnTo>
                    <a:pt x="471" y="1710"/>
                  </a:lnTo>
                  <a:lnTo>
                    <a:pt x="471" y="1709"/>
                  </a:lnTo>
                  <a:lnTo>
                    <a:pt x="470" y="1709"/>
                  </a:lnTo>
                  <a:lnTo>
                    <a:pt x="469" y="1709"/>
                  </a:lnTo>
                  <a:lnTo>
                    <a:pt x="467" y="1710"/>
                  </a:lnTo>
                  <a:lnTo>
                    <a:pt x="465" y="1710"/>
                  </a:lnTo>
                  <a:lnTo>
                    <a:pt x="464" y="1710"/>
                  </a:lnTo>
                  <a:lnTo>
                    <a:pt x="462" y="1710"/>
                  </a:lnTo>
                  <a:lnTo>
                    <a:pt x="461" y="1710"/>
                  </a:lnTo>
                  <a:lnTo>
                    <a:pt x="458" y="1709"/>
                  </a:lnTo>
                  <a:lnTo>
                    <a:pt x="459" y="1707"/>
                  </a:lnTo>
                  <a:lnTo>
                    <a:pt x="461" y="1706"/>
                  </a:lnTo>
                  <a:lnTo>
                    <a:pt x="463" y="1705"/>
                  </a:lnTo>
                  <a:lnTo>
                    <a:pt x="463" y="1704"/>
                  </a:lnTo>
                  <a:lnTo>
                    <a:pt x="464" y="1704"/>
                  </a:lnTo>
                  <a:lnTo>
                    <a:pt x="466" y="1701"/>
                  </a:lnTo>
                  <a:lnTo>
                    <a:pt x="467" y="1699"/>
                  </a:lnTo>
                  <a:lnTo>
                    <a:pt x="470" y="1697"/>
                  </a:lnTo>
                  <a:lnTo>
                    <a:pt x="471" y="1697"/>
                  </a:lnTo>
                  <a:lnTo>
                    <a:pt x="472" y="1696"/>
                  </a:lnTo>
                  <a:lnTo>
                    <a:pt x="474" y="1694"/>
                  </a:lnTo>
                  <a:lnTo>
                    <a:pt x="477" y="1693"/>
                  </a:lnTo>
                  <a:lnTo>
                    <a:pt x="477" y="1692"/>
                  </a:lnTo>
                  <a:lnTo>
                    <a:pt x="481" y="1688"/>
                  </a:lnTo>
                  <a:lnTo>
                    <a:pt x="482" y="1686"/>
                  </a:lnTo>
                  <a:lnTo>
                    <a:pt x="483" y="1685"/>
                  </a:lnTo>
                  <a:lnTo>
                    <a:pt x="483" y="1684"/>
                  </a:lnTo>
                  <a:lnTo>
                    <a:pt x="485" y="1683"/>
                  </a:lnTo>
                  <a:lnTo>
                    <a:pt x="487" y="1680"/>
                  </a:lnTo>
                  <a:lnTo>
                    <a:pt x="487" y="1678"/>
                  </a:lnTo>
                  <a:lnTo>
                    <a:pt x="487" y="1677"/>
                  </a:lnTo>
                  <a:lnTo>
                    <a:pt x="488" y="1675"/>
                  </a:lnTo>
                  <a:lnTo>
                    <a:pt x="489" y="1675"/>
                  </a:lnTo>
                  <a:lnTo>
                    <a:pt x="489" y="1674"/>
                  </a:lnTo>
                  <a:lnTo>
                    <a:pt x="490" y="1672"/>
                  </a:lnTo>
                  <a:lnTo>
                    <a:pt x="491" y="1670"/>
                  </a:lnTo>
                  <a:lnTo>
                    <a:pt x="491" y="1668"/>
                  </a:lnTo>
                  <a:lnTo>
                    <a:pt x="493" y="1666"/>
                  </a:lnTo>
                  <a:lnTo>
                    <a:pt x="494" y="1665"/>
                  </a:lnTo>
                  <a:lnTo>
                    <a:pt x="495" y="1660"/>
                  </a:lnTo>
                  <a:lnTo>
                    <a:pt x="496" y="1660"/>
                  </a:lnTo>
                  <a:lnTo>
                    <a:pt x="496" y="1659"/>
                  </a:lnTo>
                  <a:lnTo>
                    <a:pt x="496" y="1658"/>
                  </a:lnTo>
                  <a:lnTo>
                    <a:pt x="496" y="1657"/>
                  </a:lnTo>
                  <a:lnTo>
                    <a:pt x="496" y="1654"/>
                  </a:lnTo>
                  <a:lnTo>
                    <a:pt x="496" y="1653"/>
                  </a:lnTo>
                  <a:lnTo>
                    <a:pt x="496" y="1652"/>
                  </a:lnTo>
                  <a:lnTo>
                    <a:pt x="495" y="1651"/>
                  </a:lnTo>
                  <a:lnTo>
                    <a:pt x="493" y="1652"/>
                  </a:lnTo>
                  <a:lnTo>
                    <a:pt x="491" y="1652"/>
                  </a:lnTo>
                  <a:lnTo>
                    <a:pt x="490" y="1654"/>
                  </a:lnTo>
                  <a:lnTo>
                    <a:pt x="489" y="1654"/>
                  </a:lnTo>
                  <a:lnTo>
                    <a:pt x="487" y="1656"/>
                  </a:lnTo>
                  <a:lnTo>
                    <a:pt x="486" y="1656"/>
                  </a:lnTo>
                  <a:lnTo>
                    <a:pt x="483" y="1656"/>
                  </a:lnTo>
                  <a:lnTo>
                    <a:pt x="482" y="1656"/>
                  </a:lnTo>
                  <a:lnTo>
                    <a:pt x="481" y="1657"/>
                  </a:lnTo>
                  <a:lnTo>
                    <a:pt x="479" y="1658"/>
                  </a:lnTo>
                  <a:lnTo>
                    <a:pt x="478" y="1658"/>
                  </a:lnTo>
                  <a:lnTo>
                    <a:pt x="477" y="1658"/>
                  </a:lnTo>
                  <a:lnTo>
                    <a:pt x="475" y="1659"/>
                  </a:lnTo>
                  <a:lnTo>
                    <a:pt x="474" y="1659"/>
                  </a:lnTo>
                  <a:lnTo>
                    <a:pt x="472" y="1658"/>
                  </a:lnTo>
                  <a:lnTo>
                    <a:pt x="471" y="1657"/>
                  </a:lnTo>
                  <a:lnTo>
                    <a:pt x="470" y="1656"/>
                  </a:lnTo>
                  <a:lnTo>
                    <a:pt x="470" y="1654"/>
                  </a:lnTo>
                  <a:lnTo>
                    <a:pt x="471" y="1653"/>
                  </a:lnTo>
                  <a:lnTo>
                    <a:pt x="472" y="1651"/>
                  </a:lnTo>
                  <a:lnTo>
                    <a:pt x="474" y="1649"/>
                  </a:lnTo>
                  <a:lnTo>
                    <a:pt x="475" y="1646"/>
                  </a:lnTo>
                  <a:lnTo>
                    <a:pt x="477" y="1645"/>
                  </a:lnTo>
                  <a:lnTo>
                    <a:pt x="478" y="1643"/>
                  </a:lnTo>
                  <a:lnTo>
                    <a:pt x="480" y="1640"/>
                  </a:lnTo>
                  <a:lnTo>
                    <a:pt x="481" y="1640"/>
                  </a:lnTo>
                  <a:lnTo>
                    <a:pt x="482" y="1638"/>
                  </a:lnTo>
                  <a:lnTo>
                    <a:pt x="485" y="1638"/>
                  </a:lnTo>
                  <a:lnTo>
                    <a:pt x="487" y="1638"/>
                  </a:lnTo>
                  <a:lnTo>
                    <a:pt x="490" y="1638"/>
                  </a:lnTo>
                  <a:lnTo>
                    <a:pt x="491" y="1638"/>
                  </a:lnTo>
                  <a:lnTo>
                    <a:pt x="493" y="1638"/>
                  </a:lnTo>
                  <a:lnTo>
                    <a:pt x="495" y="1640"/>
                  </a:lnTo>
                  <a:lnTo>
                    <a:pt x="496" y="1640"/>
                  </a:lnTo>
                  <a:lnTo>
                    <a:pt x="498" y="1640"/>
                  </a:lnTo>
                  <a:lnTo>
                    <a:pt x="499" y="1640"/>
                  </a:lnTo>
                  <a:lnTo>
                    <a:pt x="502" y="1640"/>
                  </a:lnTo>
                  <a:lnTo>
                    <a:pt x="502" y="1638"/>
                  </a:lnTo>
                  <a:lnTo>
                    <a:pt x="503" y="1637"/>
                  </a:lnTo>
                  <a:lnTo>
                    <a:pt x="503" y="1636"/>
                  </a:lnTo>
                  <a:lnTo>
                    <a:pt x="503" y="1634"/>
                  </a:lnTo>
                  <a:lnTo>
                    <a:pt x="502" y="1632"/>
                  </a:lnTo>
                  <a:lnTo>
                    <a:pt x="503" y="1630"/>
                  </a:lnTo>
                  <a:lnTo>
                    <a:pt x="503" y="1629"/>
                  </a:lnTo>
                  <a:lnTo>
                    <a:pt x="503" y="1626"/>
                  </a:lnTo>
                  <a:lnTo>
                    <a:pt x="503" y="1624"/>
                  </a:lnTo>
                  <a:lnTo>
                    <a:pt x="502" y="1620"/>
                  </a:lnTo>
                  <a:lnTo>
                    <a:pt x="502" y="1619"/>
                  </a:lnTo>
                  <a:lnTo>
                    <a:pt x="502" y="1618"/>
                  </a:lnTo>
                  <a:lnTo>
                    <a:pt x="502" y="1617"/>
                  </a:lnTo>
                  <a:lnTo>
                    <a:pt x="501" y="1614"/>
                  </a:lnTo>
                  <a:lnTo>
                    <a:pt x="502" y="1612"/>
                  </a:lnTo>
                  <a:lnTo>
                    <a:pt x="501" y="1610"/>
                  </a:lnTo>
                  <a:lnTo>
                    <a:pt x="501" y="1609"/>
                  </a:lnTo>
                  <a:lnTo>
                    <a:pt x="501" y="1608"/>
                  </a:lnTo>
                  <a:lnTo>
                    <a:pt x="499" y="1605"/>
                  </a:lnTo>
                  <a:lnTo>
                    <a:pt x="498" y="1604"/>
                  </a:lnTo>
                  <a:lnTo>
                    <a:pt x="496" y="1602"/>
                  </a:lnTo>
                  <a:lnTo>
                    <a:pt x="495" y="1601"/>
                  </a:lnTo>
                  <a:lnTo>
                    <a:pt x="495" y="1600"/>
                  </a:lnTo>
                  <a:lnTo>
                    <a:pt x="493" y="1597"/>
                  </a:lnTo>
                  <a:lnTo>
                    <a:pt x="493" y="1596"/>
                  </a:lnTo>
                  <a:lnTo>
                    <a:pt x="490" y="1595"/>
                  </a:lnTo>
                  <a:lnTo>
                    <a:pt x="489" y="1594"/>
                  </a:lnTo>
                  <a:lnTo>
                    <a:pt x="487" y="1594"/>
                  </a:lnTo>
                  <a:lnTo>
                    <a:pt x="486" y="1594"/>
                  </a:lnTo>
                  <a:lnTo>
                    <a:pt x="483" y="1594"/>
                  </a:lnTo>
                  <a:lnTo>
                    <a:pt x="482" y="1594"/>
                  </a:lnTo>
                  <a:lnTo>
                    <a:pt x="481" y="1594"/>
                  </a:lnTo>
                  <a:lnTo>
                    <a:pt x="480" y="1594"/>
                  </a:lnTo>
                  <a:lnTo>
                    <a:pt x="479" y="1593"/>
                  </a:lnTo>
                  <a:lnTo>
                    <a:pt x="478" y="1593"/>
                  </a:lnTo>
                  <a:lnTo>
                    <a:pt x="478" y="1592"/>
                  </a:lnTo>
                  <a:lnTo>
                    <a:pt x="477" y="1590"/>
                  </a:lnTo>
                  <a:lnTo>
                    <a:pt x="477" y="1589"/>
                  </a:lnTo>
                  <a:lnTo>
                    <a:pt x="474" y="1588"/>
                  </a:lnTo>
                  <a:lnTo>
                    <a:pt x="472" y="1587"/>
                  </a:lnTo>
                  <a:lnTo>
                    <a:pt x="470" y="1587"/>
                  </a:lnTo>
                  <a:lnTo>
                    <a:pt x="469" y="1587"/>
                  </a:lnTo>
                  <a:lnTo>
                    <a:pt x="469" y="1588"/>
                  </a:lnTo>
                  <a:lnTo>
                    <a:pt x="467" y="1588"/>
                  </a:lnTo>
                  <a:lnTo>
                    <a:pt x="466" y="1589"/>
                  </a:lnTo>
                  <a:lnTo>
                    <a:pt x="465" y="1590"/>
                  </a:lnTo>
                  <a:lnTo>
                    <a:pt x="464" y="1592"/>
                  </a:lnTo>
                  <a:lnTo>
                    <a:pt x="462" y="1592"/>
                  </a:lnTo>
                  <a:lnTo>
                    <a:pt x="459" y="1592"/>
                  </a:lnTo>
                  <a:lnTo>
                    <a:pt x="456" y="1592"/>
                  </a:lnTo>
                  <a:lnTo>
                    <a:pt x="455" y="1590"/>
                  </a:lnTo>
                  <a:lnTo>
                    <a:pt x="454" y="1589"/>
                  </a:lnTo>
                  <a:lnTo>
                    <a:pt x="453" y="1587"/>
                  </a:lnTo>
                  <a:lnTo>
                    <a:pt x="451" y="1586"/>
                  </a:lnTo>
                  <a:lnTo>
                    <a:pt x="450" y="1584"/>
                  </a:lnTo>
                  <a:lnTo>
                    <a:pt x="450" y="1581"/>
                  </a:lnTo>
                  <a:lnTo>
                    <a:pt x="451" y="1580"/>
                  </a:lnTo>
                  <a:lnTo>
                    <a:pt x="453" y="1578"/>
                  </a:lnTo>
                  <a:lnTo>
                    <a:pt x="454" y="1578"/>
                  </a:lnTo>
                  <a:lnTo>
                    <a:pt x="455" y="1577"/>
                  </a:lnTo>
                  <a:lnTo>
                    <a:pt x="456" y="1576"/>
                  </a:lnTo>
                  <a:lnTo>
                    <a:pt x="457" y="1573"/>
                  </a:lnTo>
                  <a:lnTo>
                    <a:pt x="456" y="1572"/>
                  </a:lnTo>
                  <a:lnTo>
                    <a:pt x="455" y="1570"/>
                  </a:lnTo>
                  <a:lnTo>
                    <a:pt x="455" y="1569"/>
                  </a:lnTo>
                  <a:lnTo>
                    <a:pt x="454" y="1568"/>
                  </a:lnTo>
                  <a:lnTo>
                    <a:pt x="453" y="1566"/>
                  </a:lnTo>
                  <a:lnTo>
                    <a:pt x="454" y="1565"/>
                  </a:lnTo>
                  <a:lnTo>
                    <a:pt x="454" y="1564"/>
                  </a:lnTo>
                  <a:lnTo>
                    <a:pt x="454" y="1562"/>
                  </a:lnTo>
                  <a:lnTo>
                    <a:pt x="455" y="1561"/>
                  </a:lnTo>
                  <a:lnTo>
                    <a:pt x="457" y="1561"/>
                  </a:lnTo>
                  <a:lnTo>
                    <a:pt x="458" y="1561"/>
                  </a:lnTo>
                  <a:lnTo>
                    <a:pt x="459" y="1562"/>
                  </a:lnTo>
                  <a:lnTo>
                    <a:pt x="461" y="1563"/>
                  </a:lnTo>
                  <a:lnTo>
                    <a:pt x="462" y="1564"/>
                  </a:lnTo>
                  <a:lnTo>
                    <a:pt x="463" y="1564"/>
                  </a:lnTo>
                  <a:lnTo>
                    <a:pt x="464" y="1564"/>
                  </a:lnTo>
                  <a:lnTo>
                    <a:pt x="465" y="1564"/>
                  </a:lnTo>
                  <a:lnTo>
                    <a:pt x="466" y="1564"/>
                  </a:lnTo>
                  <a:lnTo>
                    <a:pt x="467" y="1563"/>
                  </a:lnTo>
                  <a:lnTo>
                    <a:pt x="469" y="1562"/>
                  </a:lnTo>
                  <a:lnTo>
                    <a:pt x="469" y="1561"/>
                  </a:lnTo>
                  <a:lnTo>
                    <a:pt x="469" y="1558"/>
                  </a:lnTo>
                  <a:lnTo>
                    <a:pt x="467" y="1557"/>
                  </a:lnTo>
                  <a:lnTo>
                    <a:pt x="466" y="1556"/>
                  </a:lnTo>
                  <a:lnTo>
                    <a:pt x="466" y="1555"/>
                  </a:lnTo>
                  <a:lnTo>
                    <a:pt x="465" y="1554"/>
                  </a:lnTo>
                  <a:lnTo>
                    <a:pt x="464" y="1553"/>
                  </a:lnTo>
                  <a:lnTo>
                    <a:pt x="463" y="1552"/>
                  </a:lnTo>
                  <a:lnTo>
                    <a:pt x="461" y="1549"/>
                  </a:lnTo>
                  <a:lnTo>
                    <a:pt x="461" y="1548"/>
                  </a:lnTo>
                  <a:lnTo>
                    <a:pt x="458" y="1545"/>
                  </a:lnTo>
                  <a:lnTo>
                    <a:pt x="457" y="1544"/>
                  </a:lnTo>
                  <a:lnTo>
                    <a:pt x="456" y="1542"/>
                  </a:lnTo>
                  <a:lnTo>
                    <a:pt x="453" y="1542"/>
                  </a:lnTo>
                  <a:lnTo>
                    <a:pt x="451" y="1542"/>
                  </a:lnTo>
                  <a:lnTo>
                    <a:pt x="450" y="1541"/>
                  </a:lnTo>
                  <a:lnTo>
                    <a:pt x="448" y="1540"/>
                  </a:lnTo>
                  <a:lnTo>
                    <a:pt x="448" y="1538"/>
                  </a:lnTo>
                  <a:lnTo>
                    <a:pt x="448" y="1537"/>
                  </a:lnTo>
                  <a:lnTo>
                    <a:pt x="449" y="1534"/>
                  </a:lnTo>
                  <a:lnTo>
                    <a:pt x="449" y="1533"/>
                  </a:lnTo>
                  <a:lnTo>
                    <a:pt x="450" y="1532"/>
                  </a:lnTo>
                  <a:lnTo>
                    <a:pt x="450" y="1531"/>
                  </a:lnTo>
                  <a:lnTo>
                    <a:pt x="450" y="1530"/>
                  </a:lnTo>
                  <a:lnTo>
                    <a:pt x="449" y="1530"/>
                  </a:lnTo>
                  <a:lnTo>
                    <a:pt x="448" y="1529"/>
                  </a:lnTo>
                  <a:lnTo>
                    <a:pt x="448" y="1528"/>
                  </a:lnTo>
                  <a:lnTo>
                    <a:pt x="447" y="1528"/>
                  </a:lnTo>
                  <a:lnTo>
                    <a:pt x="445" y="1528"/>
                  </a:lnTo>
                  <a:lnTo>
                    <a:pt x="443" y="1528"/>
                  </a:lnTo>
                  <a:lnTo>
                    <a:pt x="442" y="1529"/>
                  </a:lnTo>
                  <a:lnTo>
                    <a:pt x="441" y="1529"/>
                  </a:lnTo>
                  <a:lnTo>
                    <a:pt x="440" y="1529"/>
                  </a:lnTo>
                  <a:lnTo>
                    <a:pt x="439" y="1529"/>
                  </a:lnTo>
                  <a:lnTo>
                    <a:pt x="437" y="1528"/>
                  </a:lnTo>
                  <a:lnTo>
                    <a:pt x="437" y="1526"/>
                  </a:lnTo>
                  <a:lnTo>
                    <a:pt x="438" y="1525"/>
                  </a:lnTo>
                  <a:lnTo>
                    <a:pt x="438" y="1524"/>
                  </a:lnTo>
                  <a:lnTo>
                    <a:pt x="438" y="1523"/>
                  </a:lnTo>
                  <a:lnTo>
                    <a:pt x="439" y="1522"/>
                  </a:lnTo>
                  <a:lnTo>
                    <a:pt x="440" y="1522"/>
                  </a:lnTo>
                  <a:lnTo>
                    <a:pt x="441" y="1521"/>
                  </a:lnTo>
                  <a:lnTo>
                    <a:pt x="442" y="1521"/>
                  </a:lnTo>
                  <a:lnTo>
                    <a:pt x="443" y="1518"/>
                  </a:lnTo>
                  <a:lnTo>
                    <a:pt x="445" y="1517"/>
                  </a:lnTo>
                  <a:lnTo>
                    <a:pt x="446" y="1517"/>
                  </a:lnTo>
                  <a:lnTo>
                    <a:pt x="447" y="1518"/>
                  </a:lnTo>
                  <a:lnTo>
                    <a:pt x="448" y="1520"/>
                  </a:lnTo>
                  <a:lnTo>
                    <a:pt x="449" y="1520"/>
                  </a:lnTo>
                  <a:lnTo>
                    <a:pt x="450" y="1521"/>
                  </a:lnTo>
                  <a:lnTo>
                    <a:pt x="451" y="1522"/>
                  </a:lnTo>
                  <a:lnTo>
                    <a:pt x="453" y="1523"/>
                  </a:lnTo>
                  <a:lnTo>
                    <a:pt x="454" y="1523"/>
                  </a:lnTo>
                  <a:lnTo>
                    <a:pt x="455" y="1523"/>
                  </a:lnTo>
                  <a:lnTo>
                    <a:pt x="456" y="1522"/>
                  </a:lnTo>
                  <a:lnTo>
                    <a:pt x="457" y="1522"/>
                  </a:lnTo>
                  <a:lnTo>
                    <a:pt x="458" y="1521"/>
                  </a:lnTo>
                  <a:lnTo>
                    <a:pt x="458" y="1520"/>
                  </a:lnTo>
                  <a:lnTo>
                    <a:pt x="458" y="1518"/>
                  </a:lnTo>
                  <a:lnTo>
                    <a:pt x="457" y="1517"/>
                  </a:lnTo>
                  <a:lnTo>
                    <a:pt x="456" y="1516"/>
                  </a:lnTo>
                  <a:lnTo>
                    <a:pt x="457" y="1516"/>
                  </a:lnTo>
                  <a:lnTo>
                    <a:pt x="457" y="1514"/>
                  </a:lnTo>
                  <a:lnTo>
                    <a:pt x="458" y="1513"/>
                  </a:lnTo>
                  <a:lnTo>
                    <a:pt x="461" y="1513"/>
                  </a:lnTo>
                  <a:lnTo>
                    <a:pt x="462" y="1514"/>
                  </a:lnTo>
                  <a:lnTo>
                    <a:pt x="463" y="1514"/>
                  </a:lnTo>
                  <a:lnTo>
                    <a:pt x="464" y="1515"/>
                  </a:lnTo>
                  <a:lnTo>
                    <a:pt x="465" y="1515"/>
                  </a:lnTo>
                  <a:lnTo>
                    <a:pt x="465" y="1516"/>
                  </a:lnTo>
                  <a:lnTo>
                    <a:pt x="466" y="1517"/>
                  </a:lnTo>
                  <a:lnTo>
                    <a:pt x="467" y="1518"/>
                  </a:lnTo>
                  <a:lnTo>
                    <a:pt x="469" y="1520"/>
                  </a:lnTo>
                  <a:lnTo>
                    <a:pt x="470" y="1520"/>
                  </a:lnTo>
                  <a:lnTo>
                    <a:pt x="471" y="1518"/>
                  </a:lnTo>
                  <a:lnTo>
                    <a:pt x="472" y="1516"/>
                  </a:lnTo>
                  <a:lnTo>
                    <a:pt x="473" y="1515"/>
                  </a:lnTo>
                  <a:lnTo>
                    <a:pt x="473" y="1513"/>
                  </a:lnTo>
                  <a:lnTo>
                    <a:pt x="474" y="1512"/>
                  </a:lnTo>
                  <a:lnTo>
                    <a:pt x="475" y="1512"/>
                  </a:lnTo>
                  <a:lnTo>
                    <a:pt x="477" y="1510"/>
                  </a:lnTo>
                  <a:lnTo>
                    <a:pt x="478" y="1508"/>
                  </a:lnTo>
                  <a:lnTo>
                    <a:pt x="479" y="1507"/>
                  </a:lnTo>
                  <a:lnTo>
                    <a:pt x="480" y="1506"/>
                  </a:lnTo>
                  <a:lnTo>
                    <a:pt x="482" y="1505"/>
                  </a:lnTo>
                  <a:lnTo>
                    <a:pt x="483" y="1505"/>
                  </a:lnTo>
                  <a:lnTo>
                    <a:pt x="485" y="1504"/>
                  </a:lnTo>
                  <a:lnTo>
                    <a:pt x="487" y="1502"/>
                  </a:lnTo>
                  <a:lnTo>
                    <a:pt x="488" y="1501"/>
                  </a:lnTo>
                  <a:lnTo>
                    <a:pt x="489" y="1501"/>
                  </a:lnTo>
                  <a:lnTo>
                    <a:pt x="490" y="1498"/>
                  </a:lnTo>
                  <a:lnTo>
                    <a:pt x="490" y="1497"/>
                  </a:lnTo>
                  <a:lnTo>
                    <a:pt x="489" y="1496"/>
                  </a:lnTo>
                  <a:lnTo>
                    <a:pt x="489" y="1494"/>
                  </a:lnTo>
                  <a:lnTo>
                    <a:pt x="489" y="1493"/>
                  </a:lnTo>
                  <a:lnTo>
                    <a:pt x="490" y="1491"/>
                  </a:lnTo>
                  <a:lnTo>
                    <a:pt x="490" y="1489"/>
                  </a:lnTo>
                  <a:lnTo>
                    <a:pt x="490" y="1488"/>
                  </a:lnTo>
                  <a:lnTo>
                    <a:pt x="491" y="1486"/>
                  </a:lnTo>
                  <a:lnTo>
                    <a:pt x="491" y="1485"/>
                  </a:lnTo>
                  <a:lnTo>
                    <a:pt x="493" y="1484"/>
                  </a:lnTo>
                  <a:lnTo>
                    <a:pt x="493" y="1483"/>
                  </a:lnTo>
                  <a:lnTo>
                    <a:pt x="494" y="1482"/>
                  </a:lnTo>
                  <a:lnTo>
                    <a:pt x="495" y="1482"/>
                  </a:lnTo>
                  <a:lnTo>
                    <a:pt x="496" y="1483"/>
                  </a:lnTo>
                  <a:lnTo>
                    <a:pt x="497" y="1483"/>
                  </a:lnTo>
                  <a:lnTo>
                    <a:pt x="497" y="1484"/>
                  </a:lnTo>
                  <a:lnTo>
                    <a:pt x="497" y="1485"/>
                  </a:lnTo>
                  <a:lnTo>
                    <a:pt x="498" y="1486"/>
                  </a:lnTo>
                  <a:lnTo>
                    <a:pt x="498" y="1488"/>
                  </a:lnTo>
                  <a:lnTo>
                    <a:pt x="499" y="1488"/>
                  </a:lnTo>
                  <a:lnTo>
                    <a:pt x="499" y="1489"/>
                  </a:lnTo>
                  <a:lnTo>
                    <a:pt x="501" y="1490"/>
                  </a:lnTo>
                  <a:lnTo>
                    <a:pt x="502" y="1490"/>
                  </a:lnTo>
                  <a:lnTo>
                    <a:pt x="502" y="1491"/>
                  </a:lnTo>
                  <a:lnTo>
                    <a:pt x="503" y="1491"/>
                  </a:lnTo>
                  <a:lnTo>
                    <a:pt x="504" y="1492"/>
                  </a:lnTo>
                  <a:lnTo>
                    <a:pt x="505" y="1492"/>
                  </a:lnTo>
                  <a:lnTo>
                    <a:pt x="507" y="1492"/>
                  </a:lnTo>
                  <a:lnTo>
                    <a:pt x="509" y="1492"/>
                  </a:lnTo>
                  <a:lnTo>
                    <a:pt x="510" y="1492"/>
                  </a:lnTo>
                  <a:lnTo>
                    <a:pt x="512" y="1492"/>
                  </a:lnTo>
                  <a:lnTo>
                    <a:pt x="513" y="1492"/>
                  </a:lnTo>
                  <a:lnTo>
                    <a:pt x="513" y="1493"/>
                  </a:lnTo>
                  <a:lnTo>
                    <a:pt x="514" y="1494"/>
                  </a:lnTo>
                  <a:lnTo>
                    <a:pt x="514" y="1496"/>
                  </a:lnTo>
                  <a:lnTo>
                    <a:pt x="515" y="1499"/>
                  </a:lnTo>
                  <a:lnTo>
                    <a:pt x="517" y="1500"/>
                  </a:lnTo>
                  <a:lnTo>
                    <a:pt x="515" y="1501"/>
                  </a:lnTo>
                  <a:lnTo>
                    <a:pt x="515" y="1504"/>
                  </a:lnTo>
                  <a:lnTo>
                    <a:pt x="515" y="1505"/>
                  </a:lnTo>
                  <a:lnTo>
                    <a:pt x="517" y="1506"/>
                  </a:lnTo>
                  <a:lnTo>
                    <a:pt x="518" y="1507"/>
                  </a:lnTo>
                  <a:lnTo>
                    <a:pt x="519" y="1509"/>
                  </a:lnTo>
                  <a:lnTo>
                    <a:pt x="521" y="1509"/>
                  </a:lnTo>
                  <a:lnTo>
                    <a:pt x="522" y="1509"/>
                  </a:lnTo>
                  <a:lnTo>
                    <a:pt x="523" y="1508"/>
                  </a:lnTo>
                  <a:lnTo>
                    <a:pt x="526" y="1507"/>
                  </a:lnTo>
                  <a:lnTo>
                    <a:pt x="528" y="1508"/>
                  </a:lnTo>
                  <a:lnTo>
                    <a:pt x="529" y="1508"/>
                  </a:lnTo>
                  <a:lnTo>
                    <a:pt x="530" y="1507"/>
                  </a:lnTo>
                  <a:lnTo>
                    <a:pt x="531" y="1507"/>
                  </a:lnTo>
                  <a:lnTo>
                    <a:pt x="534" y="1507"/>
                  </a:lnTo>
                  <a:lnTo>
                    <a:pt x="535" y="1506"/>
                  </a:lnTo>
                  <a:lnTo>
                    <a:pt x="537" y="1506"/>
                  </a:lnTo>
                  <a:lnTo>
                    <a:pt x="538" y="1505"/>
                  </a:lnTo>
                  <a:lnTo>
                    <a:pt x="539" y="1504"/>
                  </a:lnTo>
                  <a:lnTo>
                    <a:pt x="542" y="1502"/>
                  </a:lnTo>
                  <a:lnTo>
                    <a:pt x="543" y="1502"/>
                  </a:lnTo>
                  <a:lnTo>
                    <a:pt x="544" y="1501"/>
                  </a:lnTo>
                  <a:lnTo>
                    <a:pt x="545" y="1501"/>
                  </a:lnTo>
                  <a:lnTo>
                    <a:pt x="546" y="1500"/>
                  </a:lnTo>
                  <a:lnTo>
                    <a:pt x="549" y="1499"/>
                  </a:lnTo>
                  <a:lnTo>
                    <a:pt x="551" y="1499"/>
                  </a:lnTo>
                  <a:lnTo>
                    <a:pt x="552" y="1498"/>
                  </a:lnTo>
                  <a:lnTo>
                    <a:pt x="553" y="1497"/>
                  </a:lnTo>
                  <a:lnTo>
                    <a:pt x="554" y="1497"/>
                  </a:lnTo>
                  <a:lnTo>
                    <a:pt x="555" y="1496"/>
                  </a:lnTo>
                  <a:lnTo>
                    <a:pt x="555" y="1494"/>
                  </a:lnTo>
                  <a:lnTo>
                    <a:pt x="555" y="1493"/>
                  </a:lnTo>
                  <a:lnTo>
                    <a:pt x="554" y="1493"/>
                  </a:lnTo>
                  <a:lnTo>
                    <a:pt x="553" y="1492"/>
                  </a:lnTo>
                  <a:lnTo>
                    <a:pt x="552" y="1491"/>
                  </a:lnTo>
                  <a:lnTo>
                    <a:pt x="550" y="1490"/>
                  </a:lnTo>
                  <a:lnTo>
                    <a:pt x="547" y="1489"/>
                  </a:lnTo>
                  <a:lnTo>
                    <a:pt x="546" y="1489"/>
                  </a:lnTo>
                  <a:lnTo>
                    <a:pt x="544" y="1488"/>
                  </a:lnTo>
                  <a:lnTo>
                    <a:pt x="544" y="1486"/>
                  </a:lnTo>
                  <a:lnTo>
                    <a:pt x="544" y="1485"/>
                  </a:lnTo>
                  <a:lnTo>
                    <a:pt x="544" y="1484"/>
                  </a:lnTo>
                  <a:lnTo>
                    <a:pt x="544" y="1483"/>
                  </a:lnTo>
                  <a:lnTo>
                    <a:pt x="545" y="1483"/>
                  </a:lnTo>
                  <a:lnTo>
                    <a:pt x="546" y="1482"/>
                  </a:lnTo>
                  <a:lnTo>
                    <a:pt x="547" y="1480"/>
                  </a:lnTo>
                  <a:lnTo>
                    <a:pt x="550" y="1478"/>
                  </a:lnTo>
                  <a:lnTo>
                    <a:pt x="552" y="1477"/>
                  </a:lnTo>
                  <a:lnTo>
                    <a:pt x="553" y="1476"/>
                  </a:lnTo>
                  <a:lnTo>
                    <a:pt x="555" y="1474"/>
                  </a:lnTo>
                  <a:lnTo>
                    <a:pt x="557" y="1474"/>
                  </a:lnTo>
                  <a:lnTo>
                    <a:pt x="562" y="1469"/>
                  </a:lnTo>
                  <a:lnTo>
                    <a:pt x="563" y="1468"/>
                  </a:lnTo>
                  <a:lnTo>
                    <a:pt x="565" y="1468"/>
                  </a:lnTo>
                  <a:lnTo>
                    <a:pt x="566" y="1467"/>
                  </a:lnTo>
                  <a:lnTo>
                    <a:pt x="567" y="1466"/>
                  </a:lnTo>
                  <a:lnTo>
                    <a:pt x="568" y="1465"/>
                  </a:lnTo>
                  <a:lnTo>
                    <a:pt x="568" y="1464"/>
                  </a:lnTo>
                  <a:lnTo>
                    <a:pt x="569" y="1462"/>
                  </a:lnTo>
                  <a:lnTo>
                    <a:pt x="570" y="1462"/>
                  </a:lnTo>
                  <a:lnTo>
                    <a:pt x="573" y="1461"/>
                  </a:lnTo>
                  <a:lnTo>
                    <a:pt x="574" y="1460"/>
                  </a:lnTo>
                  <a:lnTo>
                    <a:pt x="575" y="1460"/>
                  </a:lnTo>
                  <a:lnTo>
                    <a:pt x="577" y="1459"/>
                  </a:lnTo>
                  <a:lnTo>
                    <a:pt x="579" y="1459"/>
                  </a:lnTo>
                  <a:lnTo>
                    <a:pt x="585" y="1458"/>
                  </a:lnTo>
                  <a:lnTo>
                    <a:pt x="586" y="1458"/>
                  </a:lnTo>
                  <a:lnTo>
                    <a:pt x="587" y="1458"/>
                  </a:lnTo>
                  <a:lnTo>
                    <a:pt x="590" y="1457"/>
                  </a:lnTo>
                  <a:lnTo>
                    <a:pt x="592" y="1457"/>
                  </a:lnTo>
                  <a:lnTo>
                    <a:pt x="594" y="1457"/>
                  </a:lnTo>
                  <a:lnTo>
                    <a:pt x="595" y="1457"/>
                  </a:lnTo>
                  <a:lnTo>
                    <a:pt x="597" y="1457"/>
                  </a:lnTo>
                  <a:lnTo>
                    <a:pt x="599" y="1457"/>
                  </a:lnTo>
                  <a:lnTo>
                    <a:pt x="601" y="1457"/>
                  </a:lnTo>
                  <a:lnTo>
                    <a:pt x="602" y="1456"/>
                  </a:lnTo>
                  <a:lnTo>
                    <a:pt x="605" y="1456"/>
                  </a:lnTo>
                  <a:lnTo>
                    <a:pt x="606" y="1456"/>
                  </a:lnTo>
                  <a:lnTo>
                    <a:pt x="608" y="1456"/>
                  </a:lnTo>
                  <a:lnTo>
                    <a:pt x="609" y="1454"/>
                  </a:lnTo>
                  <a:lnTo>
                    <a:pt x="610" y="1454"/>
                  </a:lnTo>
                  <a:lnTo>
                    <a:pt x="613" y="1454"/>
                  </a:lnTo>
                  <a:lnTo>
                    <a:pt x="614" y="1454"/>
                  </a:lnTo>
                  <a:lnTo>
                    <a:pt x="615" y="1454"/>
                  </a:lnTo>
                  <a:lnTo>
                    <a:pt x="616" y="1453"/>
                  </a:lnTo>
                  <a:lnTo>
                    <a:pt x="616" y="1452"/>
                  </a:lnTo>
                  <a:lnTo>
                    <a:pt x="617" y="1451"/>
                  </a:lnTo>
                  <a:lnTo>
                    <a:pt x="617" y="1450"/>
                  </a:lnTo>
                  <a:lnTo>
                    <a:pt x="616" y="1448"/>
                  </a:lnTo>
                  <a:lnTo>
                    <a:pt x="616" y="1446"/>
                  </a:lnTo>
                  <a:lnTo>
                    <a:pt x="615" y="1445"/>
                  </a:lnTo>
                  <a:lnTo>
                    <a:pt x="614" y="1443"/>
                  </a:lnTo>
                  <a:lnTo>
                    <a:pt x="613" y="1442"/>
                  </a:lnTo>
                  <a:lnTo>
                    <a:pt x="611" y="1441"/>
                  </a:lnTo>
                  <a:lnTo>
                    <a:pt x="610" y="1440"/>
                  </a:lnTo>
                  <a:lnTo>
                    <a:pt x="610" y="1437"/>
                  </a:lnTo>
                  <a:lnTo>
                    <a:pt x="610" y="1436"/>
                  </a:lnTo>
                  <a:lnTo>
                    <a:pt x="609" y="1435"/>
                  </a:lnTo>
                  <a:lnTo>
                    <a:pt x="609" y="1433"/>
                  </a:lnTo>
                  <a:lnTo>
                    <a:pt x="610" y="1432"/>
                  </a:lnTo>
                  <a:lnTo>
                    <a:pt x="611" y="1429"/>
                  </a:lnTo>
                  <a:lnTo>
                    <a:pt x="613" y="1429"/>
                  </a:lnTo>
                  <a:lnTo>
                    <a:pt x="614" y="1428"/>
                  </a:lnTo>
                  <a:lnTo>
                    <a:pt x="615" y="1427"/>
                  </a:lnTo>
                  <a:lnTo>
                    <a:pt x="617" y="1427"/>
                  </a:lnTo>
                  <a:lnTo>
                    <a:pt x="619" y="1426"/>
                  </a:lnTo>
                  <a:lnTo>
                    <a:pt x="622" y="1426"/>
                  </a:lnTo>
                  <a:lnTo>
                    <a:pt x="624" y="1425"/>
                  </a:lnTo>
                  <a:lnTo>
                    <a:pt x="624" y="1424"/>
                  </a:lnTo>
                  <a:lnTo>
                    <a:pt x="625" y="1422"/>
                  </a:lnTo>
                  <a:lnTo>
                    <a:pt x="625" y="1420"/>
                  </a:lnTo>
                  <a:lnTo>
                    <a:pt x="623" y="1419"/>
                  </a:lnTo>
                  <a:lnTo>
                    <a:pt x="623" y="1418"/>
                  </a:lnTo>
                  <a:lnTo>
                    <a:pt x="622" y="1417"/>
                  </a:lnTo>
                  <a:lnTo>
                    <a:pt x="622" y="1416"/>
                  </a:lnTo>
                  <a:lnTo>
                    <a:pt x="621" y="1414"/>
                  </a:lnTo>
                  <a:lnTo>
                    <a:pt x="621" y="1411"/>
                  </a:lnTo>
                  <a:lnTo>
                    <a:pt x="621" y="1410"/>
                  </a:lnTo>
                  <a:lnTo>
                    <a:pt x="621" y="1409"/>
                  </a:lnTo>
                  <a:lnTo>
                    <a:pt x="622" y="1408"/>
                  </a:lnTo>
                  <a:lnTo>
                    <a:pt x="622" y="1406"/>
                  </a:lnTo>
                  <a:lnTo>
                    <a:pt x="623" y="1405"/>
                  </a:lnTo>
                  <a:lnTo>
                    <a:pt x="624" y="1405"/>
                  </a:lnTo>
                  <a:lnTo>
                    <a:pt x="625" y="1404"/>
                  </a:lnTo>
                  <a:lnTo>
                    <a:pt x="627" y="1404"/>
                  </a:lnTo>
                  <a:lnTo>
                    <a:pt x="630" y="1404"/>
                  </a:lnTo>
                  <a:lnTo>
                    <a:pt x="631" y="1404"/>
                  </a:lnTo>
                  <a:lnTo>
                    <a:pt x="633" y="1404"/>
                  </a:lnTo>
                  <a:lnTo>
                    <a:pt x="634" y="1404"/>
                  </a:lnTo>
                  <a:lnTo>
                    <a:pt x="634" y="1405"/>
                  </a:lnTo>
                  <a:lnTo>
                    <a:pt x="637" y="1405"/>
                  </a:lnTo>
                  <a:lnTo>
                    <a:pt x="639" y="1405"/>
                  </a:lnTo>
                  <a:lnTo>
                    <a:pt x="640" y="1406"/>
                  </a:lnTo>
                  <a:lnTo>
                    <a:pt x="641" y="1406"/>
                  </a:lnTo>
                  <a:lnTo>
                    <a:pt x="643" y="1406"/>
                  </a:lnTo>
                  <a:lnTo>
                    <a:pt x="645" y="1406"/>
                  </a:lnTo>
                  <a:lnTo>
                    <a:pt x="646" y="1406"/>
                  </a:lnTo>
                  <a:lnTo>
                    <a:pt x="649" y="1406"/>
                  </a:lnTo>
                  <a:lnTo>
                    <a:pt x="650" y="1406"/>
                  </a:lnTo>
                  <a:lnTo>
                    <a:pt x="651" y="1406"/>
                  </a:lnTo>
                  <a:lnTo>
                    <a:pt x="653" y="1405"/>
                  </a:lnTo>
                  <a:lnTo>
                    <a:pt x="655" y="1405"/>
                  </a:lnTo>
                  <a:lnTo>
                    <a:pt x="657" y="1405"/>
                  </a:lnTo>
                  <a:lnTo>
                    <a:pt x="659" y="1405"/>
                  </a:lnTo>
                  <a:lnTo>
                    <a:pt x="661" y="1405"/>
                  </a:lnTo>
                  <a:lnTo>
                    <a:pt x="662" y="1406"/>
                  </a:lnTo>
                  <a:lnTo>
                    <a:pt x="664" y="1406"/>
                  </a:lnTo>
                  <a:lnTo>
                    <a:pt x="664" y="1408"/>
                  </a:lnTo>
                  <a:lnTo>
                    <a:pt x="665" y="1409"/>
                  </a:lnTo>
                  <a:lnTo>
                    <a:pt x="665" y="1410"/>
                  </a:lnTo>
                  <a:lnTo>
                    <a:pt x="666" y="1412"/>
                  </a:lnTo>
                  <a:lnTo>
                    <a:pt x="666" y="1413"/>
                  </a:lnTo>
                  <a:lnTo>
                    <a:pt x="666" y="1416"/>
                  </a:lnTo>
                  <a:lnTo>
                    <a:pt x="669" y="1417"/>
                  </a:lnTo>
                  <a:lnTo>
                    <a:pt x="670" y="1418"/>
                  </a:lnTo>
                  <a:lnTo>
                    <a:pt x="671" y="1419"/>
                  </a:lnTo>
                  <a:lnTo>
                    <a:pt x="672" y="1420"/>
                  </a:lnTo>
                  <a:lnTo>
                    <a:pt x="673" y="1420"/>
                  </a:lnTo>
                  <a:lnTo>
                    <a:pt x="674" y="1421"/>
                  </a:lnTo>
                  <a:lnTo>
                    <a:pt x="675" y="1424"/>
                  </a:lnTo>
                  <a:lnTo>
                    <a:pt x="677" y="1424"/>
                  </a:lnTo>
                  <a:lnTo>
                    <a:pt x="679" y="1425"/>
                  </a:lnTo>
                  <a:lnTo>
                    <a:pt x="680" y="1425"/>
                  </a:lnTo>
                  <a:lnTo>
                    <a:pt x="683" y="1425"/>
                  </a:lnTo>
                  <a:lnTo>
                    <a:pt x="685" y="1425"/>
                  </a:lnTo>
                  <a:lnTo>
                    <a:pt x="685" y="1424"/>
                  </a:lnTo>
                  <a:lnTo>
                    <a:pt x="686" y="1422"/>
                  </a:lnTo>
                  <a:lnTo>
                    <a:pt x="687" y="1422"/>
                  </a:lnTo>
                  <a:lnTo>
                    <a:pt x="688" y="1424"/>
                  </a:lnTo>
                  <a:lnTo>
                    <a:pt x="689" y="1424"/>
                  </a:lnTo>
                  <a:lnTo>
                    <a:pt x="689" y="1425"/>
                  </a:lnTo>
                  <a:lnTo>
                    <a:pt x="688" y="1426"/>
                  </a:lnTo>
                  <a:lnTo>
                    <a:pt x="688" y="1427"/>
                  </a:lnTo>
                  <a:lnTo>
                    <a:pt x="688" y="1428"/>
                  </a:lnTo>
                  <a:lnTo>
                    <a:pt x="689" y="1430"/>
                  </a:lnTo>
                  <a:lnTo>
                    <a:pt x="688" y="1432"/>
                  </a:lnTo>
                  <a:lnTo>
                    <a:pt x="687" y="1434"/>
                  </a:lnTo>
                  <a:lnTo>
                    <a:pt x="687" y="1435"/>
                  </a:lnTo>
                  <a:lnTo>
                    <a:pt x="687" y="1436"/>
                  </a:lnTo>
                  <a:lnTo>
                    <a:pt x="688" y="1436"/>
                  </a:lnTo>
                  <a:lnTo>
                    <a:pt x="690" y="1436"/>
                  </a:lnTo>
                  <a:lnTo>
                    <a:pt x="691" y="1436"/>
                  </a:lnTo>
                  <a:lnTo>
                    <a:pt x="694" y="1435"/>
                  </a:lnTo>
                  <a:lnTo>
                    <a:pt x="695" y="1434"/>
                  </a:lnTo>
                  <a:lnTo>
                    <a:pt x="696" y="1433"/>
                  </a:lnTo>
                  <a:lnTo>
                    <a:pt x="697" y="1433"/>
                  </a:lnTo>
                  <a:lnTo>
                    <a:pt x="699" y="1432"/>
                  </a:lnTo>
                  <a:lnTo>
                    <a:pt x="702" y="1430"/>
                  </a:lnTo>
                  <a:lnTo>
                    <a:pt x="704" y="1430"/>
                  </a:lnTo>
                  <a:lnTo>
                    <a:pt x="705" y="1430"/>
                  </a:lnTo>
                  <a:lnTo>
                    <a:pt x="707" y="1429"/>
                  </a:lnTo>
                  <a:lnTo>
                    <a:pt x="709" y="1428"/>
                  </a:lnTo>
                  <a:lnTo>
                    <a:pt x="710" y="1428"/>
                  </a:lnTo>
                  <a:lnTo>
                    <a:pt x="711" y="1427"/>
                  </a:lnTo>
                  <a:lnTo>
                    <a:pt x="712" y="1426"/>
                  </a:lnTo>
                  <a:lnTo>
                    <a:pt x="713" y="1425"/>
                  </a:lnTo>
                  <a:lnTo>
                    <a:pt x="714" y="1422"/>
                  </a:lnTo>
                  <a:lnTo>
                    <a:pt x="714" y="1421"/>
                  </a:lnTo>
                  <a:lnTo>
                    <a:pt x="714" y="1420"/>
                  </a:lnTo>
                  <a:lnTo>
                    <a:pt x="714" y="1419"/>
                  </a:lnTo>
                  <a:lnTo>
                    <a:pt x="714" y="1418"/>
                  </a:lnTo>
                  <a:lnTo>
                    <a:pt x="713" y="1417"/>
                  </a:lnTo>
                  <a:lnTo>
                    <a:pt x="712" y="1416"/>
                  </a:lnTo>
                  <a:lnTo>
                    <a:pt x="712" y="1414"/>
                  </a:lnTo>
                  <a:lnTo>
                    <a:pt x="712" y="1412"/>
                  </a:lnTo>
                  <a:lnTo>
                    <a:pt x="711" y="1411"/>
                  </a:lnTo>
                  <a:lnTo>
                    <a:pt x="711" y="1410"/>
                  </a:lnTo>
                  <a:lnTo>
                    <a:pt x="710" y="1409"/>
                  </a:lnTo>
                  <a:lnTo>
                    <a:pt x="710" y="1408"/>
                  </a:lnTo>
                  <a:lnTo>
                    <a:pt x="711" y="1406"/>
                  </a:lnTo>
                  <a:lnTo>
                    <a:pt x="712" y="1405"/>
                  </a:lnTo>
                  <a:lnTo>
                    <a:pt x="712" y="1404"/>
                  </a:lnTo>
                  <a:lnTo>
                    <a:pt x="713" y="1403"/>
                  </a:lnTo>
                  <a:lnTo>
                    <a:pt x="714" y="1403"/>
                  </a:lnTo>
                  <a:lnTo>
                    <a:pt x="715" y="1403"/>
                  </a:lnTo>
                  <a:lnTo>
                    <a:pt x="717" y="1403"/>
                  </a:lnTo>
                  <a:lnTo>
                    <a:pt x="718" y="1402"/>
                  </a:lnTo>
                  <a:lnTo>
                    <a:pt x="719" y="1402"/>
                  </a:lnTo>
                  <a:lnTo>
                    <a:pt x="721" y="1402"/>
                  </a:lnTo>
                  <a:lnTo>
                    <a:pt x="722" y="1403"/>
                  </a:lnTo>
                  <a:lnTo>
                    <a:pt x="723" y="1403"/>
                  </a:lnTo>
                  <a:lnTo>
                    <a:pt x="725" y="1403"/>
                  </a:lnTo>
                  <a:lnTo>
                    <a:pt x="726" y="1404"/>
                  </a:lnTo>
                  <a:lnTo>
                    <a:pt x="728" y="1404"/>
                  </a:lnTo>
                  <a:lnTo>
                    <a:pt x="729" y="1404"/>
                  </a:lnTo>
                  <a:lnTo>
                    <a:pt x="730" y="1403"/>
                  </a:lnTo>
                  <a:lnTo>
                    <a:pt x="734" y="1402"/>
                  </a:lnTo>
                  <a:lnTo>
                    <a:pt x="735" y="1402"/>
                  </a:lnTo>
                  <a:lnTo>
                    <a:pt x="736" y="1401"/>
                  </a:lnTo>
                  <a:lnTo>
                    <a:pt x="737" y="1400"/>
                  </a:lnTo>
                  <a:lnTo>
                    <a:pt x="738" y="1398"/>
                  </a:lnTo>
                  <a:lnTo>
                    <a:pt x="739" y="1398"/>
                  </a:lnTo>
                  <a:lnTo>
                    <a:pt x="741" y="1397"/>
                  </a:lnTo>
                  <a:lnTo>
                    <a:pt x="743" y="1396"/>
                  </a:lnTo>
                  <a:lnTo>
                    <a:pt x="744" y="1397"/>
                  </a:lnTo>
                  <a:lnTo>
                    <a:pt x="745" y="1397"/>
                  </a:lnTo>
                  <a:lnTo>
                    <a:pt x="746" y="1398"/>
                  </a:lnTo>
                  <a:lnTo>
                    <a:pt x="750" y="1400"/>
                  </a:lnTo>
                  <a:lnTo>
                    <a:pt x="751" y="1400"/>
                  </a:lnTo>
                  <a:lnTo>
                    <a:pt x="752" y="1400"/>
                  </a:lnTo>
                  <a:lnTo>
                    <a:pt x="753" y="1400"/>
                  </a:lnTo>
                  <a:lnTo>
                    <a:pt x="755" y="1400"/>
                  </a:lnTo>
                  <a:lnTo>
                    <a:pt x="757" y="1398"/>
                  </a:lnTo>
                  <a:lnTo>
                    <a:pt x="759" y="1397"/>
                  </a:lnTo>
                  <a:lnTo>
                    <a:pt x="760" y="1396"/>
                  </a:lnTo>
                  <a:lnTo>
                    <a:pt x="761" y="1396"/>
                  </a:lnTo>
                  <a:lnTo>
                    <a:pt x="762" y="1395"/>
                  </a:lnTo>
                  <a:lnTo>
                    <a:pt x="765" y="1396"/>
                  </a:lnTo>
                  <a:lnTo>
                    <a:pt x="766" y="1397"/>
                  </a:lnTo>
                  <a:lnTo>
                    <a:pt x="767" y="1397"/>
                  </a:lnTo>
                  <a:lnTo>
                    <a:pt x="767" y="1398"/>
                  </a:lnTo>
                  <a:lnTo>
                    <a:pt x="768" y="1400"/>
                  </a:lnTo>
                  <a:lnTo>
                    <a:pt x="768" y="1402"/>
                  </a:lnTo>
                  <a:lnTo>
                    <a:pt x="768" y="1403"/>
                  </a:lnTo>
                  <a:lnTo>
                    <a:pt x="769" y="1404"/>
                  </a:lnTo>
                  <a:lnTo>
                    <a:pt x="770" y="1404"/>
                  </a:lnTo>
                  <a:lnTo>
                    <a:pt x="773" y="1404"/>
                  </a:lnTo>
                  <a:lnTo>
                    <a:pt x="774" y="1404"/>
                  </a:lnTo>
                  <a:lnTo>
                    <a:pt x="776" y="1404"/>
                  </a:lnTo>
                  <a:lnTo>
                    <a:pt x="778" y="1404"/>
                  </a:lnTo>
                  <a:lnTo>
                    <a:pt x="781" y="1404"/>
                  </a:lnTo>
                  <a:lnTo>
                    <a:pt x="782" y="1404"/>
                  </a:lnTo>
                  <a:lnTo>
                    <a:pt x="783" y="1404"/>
                  </a:lnTo>
                  <a:lnTo>
                    <a:pt x="784" y="1403"/>
                  </a:lnTo>
                  <a:lnTo>
                    <a:pt x="786" y="1403"/>
                  </a:lnTo>
                  <a:lnTo>
                    <a:pt x="787" y="1402"/>
                  </a:lnTo>
                  <a:lnTo>
                    <a:pt x="789" y="1401"/>
                  </a:lnTo>
                  <a:lnTo>
                    <a:pt x="790" y="1400"/>
                  </a:lnTo>
                  <a:lnTo>
                    <a:pt x="790" y="1398"/>
                  </a:lnTo>
                  <a:lnTo>
                    <a:pt x="790" y="1397"/>
                  </a:lnTo>
                  <a:lnTo>
                    <a:pt x="790" y="1395"/>
                  </a:lnTo>
                  <a:lnTo>
                    <a:pt x="789" y="1394"/>
                  </a:lnTo>
                  <a:lnTo>
                    <a:pt x="789" y="1393"/>
                  </a:lnTo>
                  <a:lnTo>
                    <a:pt x="790" y="1392"/>
                  </a:lnTo>
                  <a:lnTo>
                    <a:pt x="791" y="1392"/>
                  </a:lnTo>
                  <a:lnTo>
                    <a:pt x="792" y="1392"/>
                  </a:lnTo>
                  <a:lnTo>
                    <a:pt x="793" y="1390"/>
                  </a:lnTo>
                  <a:lnTo>
                    <a:pt x="794" y="1390"/>
                  </a:lnTo>
                  <a:lnTo>
                    <a:pt x="797" y="1390"/>
                  </a:lnTo>
                  <a:lnTo>
                    <a:pt x="798" y="1390"/>
                  </a:lnTo>
                  <a:lnTo>
                    <a:pt x="800" y="1392"/>
                  </a:lnTo>
                  <a:lnTo>
                    <a:pt x="800" y="1393"/>
                  </a:lnTo>
                  <a:lnTo>
                    <a:pt x="802" y="1395"/>
                  </a:lnTo>
                  <a:lnTo>
                    <a:pt x="803" y="1396"/>
                  </a:lnTo>
                  <a:lnTo>
                    <a:pt x="803" y="1397"/>
                  </a:lnTo>
                  <a:lnTo>
                    <a:pt x="805" y="1400"/>
                  </a:lnTo>
                  <a:lnTo>
                    <a:pt x="806" y="1401"/>
                  </a:lnTo>
                  <a:lnTo>
                    <a:pt x="806" y="1402"/>
                  </a:lnTo>
                  <a:lnTo>
                    <a:pt x="808" y="1403"/>
                  </a:lnTo>
                  <a:lnTo>
                    <a:pt x="810" y="1403"/>
                  </a:lnTo>
                  <a:lnTo>
                    <a:pt x="811" y="1403"/>
                  </a:lnTo>
                  <a:lnTo>
                    <a:pt x="814" y="1402"/>
                  </a:lnTo>
                  <a:lnTo>
                    <a:pt x="816" y="1400"/>
                  </a:lnTo>
                  <a:lnTo>
                    <a:pt x="816" y="1398"/>
                  </a:lnTo>
                  <a:lnTo>
                    <a:pt x="816" y="1397"/>
                  </a:lnTo>
                  <a:lnTo>
                    <a:pt x="815" y="1394"/>
                  </a:lnTo>
                  <a:lnTo>
                    <a:pt x="815" y="1393"/>
                  </a:lnTo>
                  <a:lnTo>
                    <a:pt x="815" y="1390"/>
                  </a:lnTo>
                  <a:lnTo>
                    <a:pt x="816" y="1389"/>
                  </a:lnTo>
                  <a:lnTo>
                    <a:pt x="816" y="1388"/>
                  </a:lnTo>
                  <a:lnTo>
                    <a:pt x="816" y="1387"/>
                  </a:lnTo>
                  <a:lnTo>
                    <a:pt x="816" y="1385"/>
                  </a:lnTo>
                  <a:lnTo>
                    <a:pt x="816" y="1384"/>
                  </a:lnTo>
                  <a:lnTo>
                    <a:pt x="815" y="1382"/>
                  </a:lnTo>
                  <a:lnTo>
                    <a:pt x="813" y="1379"/>
                  </a:lnTo>
                  <a:lnTo>
                    <a:pt x="813" y="1378"/>
                  </a:lnTo>
                  <a:lnTo>
                    <a:pt x="813" y="1377"/>
                  </a:lnTo>
                  <a:lnTo>
                    <a:pt x="814" y="1376"/>
                  </a:lnTo>
                  <a:lnTo>
                    <a:pt x="815" y="1374"/>
                  </a:lnTo>
                  <a:lnTo>
                    <a:pt x="816" y="1373"/>
                  </a:lnTo>
                  <a:lnTo>
                    <a:pt x="819" y="1371"/>
                  </a:lnTo>
                  <a:lnTo>
                    <a:pt x="821" y="1369"/>
                  </a:lnTo>
                  <a:lnTo>
                    <a:pt x="821" y="1368"/>
                  </a:lnTo>
                  <a:lnTo>
                    <a:pt x="821" y="1366"/>
                  </a:lnTo>
                  <a:lnTo>
                    <a:pt x="821" y="1364"/>
                  </a:lnTo>
                  <a:lnTo>
                    <a:pt x="819" y="1363"/>
                  </a:lnTo>
                  <a:lnTo>
                    <a:pt x="818" y="1363"/>
                  </a:lnTo>
                  <a:lnTo>
                    <a:pt x="816" y="1361"/>
                  </a:lnTo>
                  <a:lnTo>
                    <a:pt x="814" y="1358"/>
                  </a:lnTo>
                  <a:lnTo>
                    <a:pt x="813" y="1357"/>
                  </a:lnTo>
                  <a:lnTo>
                    <a:pt x="808" y="1355"/>
                  </a:lnTo>
                  <a:lnTo>
                    <a:pt x="808" y="1354"/>
                  </a:lnTo>
                  <a:lnTo>
                    <a:pt x="807" y="1353"/>
                  </a:lnTo>
                  <a:lnTo>
                    <a:pt x="806" y="1350"/>
                  </a:lnTo>
                  <a:lnTo>
                    <a:pt x="806" y="1349"/>
                  </a:lnTo>
                  <a:lnTo>
                    <a:pt x="805" y="1349"/>
                  </a:lnTo>
                  <a:lnTo>
                    <a:pt x="805" y="1347"/>
                  </a:lnTo>
                  <a:lnTo>
                    <a:pt x="805" y="1346"/>
                  </a:lnTo>
                  <a:lnTo>
                    <a:pt x="806" y="1345"/>
                  </a:lnTo>
                  <a:lnTo>
                    <a:pt x="806" y="1342"/>
                  </a:lnTo>
                  <a:lnTo>
                    <a:pt x="808" y="1337"/>
                  </a:lnTo>
                  <a:lnTo>
                    <a:pt x="809" y="1336"/>
                  </a:lnTo>
                  <a:lnTo>
                    <a:pt x="809" y="1334"/>
                  </a:lnTo>
                  <a:lnTo>
                    <a:pt x="811" y="1334"/>
                  </a:lnTo>
                  <a:lnTo>
                    <a:pt x="814" y="1333"/>
                  </a:lnTo>
                  <a:lnTo>
                    <a:pt x="815" y="1331"/>
                  </a:lnTo>
                  <a:lnTo>
                    <a:pt x="817" y="1331"/>
                  </a:lnTo>
                  <a:lnTo>
                    <a:pt x="817" y="1328"/>
                  </a:lnTo>
                  <a:lnTo>
                    <a:pt x="817" y="1326"/>
                  </a:lnTo>
                  <a:lnTo>
                    <a:pt x="816" y="1324"/>
                  </a:lnTo>
                  <a:lnTo>
                    <a:pt x="816" y="1323"/>
                  </a:lnTo>
                  <a:lnTo>
                    <a:pt x="814" y="1322"/>
                  </a:lnTo>
                  <a:lnTo>
                    <a:pt x="814" y="1320"/>
                  </a:lnTo>
                  <a:lnTo>
                    <a:pt x="813" y="1318"/>
                  </a:lnTo>
                  <a:lnTo>
                    <a:pt x="813" y="1317"/>
                  </a:lnTo>
                  <a:lnTo>
                    <a:pt x="811" y="1316"/>
                  </a:lnTo>
                  <a:lnTo>
                    <a:pt x="810" y="1315"/>
                  </a:lnTo>
                  <a:lnTo>
                    <a:pt x="809" y="1313"/>
                  </a:lnTo>
                  <a:lnTo>
                    <a:pt x="807" y="1312"/>
                  </a:lnTo>
                  <a:lnTo>
                    <a:pt x="806" y="1309"/>
                  </a:lnTo>
                  <a:lnTo>
                    <a:pt x="805" y="1308"/>
                  </a:lnTo>
                  <a:lnTo>
                    <a:pt x="803" y="1304"/>
                  </a:lnTo>
                  <a:lnTo>
                    <a:pt x="803" y="1302"/>
                  </a:lnTo>
                  <a:lnTo>
                    <a:pt x="803" y="1300"/>
                  </a:lnTo>
                  <a:lnTo>
                    <a:pt x="802" y="1299"/>
                  </a:lnTo>
                  <a:lnTo>
                    <a:pt x="801" y="1298"/>
                  </a:lnTo>
                  <a:lnTo>
                    <a:pt x="799" y="1296"/>
                  </a:lnTo>
                  <a:lnTo>
                    <a:pt x="798" y="1294"/>
                  </a:lnTo>
                  <a:lnTo>
                    <a:pt x="795" y="1294"/>
                  </a:lnTo>
                  <a:lnTo>
                    <a:pt x="794" y="1293"/>
                  </a:lnTo>
                  <a:lnTo>
                    <a:pt x="792" y="1293"/>
                  </a:lnTo>
                  <a:lnTo>
                    <a:pt x="791" y="1292"/>
                  </a:lnTo>
                  <a:lnTo>
                    <a:pt x="790" y="1291"/>
                  </a:lnTo>
                  <a:lnTo>
                    <a:pt x="790" y="1288"/>
                  </a:lnTo>
                  <a:lnTo>
                    <a:pt x="790" y="1285"/>
                  </a:lnTo>
                  <a:lnTo>
                    <a:pt x="790" y="1284"/>
                  </a:lnTo>
                  <a:lnTo>
                    <a:pt x="791" y="1283"/>
                  </a:lnTo>
                  <a:lnTo>
                    <a:pt x="792" y="1282"/>
                  </a:lnTo>
                  <a:lnTo>
                    <a:pt x="794" y="1282"/>
                  </a:lnTo>
                  <a:lnTo>
                    <a:pt x="797" y="1282"/>
                  </a:lnTo>
                  <a:lnTo>
                    <a:pt x="798" y="1282"/>
                  </a:lnTo>
                  <a:lnTo>
                    <a:pt x="799" y="1281"/>
                  </a:lnTo>
                  <a:lnTo>
                    <a:pt x="800" y="1280"/>
                  </a:lnTo>
                  <a:lnTo>
                    <a:pt x="801" y="1274"/>
                  </a:lnTo>
                  <a:lnTo>
                    <a:pt x="801" y="1273"/>
                  </a:lnTo>
                  <a:lnTo>
                    <a:pt x="801" y="1270"/>
                  </a:lnTo>
                  <a:lnTo>
                    <a:pt x="802" y="1268"/>
                  </a:lnTo>
                  <a:lnTo>
                    <a:pt x="802" y="1266"/>
                  </a:lnTo>
                  <a:lnTo>
                    <a:pt x="803" y="1265"/>
                  </a:lnTo>
                  <a:lnTo>
                    <a:pt x="803" y="1262"/>
                  </a:lnTo>
                  <a:lnTo>
                    <a:pt x="805" y="1261"/>
                  </a:lnTo>
                  <a:lnTo>
                    <a:pt x="807" y="1260"/>
                  </a:lnTo>
                  <a:lnTo>
                    <a:pt x="808" y="1259"/>
                  </a:lnTo>
                  <a:lnTo>
                    <a:pt x="811" y="1259"/>
                  </a:lnTo>
                  <a:lnTo>
                    <a:pt x="813" y="1260"/>
                  </a:lnTo>
                  <a:lnTo>
                    <a:pt x="814" y="1260"/>
                  </a:lnTo>
                  <a:lnTo>
                    <a:pt x="815" y="1261"/>
                  </a:lnTo>
                  <a:lnTo>
                    <a:pt x="815" y="1264"/>
                  </a:lnTo>
                  <a:lnTo>
                    <a:pt x="816" y="1265"/>
                  </a:lnTo>
                  <a:lnTo>
                    <a:pt x="817" y="1266"/>
                  </a:lnTo>
                  <a:lnTo>
                    <a:pt x="817" y="1269"/>
                  </a:lnTo>
                  <a:lnTo>
                    <a:pt x="817" y="1270"/>
                  </a:lnTo>
                  <a:lnTo>
                    <a:pt x="818" y="1272"/>
                  </a:lnTo>
                  <a:lnTo>
                    <a:pt x="818" y="1273"/>
                  </a:lnTo>
                  <a:lnTo>
                    <a:pt x="818" y="1274"/>
                  </a:lnTo>
                  <a:lnTo>
                    <a:pt x="818" y="1275"/>
                  </a:lnTo>
                  <a:lnTo>
                    <a:pt x="818" y="1277"/>
                  </a:lnTo>
                  <a:lnTo>
                    <a:pt x="819" y="1280"/>
                  </a:lnTo>
                  <a:lnTo>
                    <a:pt x="821" y="1281"/>
                  </a:lnTo>
                  <a:lnTo>
                    <a:pt x="823" y="1281"/>
                  </a:lnTo>
                  <a:lnTo>
                    <a:pt x="824" y="1281"/>
                  </a:lnTo>
                  <a:lnTo>
                    <a:pt x="825" y="1281"/>
                  </a:lnTo>
                  <a:lnTo>
                    <a:pt x="826" y="1280"/>
                  </a:lnTo>
                  <a:lnTo>
                    <a:pt x="827" y="1280"/>
                  </a:lnTo>
                  <a:lnTo>
                    <a:pt x="831" y="1280"/>
                  </a:lnTo>
                  <a:lnTo>
                    <a:pt x="833" y="1280"/>
                  </a:lnTo>
                  <a:lnTo>
                    <a:pt x="837" y="1280"/>
                  </a:lnTo>
                  <a:lnTo>
                    <a:pt x="839" y="1281"/>
                  </a:lnTo>
                  <a:lnTo>
                    <a:pt x="840" y="1281"/>
                  </a:lnTo>
                  <a:lnTo>
                    <a:pt x="841" y="1282"/>
                  </a:lnTo>
                  <a:lnTo>
                    <a:pt x="841" y="1283"/>
                  </a:lnTo>
                  <a:lnTo>
                    <a:pt x="843" y="1284"/>
                  </a:lnTo>
                  <a:lnTo>
                    <a:pt x="846" y="1284"/>
                  </a:lnTo>
                  <a:lnTo>
                    <a:pt x="848" y="1285"/>
                  </a:lnTo>
                  <a:lnTo>
                    <a:pt x="849" y="1285"/>
                  </a:lnTo>
                  <a:lnTo>
                    <a:pt x="851" y="1285"/>
                  </a:lnTo>
                  <a:lnTo>
                    <a:pt x="857" y="1284"/>
                  </a:lnTo>
                  <a:lnTo>
                    <a:pt x="858" y="1283"/>
                  </a:lnTo>
                  <a:lnTo>
                    <a:pt x="859" y="1283"/>
                  </a:lnTo>
                  <a:lnTo>
                    <a:pt x="861" y="1281"/>
                  </a:lnTo>
                  <a:lnTo>
                    <a:pt x="862" y="1281"/>
                  </a:lnTo>
                  <a:lnTo>
                    <a:pt x="863" y="1281"/>
                  </a:lnTo>
                  <a:lnTo>
                    <a:pt x="865" y="1281"/>
                  </a:lnTo>
                  <a:lnTo>
                    <a:pt x="866" y="1281"/>
                  </a:lnTo>
                  <a:lnTo>
                    <a:pt x="867" y="1280"/>
                  </a:lnTo>
                  <a:lnTo>
                    <a:pt x="869" y="1280"/>
                  </a:lnTo>
                  <a:lnTo>
                    <a:pt x="872" y="1280"/>
                  </a:lnTo>
                  <a:lnTo>
                    <a:pt x="873" y="1281"/>
                  </a:lnTo>
                  <a:lnTo>
                    <a:pt x="874" y="1282"/>
                  </a:lnTo>
                  <a:lnTo>
                    <a:pt x="874" y="1284"/>
                  </a:lnTo>
                  <a:lnTo>
                    <a:pt x="874" y="1286"/>
                  </a:lnTo>
                  <a:lnTo>
                    <a:pt x="875" y="1289"/>
                  </a:lnTo>
                  <a:lnTo>
                    <a:pt x="875" y="1291"/>
                  </a:lnTo>
                  <a:lnTo>
                    <a:pt x="875" y="1292"/>
                  </a:lnTo>
                  <a:lnTo>
                    <a:pt x="877" y="1294"/>
                  </a:lnTo>
                  <a:lnTo>
                    <a:pt x="878" y="1297"/>
                  </a:lnTo>
                  <a:lnTo>
                    <a:pt x="878" y="1299"/>
                  </a:lnTo>
                  <a:lnTo>
                    <a:pt x="879" y="1300"/>
                  </a:lnTo>
                  <a:lnTo>
                    <a:pt x="880" y="1301"/>
                  </a:lnTo>
                  <a:lnTo>
                    <a:pt x="881" y="1302"/>
                  </a:lnTo>
                  <a:lnTo>
                    <a:pt x="882" y="1305"/>
                  </a:lnTo>
                  <a:lnTo>
                    <a:pt x="883" y="1306"/>
                  </a:lnTo>
                  <a:lnTo>
                    <a:pt x="886" y="1306"/>
                  </a:lnTo>
                  <a:lnTo>
                    <a:pt x="887" y="1306"/>
                  </a:lnTo>
                  <a:lnTo>
                    <a:pt x="889" y="1306"/>
                  </a:lnTo>
                  <a:lnTo>
                    <a:pt x="890" y="1305"/>
                  </a:lnTo>
                  <a:lnTo>
                    <a:pt x="891" y="1305"/>
                  </a:lnTo>
                  <a:lnTo>
                    <a:pt x="893" y="1302"/>
                  </a:lnTo>
                  <a:lnTo>
                    <a:pt x="893" y="1300"/>
                  </a:lnTo>
                  <a:lnTo>
                    <a:pt x="894" y="1299"/>
                  </a:lnTo>
                  <a:lnTo>
                    <a:pt x="896" y="1297"/>
                  </a:lnTo>
                  <a:lnTo>
                    <a:pt x="898" y="1296"/>
                  </a:lnTo>
                  <a:lnTo>
                    <a:pt x="899" y="1296"/>
                  </a:lnTo>
                  <a:lnTo>
                    <a:pt x="902" y="1294"/>
                  </a:lnTo>
                  <a:lnTo>
                    <a:pt x="906" y="1294"/>
                  </a:lnTo>
                  <a:lnTo>
                    <a:pt x="906" y="1293"/>
                  </a:lnTo>
                  <a:lnTo>
                    <a:pt x="909" y="1293"/>
                  </a:lnTo>
                  <a:lnTo>
                    <a:pt x="909" y="1292"/>
                  </a:lnTo>
                  <a:lnTo>
                    <a:pt x="911" y="1292"/>
                  </a:lnTo>
                  <a:lnTo>
                    <a:pt x="912" y="1293"/>
                  </a:lnTo>
                  <a:lnTo>
                    <a:pt x="913" y="1293"/>
                  </a:lnTo>
                  <a:lnTo>
                    <a:pt x="914" y="1293"/>
                  </a:lnTo>
                  <a:lnTo>
                    <a:pt x="915" y="1294"/>
                  </a:lnTo>
                  <a:lnTo>
                    <a:pt x="917" y="1297"/>
                  </a:lnTo>
                  <a:lnTo>
                    <a:pt x="919" y="1298"/>
                  </a:lnTo>
                  <a:lnTo>
                    <a:pt x="919" y="1300"/>
                  </a:lnTo>
                  <a:lnTo>
                    <a:pt x="920" y="1301"/>
                  </a:lnTo>
                  <a:lnTo>
                    <a:pt x="922" y="1302"/>
                  </a:lnTo>
                  <a:lnTo>
                    <a:pt x="925" y="1302"/>
                  </a:lnTo>
                  <a:lnTo>
                    <a:pt x="926" y="1302"/>
                  </a:lnTo>
                  <a:lnTo>
                    <a:pt x="927" y="1302"/>
                  </a:lnTo>
                  <a:lnTo>
                    <a:pt x="928" y="1301"/>
                  </a:lnTo>
                  <a:lnTo>
                    <a:pt x="929" y="1299"/>
                  </a:lnTo>
                  <a:lnTo>
                    <a:pt x="930" y="1299"/>
                  </a:lnTo>
                  <a:lnTo>
                    <a:pt x="931" y="1298"/>
                  </a:lnTo>
                  <a:lnTo>
                    <a:pt x="933" y="1297"/>
                  </a:lnTo>
                  <a:lnTo>
                    <a:pt x="934" y="1294"/>
                  </a:lnTo>
                  <a:lnTo>
                    <a:pt x="937" y="1293"/>
                  </a:lnTo>
                  <a:lnTo>
                    <a:pt x="938" y="1293"/>
                  </a:lnTo>
                  <a:lnTo>
                    <a:pt x="941" y="1294"/>
                  </a:lnTo>
                  <a:lnTo>
                    <a:pt x="942" y="1294"/>
                  </a:lnTo>
                  <a:lnTo>
                    <a:pt x="943" y="1296"/>
                  </a:lnTo>
                  <a:lnTo>
                    <a:pt x="945" y="1297"/>
                  </a:lnTo>
                  <a:lnTo>
                    <a:pt x="946" y="1298"/>
                  </a:lnTo>
                  <a:lnTo>
                    <a:pt x="946" y="1299"/>
                  </a:lnTo>
                  <a:lnTo>
                    <a:pt x="947" y="1304"/>
                  </a:lnTo>
                  <a:lnTo>
                    <a:pt x="949" y="1305"/>
                  </a:lnTo>
                  <a:lnTo>
                    <a:pt x="949" y="1307"/>
                  </a:lnTo>
                  <a:lnTo>
                    <a:pt x="950" y="1308"/>
                  </a:lnTo>
                  <a:lnTo>
                    <a:pt x="951" y="1309"/>
                  </a:lnTo>
                  <a:lnTo>
                    <a:pt x="952" y="1310"/>
                  </a:lnTo>
                  <a:lnTo>
                    <a:pt x="954" y="1309"/>
                  </a:lnTo>
                  <a:lnTo>
                    <a:pt x="955" y="1307"/>
                  </a:lnTo>
                  <a:lnTo>
                    <a:pt x="955" y="1306"/>
                  </a:lnTo>
                  <a:lnTo>
                    <a:pt x="955" y="1305"/>
                  </a:lnTo>
                  <a:lnTo>
                    <a:pt x="955" y="1304"/>
                  </a:lnTo>
                  <a:lnTo>
                    <a:pt x="955" y="1302"/>
                  </a:lnTo>
                  <a:lnTo>
                    <a:pt x="954" y="1301"/>
                  </a:lnTo>
                  <a:lnTo>
                    <a:pt x="953" y="1300"/>
                  </a:lnTo>
                  <a:lnTo>
                    <a:pt x="952" y="1299"/>
                  </a:lnTo>
                  <a:lnTo>
                    <a:pt x="951" y="1298"/>
                  </a:lnTo>
                  <a:lnTo>
                    <a:pt x="952" y="1297"/>
                  </a:lnTo>
                  <a:lnTo>
                    <a:pt x="953" y="1294"/>
                  </a:lnTo>
                  <a:lnTo>
                    <a:pt x="954" y="1294"/>
                  </a:lnTo>
                  <a:lnTo>
                    <a:pt x="955" y="1293"/>
                  </a:lnTo>
                  <a:lnTo>
                    <a:pt x="957" y="1292"/>
                  </a:lnTo>
                  <a:lnTo>
                    <a:pt x="959" y="1293"/>
                  </a:lnTo>
                  <a:lnTo>
                    <a:pt x="960" y="1293"/>
                  </a:lnTo>
                  <a:lnTo>
                    <a:pt x="961" y="1292"/>
                  </a:lnTo>
                  <a:lnTo>
                    <a:pt x="963" y="1292"/>
                  </a:lnTo>
                  <a:lnTo>
                    <a:pt x="967" y="1290"/>
                  </a:lnTo>
                  <a:lnTo>
                    <a:pt x="968" y="1290"/>
                  </a:lnTo>
                  <a:lnTo>
                    <a:pt x="970" y="1290"/>
                  </a:lnTo>
                  <a:lnTo>
                    <a:pt x="971" y="1291"/>
                  </a:lnTo>
                  <a:lnTo>
                    <a:pt x="971" y="1292"/>
                  </a:lnTo>
                  <a:lnTo>
                    <a:pt x="973" y="1294"/>
                  </a:lnTo>
                  <a:lnTo>
                    <a:pt x="974" y="1294"/>
                  </a:lnTo>
                  <a:lnTo>
                    <a:pt x="975" y="1297"/>
                  </a:lnTo>
                  <a:lnTo>
                    <a:pt x="976" y="1298"/>
                  </a:lnTo>
                  <a:lnTo>
                    <a:pt x="976" y="1299"/>
                  </a:lnTo>
                  <a:lnTo>
                    <a:pt x="977" y="1300"/>
                  </a:lnTo>
                  <a:lnTo>
                    <a:pt x="978" y="1301"/>
                  </a:lnTo>
                  <a:lnTo>
                    <a:pt x="981" y="1301"/>
                  </a:lnTo>
                  <a:lnTo>
                    <a:pt x="983" y="1301"/>
                  </a:lnTo>
                  <a:lnTo>
                    <a:pt x="984" y="1302"/>
                  </a:lnTo>
                  <a:lnTo>
                    <a:pt x="985" y="1301"/>
                  </a:lnTo>
                  <a:lnTo>
                    <a:pt x="986" y="1300"/>
                  </a:lnTo>
                  <a:lnTo>
                    <a:pt x="987" y="1300"/>
                  </a:lnTo>
                  <a:lnTo>
                    <a:pt x="989" y="1299"/>
                  </a:lnTo>
                  <a:lnTo>
                    <a:pt x="990" y="1299"/>
                  </a:lnTo>
                  <a:lnTo>
                    <a:pt x="991" y="1299"/>
                  </a:lnTo>
                  <a:lnTo>
                    <a:pt x="993" y="1299"/>
                  </a:lnTo>
                  <a:lnTo>
                    <a:pt x="993" y="1300"/>
                  </a:lnTo>
                  <a:lnTo>
                    <a:pt x="994" y="1300"/>
                  </a:lnTo>
                  <a:lnTo>
                    <a:pt x="995" y="1301"/>
                  </a:lnTo>
                  <a:lnTo>
                    <a:pt x="997" y="1302"/>
                  </a:lnTo>
                  <a:lnTo>
                    <a:pt x="998" y="1302"/>
                  </a:lnTo>
                  <a:lnTo>
                    <a:pt x="998" y="1304"/>
                  </a:lnTo>
                  <a:lnTo>
                    <a:pt x="999" y="1305"/>
                  </a:lnTo>
                  <a:lnTo>
                    <a:pt x="1000" y="1306"/>
                  </a:lnTo>
                  <a:lnTo>
                    <a:pt x="1002" y="1307"/>
                  </a:lnTo>
                  <a:lnTo>
                    <a:pt x="1003" y="1307"/>
                  </a:lnTo>
                  <a:lnTo>
                    <a:pt x="1006" y="1307"/>
                  </a:lnTo>
                  <a:lnTo>
                    <a:pt x="1007" y="1306"/>
                  </a:lnTo>
                  <a:lnTo>
                    <a:pt x="1007" y="1305"/>
                  </a:lnTo>
                  <a:lnTo>
                    <a:pt x="1008" y="1304"/>
                  </a:lnTo>
                  <a:lnTo>
                    <a:pt x="1009" y="1302"/>
                  </a:lnTo>
                  <a:lnTo>
                    <a:pt x="1009" y="1300"/>
                  </a:lnTo>
                  <a:lnTo>
                    <a:pt x="1009" y="1298"/>
                  </a:lnTo>
                  <a:lnTo>
                    <a:pt x="1009" y="1297"/>
                  </a:lnTo>
                  <a:lnTo>
                    <a:pt x="1009" y="1296"/>
                  </a:lnTo>
                  <a:lnTo>
                    <a:pt x="1009" y="1293"/>
                  </a:lnTo>
                  <a:lnTo>
                    <a:pt x="1009" y="1291"/>
                  </a:lnTo>
                  <a:lnTo>
                    <a:pt x="1008" y="1289"/>
                  </a:lnTo>
                  <a:lnTo>
                    <a:pt x="1007" y="1286"/>
                  </a:lnTo>
                  <a:lnTo>
                    <a:pt x="1007" y="1285"/>
                  </a:lnTo>
                  <a:lnTo>
                    <a:pt x="1005" y="1283"/>
                  </a:lnTo>
                  <a:lnTo>
                    <a:pt x="1005" y="1282"/>
                  </a:lnTo>
                  <a:lnTo>
                    <a:pt x="1003" y="1280"/>
                  </a:lnTo>
                  <a:lnTo>
                    <a:pt x="1003" y="1277"/>
                  </a:lnTo>
                  <a:lnTo>
                    <a:pt x="1001" y="1275"/>
                  </a:lnTo>
                  <a:lnTo>
                    <a:pt x="1000" y="1274"/>
                  </a:lnTo>
                  <a:lnTo>
                    <a:pt x="997" y="1273"/>
                  </a:lnTo>
                  <a:lnTo>
                    <a:pt x="995" y="1273"/>
                  </a:lnTo>
                  <a:lnTo>
                    <a:pt x="994" y="1273"/>
                  </a:lnTo>
                  <a:lnTo>
                    <a:pt x="993" y="1272"/>
                  </a:lnTo>
                  <a:lnTo>
                    <a:pt x="991" y="1269"/>
                  </a:lnTo>
                  <a:lnTo>
                    <a:pt x="991" y="1268"/>
                  </a:lnTo>
                  <a:lnTo>
                    <a:pt x="992" y="1266"/>
                  </a:lnTo>
                  <a:lnTo>
                    <a:pt x="992" y="1264"/>
                  </a:lnTo>
                  <a:lnTo>
                    <a:pt x="992" y="1261"/>
                  </a:lnTo>
                  <a:lnTo>
                    <a:pt x="994" y="1260"/>
                  </a:lnTo>
                  <a:lnTo>
                    <a:pt x="998" y="1261"/>
                  </a:lnTo>
                  <a:lnTo>
                    <a:pt x="1000" y="1261"/>
                  </a:lnTo>
                  <a:lnTo>
                    <a:pt x="1001" y="1261"/>
                  </a:lnTo>
                  <a:lnTo>
                    <a:pt x="1002" y="1261"/>
                  </a:lnTo>
                  <a:lnTo>
                    <a:pt x="1003" y="1260"/>
                  </a:lnTo>
                  <a:lnTo>
                    <a:pt x="1002" y="1259"/>
                  </a:lnTo>
                  <a:lnTo>
                    <a:pt x="1002" y="1258"/>
                  </a:lnTo>
                  <a:lnTo>
                    <a:pt x="1000" y="1256"/>
                  </a:lnTo>
                  <a:lnTo>
                    <a:pt x="999" y="1256"/>
                  </a:lnTo>
                  <a:lnTo>
                    <a:pt x="999" y="1254"/>
                  </a:lnTo>
                  <a:lnTo>
                    <a:pt x="997" y="1249"/>
                  </a:lnTo>
                  <a:lnTo>
                    <a:pt x="995" y="1248"/>
                  </a:lnTo>
                  <a:lnTo>
                    <a:pt x="994" y="1246"/>
                  </a:lnTo>
                  <a:lnTo>
                    <a:pt x="993" y="1245"/>
                  </a:lnTo>
                  <a:lnTo>
                    <a:pt x="993" y="1244"/>
                  </a:lnTo>
                  <a:lnTo>
                    <a:pt x="993" y="1240"/>
                  </a:lnTo>
                  <a:lnTo>
                    <a:pt x="993" y="1238"/>
                  </a:lnTo>
                  <a:lnTo>
                    <a:pt x="994" y="1236"/>
                  </a:lnTo>
                  <a:lnTo>
                    <a:pt x="994" y="1234"/>
                  </a:lnTo>
                  <a:lnTo>
                    <a:pt x="994" y="1233"/>
                  </a:lnTo>
                  <a:lnTo>
                    <a:pt x="995" y="1230"/>
                  </a:lnTo>
                  <a:lnTo>
                    <a:pt x="997" y="1228"/>
                  </a:lnTo>
                  <a:lnTo>
                    <a:pt x="1000" y="1227"/>
                  </a:lnTo>
                  <a:lnTo>
                    <a:pt x="1001" y="1226"/>
                  </a:lnTo>
                  <a:lnTo>
                    <a:pt x="1003" y="1226"/>
                  </a:lnTo>
                  <a:lnTo>
                    <a:pt x="1005" y="1226"/>
                  </a:lnTo>
                  <a:lnTo>
                    <a:pt x="1006" y="1226"/>
                  </a:lnTo>
                  <a:lnTo>
                    <a:pt x="1008" y="1226"/>
                  </a:lnTo>
                  <a:lnTo>
                    <a:pt x="1010" y="1226"/>
                  </a:lnTo>
                  <a:lnTo>
                    <a:pt x="1011" y="1226"/>
                  </a:lnTo>
                  <a:lnTo>
                    <a:pt x="1014" y="1226"/>
                  </a:lnTo>
                  <a:lnTo>
                    <a:pt x="1015" y="1226"/>
                  </a:lnTo>
                  <a:lnTo>
                    <a:pt x="1016" y="1226"/>
                  </a:lnTo>
                  <a:lnTo>
                    <a:pt x="1018" y="1225"/>
                  </a:lnTo>
                  <a:lnTo>
                    <a:pt x="1019" y="1224"/>
                  </a:lnTo>
                  <a:lnTo>
                    <a:pt x="1022" y="1220"/>
                  </a:lnTo>
                  <a:lnTo>
                    <a:pt x="1022" y="1218"/>
                  </a:lnTo>
                  <a:lnTo>
                    <a:pt x="1022" y="1216"/>
                  </a:lnTo>
                  <a:lnTo>
                    <a:pt x="1022" y="1214"/>
                  </a:lnTo>
                  <a:lnTo>
                    <a:pt x="1022" y="1212"/>
                  </a:lnTo>
                  <a:lnTo>
                    <a:pt x="1023" y="1212"/>
                  </a:lnTo>
                  <a:lnTo>
                    <a:pt x="1025" y="1211"/>
                  </a:lnTo>
                  <a:lnTo>
                    <a:pt x="1027" y="1212"/>
                  </a:lnTo>
                  <a:lnTo>
                    <a:pt x="1030" y="1212"/>
                  </a:lnTo>
                  <a:lnTo>
                    <a:pt x="1032" y="1212"/>
                  </a:lnTo>
                  <a:lnTo>
                    <a:pt x="1033" y="1211"/>
                  </a:lnTo>
                  <a:lnTo>
                    <a:pt x="1033" y="1210"/>
                  </a:lnTo>
                  <a:lnTo>
                    <a:pt x="1033" y="1208"/>
                  </a:lnTo>
                  <a:lnTo>
                    <a:pt x="1033" y="1206"/>
                  </a:lnTo>
                  <a:lnTo>
                    <a:pt x="1033" y="1204"/>
                  </a:lnTo>
                  <a:lnTo>
                    <a:pt x="1033" y="1202"/>
                  </a:lnTo>
                  <a:lnTo>
                    <a:pt x="1034" y="1200"/>
                  </a:lnTo>
                  <a:lnTo>
                    <a:pt x="1035" y="1198"/>
                  </a:lnTo>
                  <a:lnTo>
                    <a:pt x="1038" y="1197"/>
                  </a:lnTo>
                  <a:lnTo>
                    <a:pt x="1039" y="1197"/>
                  </a:lnTo>
                  <a:lnTo>
                    <a:pt x="1041" y="1198"/>
                  </a:lnTo>
                  <a:lnTo>
                    <a:pt x="1042" y="1198"/>
                  </a:lnTo>
                  <a:lnTo>
                    <a:pt x="1046" y="1197"/>
                  </a:lnTo>
                  <a:lnTo>
                    <a:pt x="1047" y="1197"/>
                  </a:lnTo>
                  <a:lnTo>
                    <a:pt x="1048" y="1195"/>
                  </a:lnTo>
                  <a:lnTo>
                    <a:pt x="1048" y="1194"/>
                  </a:lnTo>
                  <a:lnTo>
                    <a:pt x="1047" y="1192"/>
                  </a:lnTo>
                  <a:lnTo>
                    <a:pt x="1047" y="1190"/>
                  </a:lnTo>
                  <a:lnTo>
                    <a:pt x="1046" y="1188"/>
                  </a:lnTo>
                  <a:lnTo>
                    <a:pt x="1046" y="1187"/>
                  </a:lnTo>
                  <a:lnTo>
                    <a:pt x="1047" y="1186"/>
                  </a:lnTo>
                  <a:lnTo>
                    <a:pt x="1049" y="1185"/>
                  </a:lnTo>
                  <a:lnTo>
                    <a:pt x="1050" y="1186"/>
                  </a:lnTo>
                  <a:lnTo>
                    <a:pt x="1053" y="1187"/>
                  </a:lnTo>
                  <a:lnTo>
                    <a:pt x="1055" y="1188"/>
                  </a:lnTo>
                  <a:lnTo>
                    <a:pt x="1056" y="1188"/>
                  </a:lnTo>
                  <a:lnTo>
                    <a:pt x="1057" y="1189"/>
                  </a:lnTo>
                  <a:lnTo>
                    <a:pt x="1058" y="1189"/>
                  </a:lnTo>
                  <a:lnTo>
                    <a:pt x="1061" y="1189"/>
                  </a:lnTo>
                  <a:lnTo>
                    <a:pt x="1063" y="1189"/>
                  </a:lnTo>
                  <a:lnTo>
                    <a:pt x="1066" y="1188"/>
                  </a:lnTo>
                  <a:lnTo>
                    <a:pt x="1069" y="1187"/>
                  </a:lnTo>
                  <a:lnTo>
                    <a:pt x="1071" y="1186"/>
                  </a:lnTo>
                  <a:lnTo>
                    <a:pt x="1073" y="1187"/>
                  </a:lnTo>
                  <a:lnTo>
                    <a:pt x="1074" y="1189"/>
                  </a:lnTo>
                  <a:lnTo>
                    <a:pt x="1075" y="1190"/>
                  </a:lnTo>
                  <a:lnTo>
                    <a:pt x="1077" y="1194"/>
                  </a:lnTo>
                  <a:lnTo>
                    <a:pt x="1078" y="1195"/>
                  </a:lnTo>
                  <a:lnTo>
                    <a:pt x="1079" y="1196"/>
                  </a:lnTo>
                  <a:lnTo>
                    <a:pt x="1081" y="1197"/>
                  </a:lnTo>
                  <a:lnTo>
                    <a:pt x="1082" y="1198"/>
                  </a:lnTo>
                  <a:lnTo>
                    <a:pt x="1085" y="1201"/>
                  </a:lnTo>
                  <a:lnTo>
                    <a:pt x="1086" y="1203"/>
                  </a:lnTo>
                  <a:lnTo>
                    <a:pt x="1089" y="1204"/>
                  </a:lnTo>
                  <a:lnTo>
                    <a:pt x="1091" y="1205"/>
                  </a:lnTo>
                  <a:lnTo>
                    <a:pt x="1094" y="1204"/>
                  </a:lnTo>
                  <a:lnTo>
                    <a:pt x="1095" y="1203"/>
                  </a:lnTo>
                  <a:lnTo>
                    <a:pt x="1097" y="1198"/>
                  </a:lnTo>
                  <a:lnTo>
                    <a:pt x="1098" y="1194"/>
                  </a:lnTo>
                  <a:lnTo>
                    <a:pt x="1099" y="1192"/>
                  </a:lnTo>
                  <a:lnTo>
                    <a:pt x="1099" y="1189"/>
                  </a:lnTo>
                  <a:lnTo>
                    <a:pt x="1098" y="1187"/>
                  </a:lnTo>
                  <a:lnTo>
                    <a:pt x="1097" y="1186"/>
                  </a:lnTo>
                  <a:lnTo>
                    <a:pt x="1097" y="1184"/>
                  </a:lnTo>
                  <a:lnTo>
                    <a:pt x="1096" y="1182"/>
                  </a:lnTo>
                  <a:lnTo>
                    <a:pt x="1095" y="1180"/>
                  </a:lnTo>
                  <a:lnTo>
                    <a:pt x="1096" y="1178"/>
                  </a:lnTo>
                  <a:lnTo>
                    <a:pt x="1097" y="1178"/>
                  </a:lnTo>
                  <a:lnTo>
                    <a:pt x="1098" y="1177"/>
                  </a:lnTo>
                  <a:lnTo>
                    <a:pt x="1101" y="1176"/>
                  </a:lnTo>
                  <a:lnTo>
                    <a:pt x="1103" y="1174"/>
                  </a:lnTo>
                  <a:lnTo>
                    <a:pt x="1107" y="1172"/>
                  </a:lnTo>
                  <a:lnTo>
                    <a:pt x="1109" y="1171"/>
                  </a:lnTo>
                  <a:lnTo>
                    <a:pt x="1111" y="1170"/>
                  </a:lnTo>
                  <a:lnTo>
                    <a:pt x="1111" y="1168"/>
                  </a:lnTo>
                  <a:lnTo>
                    <a:pt x="1112" y="1165"/>
                  </a:lnTo>
                  <a:lnTo>
                    <a:pt x="1112" y="1163"/>
                  </a:lnTo>
                  <a:lnTo>
                    <a:pt x="1112" y="1162"/>
                  </a:lnTo>
                  <a:lnTo>
                    <a:pt x="1112" y="1161"/>
                  </a:lnTo>
                  <a:lnTo>
                    <a:pt x="1112" y="1160"/>
                  </a:lnTo>
                  <a:lnTo>
                    <a:pt x="1111" y="1160"/>
                  </a:lnTo>
                  <a:lnTo>
                    <a:pt x="1110" y="1158"/>
                  </a:lnTo>
                  <a:lnTo>
                    <a:pt x="1110" y="1157"/>
                  </a:lnTo>
                  <a:lnTo>
                    <a:pt x="1107" y="1156"/>
                  </a:lnTo>
                  <a:lnTo>
                    <a:pt x="1106" y="1156"/>
                  </a:lnTo>
                  <a:lnTo>
                    <a:pt x="1105" y="1156"/>
                  </a:lnTo>
                  <a:lnTo>
                    <a:pt x="1104" y="1156"/>
                  </a:lnTo>
                  <a:lnTo>
                    <a:pt x="1103" y="1156"/>
                  </a:lnTo>
                  <a:lnTo>
                    <a:pt x="1102" y="1155"/>
                  </a:lnTo>
                  <a:lnTo>
                    <a:pt x="1101" y="1155"/>
                  </a:lnTo>
                  <a:lnTo>
                    <a:pt x="1099" y="1154"/>
                  </a:lnTo>
                  <a:lnTo>
                    <a:pt x="1099" y="1153"/>
                  </a:lnTo>
                  <a:lnTo>
                    <a:pt x="1099" y="1152"/>
                  </a:lnTo>
                  <a:lnTo>
                    <a:pt x="1101" y="1149"/>
                  </a:lnTo>
                  <a:lnTo>
                    <a:pt x="1102" y="1148"/>
                  </a:lnTo>
                  <a:lnTo>
                    <a:pt x="1104" y="1148"/>
                  </a:lnTo>
                  <a:lnTo>
                    <a:pt x="1106" y="1148"/>
                  </a:lnTo>
                  <a:lnTo>
                    <a:pt x="1109" y="1148"/>
                  </a:lnTo>
                  <a:lnTo>
                    <a:pt x="1111" y="1149"/>
                  </a:lnTo>
                  <a:lnTo>
                    <a:pt x="1113" y="1149"/>
                  </a:lnTo>
                  <a:lnTo>
                    <a:pt x="1114" y="1152"/>
                  </a:lnTo>
                  <a:lnTo>
                    <a:pt x="1115" y="1153"/>
                  </a:lnTo>
                  <a:lnTo>
                    <a:pt x="1117" y="1154"/>
                  </a:lnTo>
                  <a:lnTo>
                    <a:pt x="1120" y="1154"/>
                  </a:lnTo>
                  <a:lnTo>
                    <a:pt x="1121" y="1154"/>
                  </a:lnTo>
                  <a:lnTo>
                    <a:pt x="1123" y="1155"/>
                  </a:lnTo>
                  <a:lnTo>
                    <a:pt x="1126" y="1155"/>
                  </a:lnTo>
                  <a:lnTo>
                    <a:pt x="1128" y="1154"/>
                  </a:lnTo>
                  <a:lnTo>
                    <a:pt x="1130" y="1153"/>
                  </a:lnTo>
                  <a:lnTo>
                    <a:pt x="1134" y="1152"/>
                  </a:lnTo>
                  <a:lnTo>
                    <a:pt x="1135" y="1149"/>
                  </a:lnTo>
                  <a:lnTo>
                    <a:pt x="1137" y="1147"/>
                  </a:lnTo>
                  <a:lnTo>
                    <a:pt x="1141" y="1144"/>
                  </a:lnTo>
                  <a:lnTo>
                    <a:pt x="1142" y="1141"/>
                  </a:lnTo>
                  <a:lnTo>
                    <a:pt x="1142" y="1139"/>
                  </a:lnTo>
                  <a:lnTo>
                    <a:pt x="1143" y="1137"/>
                  </a:lnTo>
                  <a:lnTo>
                    <a:pt x="1143" y="1131"/>
                  </a:lnTo>
                  <a:lnTo>
                    <a:pt x="1143" y="1129"/>
                  </a:lnTo>
                  <a:lnTo>
                    <a:pt x="1141" y="1126"/>
                  </a:lnTo>
                  <a:lnTo>
                    <a:pt x="1138" y="1124"/>
                  </a:lnTo>
                  <a:lnTo>
                    <a:pt x="1137" y="1122"/>
                  </a:lnTo>
                  <a:lnTo>
                    <a:pt x="1137" y="1121"/>
                  </a:lnTo>
                  <a:lnTo>
                    <a:pt x="1136" y="1120"/>
                  </a:lnTo>
                  <a:lnTo>
                    <a:pt x="1136" y="1117"/>
                  </a:lnTo>
                  <a:lnTo>
                    <a:pt x="1137" y="1115"/>
                  </a:lnTo>
                  <a:lnTo>
                    <a:pt x="1138" y="1113"/>
                  </a:lnTo>
                  <a:lnTo>
                    <a:pt x="1141" y="1112"/>
                  </a:lnTo>
                  <a:lnTo>
                    <a:pt x="1143" y="1109"/>
                  </a:lnTo>
                  <a:lnTo>
                    <a:pt x="1145" y="1108"/>
                  </a:lnTo>
                  <a:lnTo>
                    <a:pt x="1147" y="1106"/>
                  </a:lnTo>
                  <a:lnTo>
                    <a:pt x="1149" y="1104"/>
                  </a:lnTo>
                  <a:lnTo>
                    <a:pt x="1151" y="1100"/>
                  </a:lnTo>
                  <a:lnTo>
                    <a:pt x="1154" y="1098"/>
                  </a:lnTo>
                  <a:lnTo>
                    <a:pt x="1155" y="1096"/>
                  </a:lnTo>
                  <a:lnTo>
                    <a:pt x="1157" y="1093"/>
                  </a:lnTo>
                  <a:lnTo>
                    <a:pt x="1158" y="1092"/>
                  </a:lnTo>
                  <a:lnTo>
                    <a:pt x="1160" y="1091"/>
                  </a:lnTo>
                  <a:lnTo>
                    <a:pt x="1160" y="1090"/>
                  </a:lnTo>
                  <a:lnTo>
                    <a:pt x="1159" y="1089"/>
                  </a:lnTo>
                  <a:lnTo>
                    <a:pt x="1158" y="1086"/>
                  </a:lnTo>
                  <a:lnTo>
                    <a:pt x="1157" y="1086"/>
                  </a:lnTo>
                  <a:lnTo>
                    <a:pt x="1152" y="1084"/>
                  </a:lnTo>
                  <a:lnTo>
                    <a:pt x="1150" y="1083"/>
                  </a:lnTo>
                  <a:lnTo>
                    <a:pt x="1147" y="1082"/>
                  </a:lnTo>
                  <a:lnTo>
                    <a:pt x="1146" y="1081"/>
                  </a:lnTo>
                  <a:lnTo>
                    <a:pt x="1145" y="1080"/>
                  </a:lnTo>
                  <a:lnTo>
                    <a:pt x="1145" y="1077"/>
                  </a:lnTo>
                  <a:lnTo>
                    <a:pt x="1145" y="1076"/>
                  </a:lnTo>
                  <a:lnTo>
                    <a:pt x="1149" y="1074"/>
                  </a:lnTo>
                  <a:lnTo>
                    <a:pt x="1150" y="1072"/>
                  </a:lnTo>
                  <a:lnTo>
                    <a:pt x="1150" y="1069"/>
                  </a:lnTo>
                  <a:lnTo>
                    <a:pt x="1152" y="1068"/>
                  </a:lnTo>
                  <a:lnTo>
                    <a:pt x="1153" y="1066"/>
                  </a:lnTo>
                  <a:lnTo>
                    <a:pt x="1157" y="1065"/>
                  </a:lnTo>
                  <a:lnTo>
                    <a:pt x="1158" y="1064"/>
                  </a:lnTo>
                  <a:lnTo>
                    <a:pt x="1160" y="1064"/>
                  </a:lnTo>
                  <a:lnTo>
                    <a:pt x="1162" y="1064"/>
                  </a:lnTo>
                  <a:lnTo>
                    <a:pt x="1165" y="1065"/>
                  </a:lnTo>
                  <a:lnTo>
                    <a:pt x="1167" y="1065"/>
                  </a:lnTo>
                  <a:lnTo>
                    <a:pt x="1168" y="1067"/>
                  </a:lnTo>
                  <a:lnTo>
                    <a:pt x="1170" y="1068"/>
                  </a:lnTo>
                  <a:lnTo>
                    <a:pt x="1174" y="1072"/>
                  </a:lnTo>
                  <a:lnTo>
                    <a:pt x="1175" y="1072"/>
                  </a:lnTo>
                  <a:lnTo>
                    <a:pt x="1177" y="1073"/>
                  </a:lnTo>
                  <a:lnTo>
                    <a:pt x="1181" y="1073"/>
                  </a:lnTo>
                  <a:lnTo>
                    <a:pt x="1183" y="1073"/>
                  </a:lnTo>
                  <a:lnTo>
                    <a:pt x="1185" y="1074"/>
                  </a:lnTo>
                  <a:lnTo>
                    <a:pt x="1187" y="1075"/>
                  </a:lnTo>
                  <a:lnTo>
                    <a:pt x="1189" y="1075"/>
                  </a:lnTo>
                  <a:lnTo>
                    <a:pt x="1191" y="1076"/>
                  </a:lnTo>
                  <a:lnTo>
                    <a:pt x="1192" y="1076"/>
                  </a:lnTo>
                  <a:lnTo>
                    <a:pt x="1194" y="1078"/>
                  </a:lnTo>
                  <a:lnTo>
                    <a:pt x="1195" y="1080"/>
                  </a:lnTo>
                  <a:lnTo>
                    <a:pt x="1198" y="1080"/>
                  </a:lnTo>
                  <a:lnTo>
                    <a:pt x="1199" y="1078"/>
                  </a:lnTo>
                  <a:lnTo>
                    <a:pt x="1200" y="1077"/>
                  </a:lnTo>
                  <a:lnTo>
                    <a:pt x="1200" y="1076"/>
                  </a:lnTo>
                  <a:lnTo>
                    <a:pt x="1200" y="1074"/>
                  </a:lnTo>
                  <a:lnTo>
                    <a:pt x="1198" y="1072"/>
                  </a:lnTo>
                  <a:lnTo>
                    <a:pt x="1197" y="1070"/>
                  </a:lnTo>
                  <a:lnTo>
                    <a:pt x="1195" y="1068"/>
                  </a:lnTo>
                  <a:lnTo>
                    <a:pt x="1197" y="1066"/>
                  </a:lnTo>
                  <a:lnTo>
                    <a:pt x="1197" y="1064"/>
                  </a:lnTo>
                  <a:lnTo>
                    <a:pt x="1199" y="1061"/>
                  </a:lnTo>
                  <a:lnTo>
                    <a:pt x="1200" y="1060"/>
                  </a:lnTo>
                  <a:lnTo>
                    <a:pt x="1202" y="1060"/>
                  </a:lnTo>
                  <a:lnTo>
                    <a:pt x="1202" y="1062"/>
                  </a:lnTo>
                  <a:lnTo>
                    <a:pt x="1205" y="1065"/>
                  </a:lnTo>
                  <a:lnTo>
                    <a:pt x="1206" y="1065"/>
                  </a:lnTo>
                  <a:lnTo>
                    <a:pt x="1208" y="1065"/>
                  </a:lnTo>
                  <a:lnTo>
                    <a:pt x="1209" y="1064"/>
                  </a:lnTo>
                  <a:lnTo>
                    <a:pt x="1209" y="1061"/>
                  </a:lnTo>
                  <a:lnTo>
                    <a:pt x="1208" y="1060"/>
                  </a:lnTo>
                  <a:lnTo>
                    <a:pt x="1208" y="1059"/>
                  </a:lnTo>
                  <a:lnTo>
                    <a:pt x="1208" y="1057"/>
                  </a:lnTo>
                  <a:lnTo>
                    <a:pt x="1209" y="1056"/>
                  </a:lnTo>
                  <a:lnTo>
                    <a:pt x="1210" y="1053"/>
                  </a:lnTo>
                  <a:lnTo>
                    <a:pt x="1213" y="1051"/>
                  </a:lnTo>
                  <a:lnTo>
                    <a:pt x="1215" y="1048"/>
                  </a:lnTo>
                  <a:lnTo>
                    <a:pt x="1217" y="1045"/>
                  </a:lnTo>
                  <a:lnTo>
                    <a:pt x="1219" y="1043"/>
                  </a:lnTo>
                  <a:lnTo>
                    <a:pt x="1222" y="1040"/>
                  </a:lnTo>
                  <a:lnTo>
                    <a:pt x="1224" y="1034"/>
                  </a:lnTo>
                  <a:lnTo>
                    <a:pt x="1224" y="1032"/>
                  </a:lnTo>
                  <a:lnTo>
                    <a:pt x="1224" y="1029"/>
                  </a:lnTo>
                  <a:lnTo>
                    <a:pt x="1225" y="1022"/>
                  </a:lnTo>
                  <a:lnTo>
                    <a:pt x="1225" y="1020"/>
                  </a:lnTo>
                  <a:lnTo>
                    <a:pt x="1225" y="1018"/>
                  </a:lnTo>
                  <a:lnTo>
                    <a:pt x="1225" y="1014"/>
                  </a:lnTo>
                  <a:lnTo>
                    <a:pt x="1225" y="1012"/>
                  </a:lnTo>
                  <a:lnTo>
                    <a:pt x="1227" y="1009"/>
                  </a:lnTo>
                  <a:lnTo>
                    <a:pt x="1230" y="1008"/>
                  </a:lnTo>
                  <a:lnTo>
                    <a:pt x="1231" y="1005"/>
                  </a:lnTo>
                  <a:lnTo>
                    <a:pt x="1238" y="1001"/>
                  </a:lnTo>
                  <a:lnTo>
                    <a:pt x="1239" y="1000"/>
                  </a:lnTo>
                  <a:lnTo>
                    <a:pt x="1250" y="997"/>
                  </a:lnTo>
                  <a:lnTo>
                    <a:pt x="1267" y="995"/>
                  </a:lnTo>
                  <a:lnTo>
                    <a:pt x="1271" y="997"/>
                  </a:lnTo>
                  <a:lnTo>
                    <a:pt x="1274" y="997"/>
                  </a:lnTo>
                  <a:lnTo>
                    <a:pt x="1275" y="998"/>
                  </a:lnTo>
                  <a:lnTo>
                    <a:pt x="1281" y="1000"/>
                  </a:lnTo>
                  <a:lnTo>
                    <a:pt x="1285" y="997"/>
                  </a:lnTo>
                  <a:lnTo>
                    <a:pt x="1286" y="996"/>
                  </a:lnTo>
                  <a:lnTo>
                    <a:pt x="1288" y="996"/>
                  </a:lnTo>
                  <a:lnTo>
                    <a:pt x="1288" y="997"/>
                  </a:lnTo>
                  <a:lnTo>
                    <a:pt x="1290" y="997"/>
                  </a:lnTo>
                  <a:lnTo>
                    <a:pt x="1293" y="1000"/>
                  </a:lnTo>
                  <a:lnTo>
                    <a:pt x="1295" y="1002"/>
                  </a:lnTo>
                  <a:lnTo>
                    <a:pt x="1296" y="1004"/>
                  </a:lnTo>
                  <a:lnTo>
                    <a:pt x="1297" y="1005"/>
                  </a:lnTo>
                  <a:lnTo>
                    <a:pt x="1298" y="1009"/>
                  </a:lnTo>
                  <a:lnTo>
                    <a:pt x="1298" y="1011"/>
                  </a:lnTo>
                  <a:lnTo>
                    <a:pt x="1298" y="1016"/>
                  </a:lnTo>
                  <a:lnTo>
                    <a:pt x="1298" y="1018"/>
                  </a:lnTo>
                  <a:lnTo>
                    <a:pt x="1297" y="1020"/>
                  </a:lnTo>
                  <a:lnTo>
                    <a:pt x="1293" y="1022"/>
                  </a:lnTo>
                  <a:lnTo>
                    <a:pt x="1290" y="1024"/>
                  </a:lnTo>
                  <a:lnTo>
                    <a:pt x="1288" y="1026"/>
                  </a:lnTo>
                  <a:lnTo>
                    <a:pt x="1288" y="1028"/>
                  </a:lnTo>
                  <a:lnTo>
                    <a:pt x="1291" y="1028"/>
                  </a:lnTo>
                  <a:lnTo>
                    <a:pt x="1295" y="1029"/>
                  </a:lnTo>
                  <a:lnTo>
                    <a:pt x="1299" y="1030"/>
                  </a:lnTo>
                  <a:lnTo>
                    <a:pt x="1302" y="1030"/>
                  </a:lnTo>
                  <a:lnTo>
                    <a:pt x="1304" y="1032"/>
                  </a:lnTo>
                  <a:lnTo>
                    <a:pt x="1306" y="1033"/>
                  </a:lnTo>
                  <a:lnTo>
                    <a:pt x="1307" y="1035"/>
                  </a:lnTo>
                  <a:lnTo>
                    <a:pt x="1310" y="1037"/>
                  </a:lnTo>
                  <a:lnTo>
                    <a:pt x="1312" y="1041"/>
                  </a:lnTo>
                  <a:lnTo>
                    <a:pt x="1315" y="1043"/>
                  </a:lnTo>
                  <a:lnTo>
                    <a:pt x="1318" y="1044"/>
                  </a:lnTo>
                  <a:lnTo>
                    <a:pt x="1320" y="1044"/>
                  </a:lnTo>
                  <a:lnTo>
                    <a:pt x="1326" y="1041"/>
                  </a:lnTo>
                  <a:lnTo>
                    <a:pt x="1327" y="1037"/>
                  </a:lnTo>
                  <a:lnTo>
                    <a:pt x="1330" y="1035"/>
                  </a:lnTo>
                  <a:lnTo>
                    <a:pt x="1334" y="1034"/>
                  </a:lnTo>
                  <a:lnTo>
                    <a:pt x="1337" y="1036"/>
                  </a:lnTo>
                  <a:lnTo>
                    <a:pt x="1341" y="1037"/>
                  </a:lnTo>
                  <a:lnTo>
                    <a:pt x="1343" y="1030"/>
                  </a:lnTo>
                  <a:lnTo>
                    <a:pt x="1341" y="1026"/>
                  </a:lnTo>
                  <a:lnTo>
                    <a:pt x="1342" y="1019"/>
                  </a:lnTo>
                  <a:lnTo>
                    <a:pt x="1339" y="1013"/>
                  </a:lnTo>
                  <a:lnTo>
                    <a:pt x="1341" y="1011"/>
                  </a:lnTo>
                  <a:lnTo>
                    <a:pt x="1341" y="1005"/>
                  </a:lnTo>
                  <a:lnTo>
                    <a:pt x="1339" y="1001"/>
                  </a:lnTo>
                  <a:lnTo>
                    <a:pt x="1341" y="1000"/>
                  </a:lnTo>
                  <a:lnTo>
                    <a:pt x="1343" y="997"/>
                  </a:lnTo>
                  <a:lnTo>
                    <a:pt x="1345" y="996"/>
                  </a:lnTo>
                  <a:lnTo>
                    <a:pt x="1346" y="995"/>
                  </a:lnTo>
                  <a:lnTo>
                    <a:pt x="1345" y="993"/>
                  </a:lnTo>
                  <a:lnTo>
                    <a:pt x="1344" y="990"/>
                  </a:lnTo>
                  <a:lnTo>
                    <a:pt x="1345" y="988"/>
                  </a:lnTo>
                  <a:lnTo>
                    <a:pt x="1347" y="987"/>
                  </a:lnTo>
                  <a:lnTo>
                    <a:pt x="1350" y="986"/>
                  </a:lnTo>
                  <a:lnTo>
                    <a:pt x="1351" y="982"/>
                  </a:lnTo>
                  <a:lnTo>
                    <a:pt x="1352" y="979"/>
                  </a:lnTo>
                  <a:lnTo>
                    <a:pt x="1349" y="974"/>
                  </a:lnTo>
                  <a:lnTo>
                    <a:pt x="1350" y="970"/>
                  </a:lnTo>
                  <a:lnTo>
                    <a:pt x="1352" y="966"/>
                  </a:lnTo>
                  <a:lnTo>
                    <a:pt x="1353" y="964"/>
                  </a:lnTo>
                  <a:lnTo>
                    <a:pt x="1357" y="963"/>
                  </a:lnTo>
                  <a:lnTo>
                    <a:pt x="1360" y="962"/>
                  </a:lnTo>
                  <a:lnTo>
                    <a:pt x="1365" y="961"/>
                  </a:lnTo>
                  <a:lnTo>
                    <a:pt x="1368" y="961"/>
                  </a:lnTo>
                  <a:lnTo>
                    <a:pt x="1371" y="961"/>
                  </a:lnTo>
                  <a:lnTo>
                    <a:pt x="1375" y="961"/>
                  </a:lnTo>
                  <a:lnTo>
                    <a:pt x="1377" y="961"/>
                  </a:lnTo>
                  <a:lnTo>
                    <a:pt x="1379" y="960"/>
                  </a:lnTo>
                  <a:lnTo>
                    <a:pt x="1381" y="957"/>
                  </a:lnTo>
                  <a:lnTo>
                    <a:pt x="1385" y="952"/>
                  </a:lnTo>
                  <a:lnTo>
                    <a:pt x="1387" y="949"/>
                  </a:lnTo>
                  <a:lnTo>
                    <a:pt x="1391" y="948"/>
                  </a:lnTo>
                  <a:lnTo>
                    <a:pt x="1394" y="946"/>
                  </a:lnTo>
                  <a:lnTo>
                    <a:pt x="1398" y="942"/>
                  </a:lnTo>
                  <a:lnTo>
                    <a:pt x="1400" y="940"/>
                  </a:lnTo>
                  <a:lnTo>
                    <a:pt x="1401" y="936"/>
                  </a:lnTo>
                  <a:lnTo>
                    <a:pt x="1403" y="933"/>
                  </a:lnTo>
                  <a:lnTo>
                    <a:pt x="1408" y="929"/>
                  </a:lnTo>
                  <a:lnTo>
                    <a:pt x="1410" y="928"/>
                  </a:lnTo>
                  <a:lnTo>
                    <a:pt x="1411" y="925"/>
                  </a:lnTo>
                  <a:lnTo>
                    <a:pt x="1415" y="921"/>
                  </a:lnTo>
                  <a:lnTo>
                    <a:pt x="1415" y="916"/>
                  </a:lnTo>
                  <a:lnTo>
                    <a:pt x="1415" y="910"/>
                  </a:lnTo>
                  <a:lnTo>
                    <a:pt x="1414" y="905"/>
                  </a:lnTo>
                  <a:lnTo>
                    <a:pt x="1415" y="901"/>
                  </a:lnTo>
                  <a:lnTo>
                    <a:pt x="1417" y="899"/>
                  </a:lnTo>
                  <a:lnTo>
                    <a:pt x="1421" y="897"/>
                  </a:lnTo>
                  <a:lnTo>
                    <a:pt x="1434" y="894"/>
                  </a:lnTo>
                  <a:lnTo>
                    <a:pt x="1440" y="894"/>
                  </a:lnTo>
                  <a:lnTo>
                    <a:pt x="1443" y="894"/>
                  </a:lnTo>
                  <a:lnTo>
                    <a:pt x="1447" y="896"/>
                  </a:lnTo>
                  <a:lnTo>
                    <a:pt x="1450" y="896"/>
                  </a:lnTo>
                  <a:lnTo>
                    <a:pt x="1451" y="894"/>
                  </a:lnTo>
                  <a:lnTo>
                    <a:pt x="1451" y="892"/>
                  </a:lnTo>
                  <a:lnTo>
                    <a:pt x="1449" y="889"/>
                  </a:lnTo>
                  <a:lnTo>
                    <a:pt x="1447" y="886"/>
                  </a:lnTo>
                  <a:lnTo>
                    <a:pt x="1447" y="883"/>
                  </a:lnTo>
                  <a:lnTo>
                    <a:pt x="1446" y="882"/>
                  </a:lnTo>
                  <a:lnTo>
                    <a:pt x="1441" y="880"/>
                  </a:lnTo>
                  <a:lnTo>
                    <a:pt x="1435" y="876"/>
                  </a:lnTo>
                  <a:lnTo>
                    <a:pt x="1423" y="861"/>
                  </a:lnTo>
                  <a:lnTo>
                    <a:pt x="1417" y="856"/>
                  </a:lnTo>
                  <a:lnTo>
                    <a:pt x="1414" y="853"/>
                  </a:lnTo>
                  <a:lnTo>
                    <a:pt x="1410" y="852"/>
                  </a:lnTo>
                  <a:lnTo>
                    <a:pt x="1407" y="851"/>
                  </a:lnTo>
                  <a:lnTo>
                    <a:pt x="1403" y="850"/>
                  </a:lnTo>
                  <a:lnTo>
                    <a:pt x="1401" y="849"/>
                  </a:lnTo>
                  <a:lnTo>
                    <a:pt x="1400" y="844"/>
                  </a:lnTo>
                  <a:lnTo>
                    <a:pt x="1401" y="842"/>
                  </a:lnTo>
                  <a:lnTo>
                    <a:pt x="1401" y="838"/>
                  </a:lnTo>
                  <a:lnTo>
                    <a:pt x="1401" y="836"/>
                  </a:lnTo>
                  <a:lnTo>
                    <a:pt x="1399" y="835"/>
                  </a:lnTo>
                  <a:lnTo>
                    <a:pt x="1398" y="832"/>
                  </a:lnTo>
                  <a:lnTo>
                    <a:pt x="1400" y="829"/>
                  </a:lnTo>
                  <a:lnTo>
                    <a:pt x="1402" y="829"/>
                  </a:lnTo>
                  <a:lnTo>
                    <a:pt x="1406" y="828"/>
                  </a:lnTo>
                  <a:lnTo>
                    <a:pt x="1408" y="828"/>
                  </a:lnTo>
                  <a:lnTo>
                    <a:pt x="1410" y="827"/>
                  </a:lnTo>
                  <a:lnTo>
                    <a:pt x="1411" y="824"/>
                  </a:lnTo>
                  <a:lnTo>
                    <a:pt x="1410" y="821"/>
                  </a:lnTo>
                  <a:lnTo>
                    <a:pt x="1413" y="819"/>
                  </a:lnTo>
                  <a:lnTo>
                    <a:pt x="1415" y="821"/>
                  </a:lnTo>
                  <a:lnTo>
                    <a:pt x="1419" y="821"/>
                  </a:lnTo>
                  <a:lnTo>
                    <a:pt x="1421" y="819"/>
                  </a:lnTo>
                  <a:lnTo>
                    <a:pt x="1422" y="817"/>
                  </a:lnTo>
                  <a:lnTo>
                    <a:pt x="1425" y="810"/>
                  </a:lnTo>
                  <a:lnTo>
                    <a:pt x="1425" y="806"/>
                  </a:lnTo>
                  <a:lnTo>
                    <a:pt x="1427" y="802"/>
                  </a:lnTo>
                  <a:lnTo>
                    <a:pt x="1429" y="796"/>
                  </a:lnTo>
                  <a:lnTo>
                    <a:pt x="1429" y="795"/>
                  </a:lnTo>
                  <a:lnTo>
                    <a:pt x="1426" y="790"/>
                  </a:lnTo>
                  <a:lnTo>
                    <a:pt x="1426" y="787"/>
                  </a:lnTo>
                  <a:lnTo>
                    <a:pt x="1425" y="784"/>
                  </a:lnTo>
                  <a:lnTo>
                    <a:pt x="1429" y="781"/>
                  </a:lnTo>
                  <a:lnTo>
                    <a:pt x="1431" y="780"/>
                  </a:lnTo>
                  <a:lnTo>
                    <a:pt x="1434" y="780"/>
                  </a:lnTo>
                  <a:lnTo>
                    <a:pt x="1437" y="780"/>
                  </a:lnTo>
                  <a:lnTo>
                    <a:pt x="1442" y="779"/>
                  </a:lnTo>
                  <a:lnTo>
                    <a:pt x="1442" y="777"/>
                  </a:lnTo>
                  <a:lnTo>
                    <a:pt x="1440" y="774"/>
                  </a:lnTo>
                  <a:lnTo>
                    <a:pt x="1438" y="773"/>
                  </a:lnTo>
                  <a:lnTo>
                    <a:pt x="1434" y="771"/>
                  </a:lnTo>
                  <a:lnTo>
                    <a:pt x="1433" y="769"/>
                  </a:lnTo>
                  <a:lnTo>
                    <a:pt x="1431" y="766"/>
                  </a:lnTo>
                  <a:lnTo>
                    <a:pt x="1430" y="764"/>
                  </a:lnTo>
                  <a:lnTo>
                    <a:pt x="1431" y="763"/>
                  </a:lnTo>
                  <a:lnTo>
                    <a:pt x="1432" y="762"/>
                  </a:lnTo>
                  <a:lnTo>
                    <a:pt x="1435" y="761"/>
                  </a:lnTo>
                  <a:lnTo>
                    <a:pt x="1438" y="758"/>
                  </a:lnTo>
                  <a:lnTo>
                    <a:pt x="1443" y="758"/>
                  </a:lnTo>
                  <a:lnTo>
                    <a:pt x="1445" y="758"/>
                  </a:lnTo>
                  <a:lnTo>
                    <a:pt x="1448" y="757"/>
                  </a:lnTo>
                  <a:lnTo>
                    <a:pt x="1449" y="756"/>
                  </a:lnTo>
                  <a:lnTo>
                    <a:pt x="1450" y="754"/>
                  </a:lnTo>
                  <a:lnTo>
                    <a:pt x="1453" y="754"/>
                  </a:lnTo>
                  <a:lnTo>
                    <a:pt x="1456" y="756"/>
                  </a:lnTo>
                  <a:lnTo>
                    <a:pt x="1458" y="758"/>
                  </a:lnTo>
                  <a:lnTo>
                    <a:pt x="1462" y="760"/>
                  </a:lnTo>
                  <a:lnTo>
                    <a:pt x="1464" y="761"/>
                  </a:lnTo>
                  <a:lnTo>
                    <a:pt x="1465" y="764"/>
                  </a:lnTo>
                  <a:lnTo>
                    <a:pt x="1467" y="766"/>
                  </a:lnTo>
                  <a:lnTo>
                    <a:pt x="1470" y="770"/>
                  </a:lnTo>
                  <a:lnTo>
                    <a:pt x="1473" y="774"/>
                  </a:lnTo>
                  <a:lnTo>
                    <a:pt x="1475" y="777"/>
                  </a:lnTo>
                  <a:lnTo>
                    <a:pt x="1479" y="784"/>
                  </a:lnTo>
                  <a:lnTo>
                    <a:pt x="1481" y="786"/>
                  </a:lnTo>
                  <a:lnTo>
                    <a:pt x="1486" y="786"/>
                  </a:lnTo>
                  <a:lnTo>
                    <a:pt x="1488" y="785"/>
                  </a:lnTo>
                  <a:lnTo>
                    <a:pt x="1493" y="782"/>
                  </a:lnTo>
                  <a:lnTo>
                    <a:pt x="1495" y="782"/>
                  </a:lnTo>
                  <a:lnTo>
                    <a:pt x="1497" y="782"/>
                  </a:lnTo>
                  <a:lnTo>
                    <a:pt x="1501" y="782"/>
                  </a:lnTo>
                  <a:lnTo>
                    <a:pt x="1503" y="784"/>
                  </a:lnTo>
                  <a:lnTo>
                    <a:pt x="1506" y="785"/>
                  </a:lnTo>
                  <a:lnTo>
                    <a:pt x="1509" y="787"/>
                  </a:lnTo>
                  <a:lnTo>
                    <a:pt x="1512" y="787"/>
                  </a:lnTo>
                  <a:lnTo>
                    <a:pt x="1515" y="787"/>
                  </a:lnTo>
                  <a:lnTo>
                    <a:pt x="1517" y="785"/>
                  </a:lnTo>
                  <a:lnTo>
                    <a:pt x="1517" y="779"/>
                  </a:lnTo>
                  <a:lnTo>
                    <a:pt x="1518" y="774"/>
                  </a:lnTo>
                  <a:lnTo>
                    <a:pt x="1518" y="770"/>
                  </a:lnTo>
                  <a:lnTo>
                    <a:pt x="1519" y="766"/>
                  </a:lnTo>
                  <a:lnTo>
                    <a:pt x="1517" y="744"/>
                  </a:lnTo>
                  <a:lnTo>
                    <a:pt x="1518" y="742"/>
                  </a:lnTo>
                  <a:lnTo>
                    <a:pt x="1521" y="739"/>
                  </a:lnTo>
                  <a:lnTo>
                    <a:pt x="1526" y="738"/>
                  </a:lnTo>
                  <a:lnTo>
                    <a:pt x="1530" y="734"/>
                  </a:lnTo>
                  <a:lnTo>
                    <a:pt x="1536" y="733"/>
                  </a:lnTo>
                  <a:lnTo>
                    <a:pt x="1538" y="732"/>
                  </a:lnTo>
                  <a:lnTo>
                    <a:pt x="1543" y="731"/>
                  </a:lnTo>
                  <a:lnTo>
                    <a:pt x="1546" y="728"/>
                  </a:lnTo>
                  <a:lnTo>
                    <a:pt x="1549" y="724"/>
                  </a:lnTo>
                  <a:lnTo>
                    <a:pt x="1550" y="720"/>
                  </a:lnTo>
                  <a:lnTo>
                    <a:pt x="1549" y="714"/>
                  </a:lnTo>
                  <a:lnTo>
                    <a:pt x="1546" y="710"/>
                  </a:lnTo>
                  <a:lnTo>
                    <a:pt x="1546" y="707"/>
                  </a:lnTo>
                  <a:lnTo>
                    <a:pt x="1546" y="701"/>
                  </a:lnTo>
                  <a:lnTo>
                    <a:pt x="1547" y="698"/>
                  </a:lnTo>
                  <a:lnTo>
                    <a:pt x="1549" y="693"/>
                  </a:lnTo>
                  <a:lnTo>
                    <a:pt x="1552" y="690"/>
                  </a:lnTo>
                  <a:lnTo>
                    <a:pt x="1554" y="686"/>
                  </a:lnTo>
                  <a:lnTo>
                    <a:pt x="1555" y="683"/>
                  </a:lnTo>
                  <a:lnTo>
                    <a:pt x="1555" y="680"/>
                  </a:lnTo>
                  <a:lnTo>
                    <a:pt x="1552" y="675"/>
                  </a:lnTo>
                  <a:lnTo>
                    <a:pt x="1551" y="670"/>
                  </a:lnTo>
                  <a:lnTo>
                    <a:pt x="1550" y="666"/>
                  </a:lnTo>
                  <a:lnTo>
                    <a:pt x="1550" y="662"/>
                  </a:lnTo>
                  <a:lnTo>
                    <a:pt x="1552" y="659"/>
                  </a:lnTo>
                  <a:lnTo>
                    <a:pt x="1557" y="656"/>
                  </a:lnTo>
                  <a:lnTo>
                    <a:pt x="1560" y="653"/>
                  </a:lnTo>
                  <a:lnTo>
                    <a:pt x="1562" y="649"/>
                  </a:lnTo>
                  <a:lnTo>
                    <a:pt x="1562" y="646"/>
                  </a:lnTo>
                  <a:lnTo>
                    <a:pt x="1562" y="638"/>
                  </a:lnTo>
                  <a:lnTo>
                    <a:pt x="1562" y="635"/>
                  </a:lnTo>
                  <a:lnTo>
                    <a:pt x="1562" y="632"/>
                  </a:lnTo>
                  <a:lnTo>
                    <a:pt x="1561" y="628"/>
                  </a:lnTo>
                  <a:lnTo>
                    <a:pt x="1560" y="625"/>
                  </a:lnTo>
                  <a:lnTo>
                    <a:pt x="1560" y="624"/>
                  </a:lnTo>
                  <a:lnTo>
                    <a:pt x="1560" y="621"/>
                  </a:lnTo>
                  <a:lnTo>
                    <a:pt x="1558" y="618"/>
                  </a:lnTo>
                  <a:lnTo>
                    <a:pt x="1557" y="616"/>
                  </a:lnTo>
                  <a:lnTo>
                    <a:pt x="1557" y="614"/>
                  </a:lnTo>
                  <a:lnTo>
                    <a:pt x="1555" y="612"/>
                  </a:lnTo>
                  <a:lnTo>
                    <a:pt x="1554" y="610"/>
                  </a:lnTo>
                  <a:lnTo>
                    <a:pt x="1553" y="605"/>
                  </a:lnTo>
                  <a:lnTo>
                    <a:pt x="1552" y="603"/>
                  </a:lnTo>
                  <a:lnTo>
                    <a:pt x="1550" y="601"/>
                  </a:lnTo>
                  <a:lnTo>
                    <a:pt x="1549" y="598"/>
                  </a:lnTo>
                  <a:lnTo>
                    <a:pt x="1547" y="597"/>
                  </a:lnTo>
                  <a:lnTo>
                    <a:pt x="1546" y="595"/>
                  </a:lnTo>
                  <a:lnTo>
                    <a:pt x="1545" y="593"/>
                  </a:lnTo>
                  <a:lnTo>
                    <a:pt x="1545" y="590"/>
                  </a:lnTo>
                  <a:lnTo>
                    <a:pt x="1545" y="589"/>
                  </a:lnTo>
                  <a:lnTo>
                    <a:pt x="1546" y="588"/>
                  </a:lnTo>
                  <a:lnTo>
                    <a:pt x="1547" y="587"/>
                  </a:lnTo>
                  <a:lnTo>
                    <a:pt x="1551" y="586"/>
                  </a:lnTo>
                  <a:lnTo>
                    <a:pt x="1553" y="585"/>
                  </a:lnTo>
                  <a:lnTo>
                    <a:pt x="1555" y="585"/>
                  </a:lnTo>
                  <a:lnTo>
                    <a:pt x="1557" y="585"/>
                  </a:lnTo>
                  <a:lnTo>
                    <a:pt x="1558" y="588"/>
                  </a:lnTo>
                  <a:lnTo>
                    <a:pt x="1558" y="590"/>
                  </a:lnTo>
                  <a:lnTo>
                    <a:pt x="1558" y="592"/>
                  </a:lnTo>
                  <a:lnTo>
                    <a:pt x="1557" y="594"/>
                  </a:lnTo>
                  <a:lnTo>
                    <a:pt x="1557" y="596"/>
                  </a:lnTo>
                  <a:lnTo>
                    <a:pt x="1558" y="600"/>
                  </a:lnTo>
                  <a:lnTo>
                    <a:pt x="1559" y="602"/>
                  </a:lnTo>
                  <a:lnTo>
                    <a:pt x="1560" y="603"/>
                  </a:lnTo>
                  <a:lnTo>
                    <a:pt x="1565" y="603"/>
                  </a:lnTo>
                  <a:lnTo>
                    <a:pt x="1566" y="603"/>
                  </a:lnTo>
                  <a:lnTo>
                    <a:pt x="1568" y="604"/>
                  </a:lnTo>
                  <a:lnTo>
                    <a:pt x="1570" y="606"/>
                  </a:lnTo>
                  <a:lnTo>
                    <a:pt x="1573" y="609"/>
                  </a:lnTo>
                  <a:lnTo>
                    <a:pt x="1574" y="613"/>
                  </a:lnTo>
                  <a:lnTo>
                    <a:pt x="1575" y="614"/>
                  </a:lnTo>
                  <a:lnTo>
                    <a:pt x="1577" y="617"/>
                  </a:lnTo>
                  <a:lnTo>
                    <a:pt x="1578" y="619"/>
                  </a:lnTo>
                  <a:lnTo>
                    <a:pt x="1581" y="621"/>
                  </a:lnTo>
                  <a:lnTo>
                    <a:pt x="1582" y="622"/>
                  </a:lnTo>
                  <a:lnTo>
                    <a:pt x="1584" y="624"/>
                  </a:lnTo>
                  <a:lnTo>
                    <a:pt x="1585" y="625"/>
                  </a:lnTo>
                  <a:lnTo>
                    <a:pt x="1587" y="625"/>
                  </a:lnTo>
                  <a:lnTo>
                    <a:pt x="1590" y="626"/>
                  </a:lnTo>
                  <a:lnTo>
                    <a:pt x="1592" y="627"/>
                  </a:lnTo>
                  <a:lnTo>
                    <a:pt x="1594" y="627"/>
                  </a:lnTo>
                  <a:lnTo>
                    <a:pt x="1598" y="627"/>
                  </a:lnTo>
                  <a:lnTo>
                    <a:pt x="1600" y="626"/>
                  </a:lnTo>
                  <a:lnTo>
                    <a:pt x="1602" y="626"/>
                  </a:lnTo>
                  <a:lnTo>
                    <a:pt x="1606" y="625"/>
                  </a:lnTo>
                  <a:lnTo>
                    <a:pt x="1609" y="624"/>
                  </a:lnTo>
                  <a:lnTo>
                    <a:pt x="1611" y="622"/>
                  </a:lnTo>
                  <a:lnTo>
                    <a:pt x="1614" y="622"/>
                  </a:lnTo>
                  <a:lnTo>
                    <a:pt x="1618" y="622"/>
                  </a:lnTo>
                  <a:lnTo>
                    <a:pt x="1622" y="621"/>
                  </a:lnTo>
                  <a:lnTo>
                    <a:pt x="1624" y="621"/>
                  </a:lnTo>
                  <a:lnTo>
                    <a:pt x="1626" y="621"/>
                  </a:lnTo>
                  <a:lnTo>
                    <a:pt x="1630" y="621"/>
                  </a:lnTo>
                  <a:lnTo>
                    <a:pt x="1633" y="622"/>
                  </a:lnTo>
                  <a:lnTo>
                    <a:pt x="1637" y="624"/>
                  </a:lnTo>
                  <a:lnTo>
                    <a:pt x="1640" y="625"/>
                  </a:lnTo>
                  <a:lnTo>
                    <a:pt x="1642" y="625"/>
                  </a:lnTo>
                  <a:lnTo>
                    <a:pt x="1647" y="627"/>
                  </a:lnTo>
                  <a:lnTo>
                    <a:pt x="1650" y="629"/>
                  </a:lnTo>
                  <a:lnTo>
                    <a:pt x="1651" y="630"/>
                  </a:lnTo>
                  <a:lnTo>
                    <a:pt x="1655" y="632"/>
                  </a:lnTo>
                  <a:lnTo>
                    <a:pt x="1658" y="633"/>
                  </a:lnTo>
                  <a:lnTo>
                    <a:pt x="1662" y="634"/>
                  </a:lnTo>
                  <a:lnTo>
                    <a:pt x="1664" y="635"/>
                  </a:lnTo>
                  <a:lnTo>
                    <a:pt x="1665" y="636"/>
                  </a:lnTo>
                  <a:lnTo>
                    <a:pt x="1666" y="636"/>
                  </a:lnTo>
                  <a:lnTo>
                    <a:pt x="1671" y="636"/>
                  </a:lnTo>
                  <a:lnTo>
                    <a:pt x="1673" y="636"/>
                  </a:lnTo>
                  <a:lnTo>
                    <a:pt x="1675" y="636"/>
                  </a:lnTo>
                  <a:lnTo>
                    <a:pt x="1677" y="636"/>
                  </a:lnTo>
                  <a:lnTo>
                    <a:pt x="1680" y="636"/>
                  </a:lnTo>
                  <a:lnTo>
                    <a:pt x="1683" y="635"/>
                  </a:lnTo>
                  <a:lnTo>
                    <a:pt x="1685" y="635"/>
                  </a:lnTo>
                  <a:lnTo>
                    <a:pt x="1687" y="634"/>
                  </a:lnTo>
                  <a:lnTo>
                    <a:pt x="1690" y="633"/>
                  </a:lnTo>
                  <a:lnTo>
                    <a:pt x="1693" y="633"/>
                  </a:lnTo>
                  <a:lnTo>
                    <a:pt x="1694" y="633"/>
                  </a:lnTo>
                  <a:lnTo>
                    <a:pt x="1696" y="634"/>
                  </a:lnTo>
                  <a:lnTo>
                    <a:pt x="1697" y="634"/>
                  </a:lnTo>
                  <a:lnTo>
                    <a:pt x="1699" y="635"/>
                  </a:lnTo>
                  <a:lnTo>
                    <a:pt x="1702" y="638"/>
                  </a:lnTo>
                  <a:lnTo>
                    <a:pt x="1701" y="642"/>
                  </a:lnTo>
                  <a:lnTo>
                    <a:pt x="1698" y="643"/>
                  </a:lnTo>
                  <a:lnTo>
                    <a:pt x="1697" y="644"/>
                  </a:lnTo>
                  <a:lnTo>
                    <a:pt x="1696" y="648"/>
                  </a:lnTo>
                  <a:lnTo>
                    <a:pt x="1697" y="651"/>
                  </a:lnTo>
                  <a:lnTo>
                    <a:pt x="1701" y="653"/>
                  </a:lnTo>
                  <a:lnTo>
                    <a:pt x="1702" y="659"/>
                  </a:lnTo>
                  <a:lnTo>
                    <a:pt x="1698" y="662"/>
                  </a:lnTo>
                  <a:lnTo>
                    <a:pt x="1699" y="665"/>
                  </a:lnTo>
                  <a:lnTo>
                    <a:pt x="1705" y="667"/>
                  </a:lnTo>
                  <a:lnTo>
                    <a:pt x="1712" y="667"/>
                  </a:lnTo>
                  <a:lnTo>
                    <a:pt x="1717" y="666"/>
                  </a:lnTo>
                  <a:lnTo>
                    <a:pt x="1720" y="665"/>
                  </a:lnTo>
                  <a:lnTo>
                    <a:pt x="1728" y="665"/>
                  </a:lnTo>
                  <a:lnTo>
                    <a:pt x="1730" y="666"/>
                  </a:lnTo>
                  <a:lnTo>
                    <a:pt x="1731" y="668"/>
                  </a:lnTo>
                  <a:lnTo>
                    <a:pt x="1729" y="672"/>
                  </a:lnTo>
                  <a:lnTo>
                    <a:pt x="1728" y="675"/>
                  </a:lnTo>
                  <a:lnTo>
                    <a:pt x="1728" y="677"/>
                  </a:lnTo>
                  <a:lnTo>
                    <a:pt x="1730" y="682"/>
                  </a:lnTo>
                  <a:lnTo>
                    <a:pt x="1730" y="684"/>
                  </a:lnTo>
                  <a:lnTo>
                    <a:pt x="1725" y="691"/>
                  </a:lnTo>
                  <a:lnTo>
                    <a:pt x="1722" y="694"/>
                  </a:lnTo>
                  <a:lnTo>
                    <a:pt x="1721" y="697"/>
                  </a:lnTo>
                  <a:lnTo>
                    <a:pt x="1726" y="699"/>
                  </a:lnTo>
                  <a:lnTo>
                    <a:pt x="1733" y="699"/>
                  </a:lnTo>
                  <a:lnTo>
                    <a:pt x="1737" y="699"/>
                  </a:lnTo>
                  <a:lnTo>
                    <a:pt x="1741" y="698"/>
                  </a:lnTo>
                  <a:lnTo>
                    <a:pt x="1744" y="697"/>
                  </a:lnTo>
                  <a:lnTo>
                    <a:pt x="1751" y="696"/>
                  </a:lnTo>
                  <a:lnTo>
                    <a:pt x="1757" y="697"/>
                  </a:lnTo>
                  <a:lnTo>
                    <a:pt x="1760" y="698"/>
                  </a:lnTo>
                  <a:lnTo>
                    <a:pt x="1766" y="698"/>
                  </a:lnTo>
                  <a:lnTo>
                    <a:pt x="1770" y="700"/>
                  </a:lnTo>
                  <a:lnTo>
                    <a:pt x="1775" y="702"/>
                  </a:lnTo>
                  <a:lnTo>
                    <a:pt x="1782" y="707"/>
                  </a:lnTo>
                  <a:lnTo>
                    <a:pt x="1786" y="710"/>
                  </a:lnTo>
                  <a:lnTo>
                    <a:pt x="1790" y="715"/>
                  </a:lnTo>
                  <a:lnTo>
                    <a:pt x="1794" y="718"/>
                  </a:lnTo>
                  <a:lnTo>
                    <a:pt x="1799" y="721"/>
                  </a:lnTo>
                  <a:lnTo>
                    <a:pt x="1805" y="720"/>
                  </a:lnTo>
                  <a:lnTo>
                    <a:pt x="1805" y="712"/>
                  </a:lnTo>
                  <a:lnTo>
                    <a:pt x="1805" y="708"/>
                  </a:lnTo>
                  <a:lnTo>
                    <a:pt x="1807" y="700"/>
                  </a:lnTo>
                  <a:lnTo>
                    <a:pt x="1810" y="693"/>
                  </a:lnTo>
                  <a:lnTo>
                    <a:pt x="1809" y="690"/>
                  </a:lnTo>
                  <a:lnTo>
                    <a:pt x="1809" y="685"/>
                  </a:lnTo>
                  <a:lnTo>
                    <a:pt x="1809" y="682"/>
                  </a:lnTo>
                  <a:lnTo>
                    <a:pt x="1809" y="678"/>
                  </a:lnTo>
                  <a:lnTo>
                    <a:pt x="1814" y="681"/>
                  </a:lnTo>
                  <a:lnTo>
                    <a:pt x="1816" y="683"/>
                  </a:lnTo>
                  <a:lnTo>
                    <a:pt x="1821" y="684"/>
                  </a:lnTo>
                  <a:lnTo>
                    <a:pt x="1824" y="688"/>
                  </a:lnTo>
                  <a:lnTo>
                    <a:pt x="1825" y="689"/>
                  </a:lnTo>
                  <a:lnTo>
                    <a:pt x="1830" y="690"/>
                  </a:lnTo>
                  <a:lnTo>
                    <a:pt x="1835" y="690"/>
                  </a:lnTo>
                  <a:lnTo>
                    <a:pt x="1841" y="691"/>
                  </a:lnTo>
                  <a:lnTo>
                    <a:pt x="1845" y="692"/>
                  </a:lnTo>
                  <a:lnTo>
                    <a:pt x="1848" y="694"/>
                  </a:lnTo>
                  <a:lnTo>
                    <a:pt x="1854" y="697"/>
                  </a:lnTo>
                  <a:lnTo>
                    <a:pt x="1858" y="700"/>
                  </a:lnTo>
                  <a:lnTo>
                    <a:pt x="1861" y="704"/>
                  </a:lnTo>
                  <a:lnTo>
                    <a:pt x="1864" y="704"/>
                  </a:lnTo>
                  <a:lnTo>
                    <a:pt x="1874" y="701"/>
                  </a:lnTo>
                  <a:lnTo>
                    <a:pt x="1879" y="700"/>
                  </a:lnTo>
                  <a:lnTo>
                    <a:pt x="1886" y="699"/>
                  </a:lnTo>
                  <a:lnTo>
                    <a:pt x="1891" y="701"/>
                  </a:lnTo>
                  <a:lnTo>
                    <a:pt x="1896" y="704"/>
                  </a:lnTo>
                  <a:lnTo>
                    <a:pt x="1899" y="705"/>
                  </a:lnTo>
                  <a:lnTo>
                    <a:pt x="1903" y="707"/>
                  </a:lnTo>
                  <a:lnTo>
                    <a:pt x="1906" y="706"/>
                  </a:lnTo>
                  <a:lnTo>
                    <a:pt x="1910" y="705"/>
                  </a:lnTo>
                  <a:lnTo>
                    <a:pt x="1915" y="698"/>
                  </a:lnTo>
                  <a:lnTo>
                    <a:pt x="1919" y="696"/>
                  </a:lnTo>
                  <a:lnTo>
                    <a:pt x="1925" y="691"/>
                  </a:lnTo>
                  <a:lnTo>
                    <a:pt x="1927" y="686"/>
                  </a:lnTo>
                  <a:lnTo>
                    <a:pt x="1929" y="682"/>
                  </a:lnTo>
                  <a:lnTo>
                    <a:pt x="1931" y="678"/>
                  </a:lnTo>
                  <a:lnTo>
                    <a:pt x="1935" y="676"/>
                  </a:lnTo>
                  <a:lnTo>
                    <a:pt x="1938" y="675"/>
                  </a:lnTo>
                  <a:lnTo>
                    <a:pt x="1942" y="675"/>
                  </a:lnTo>
                  <a:lnTo>
                    <a:pt x="1953" y="678"/>
                  </a:lnTo>
                  <a:lnTo>
                    <a:pt x="1959" y="683"/>
                  </a:lnTo>
                  <a:lnTo>
                    <a:pt x="1960" y="690"/>
                  </a:lnTo>
                  <a:lnTo>
                    <a:pt x="1961" y="693"/>
                  </a:lnTo>
                  <a:lnTo>
                    <a:pt x="1963" y="698"/>
                  </a:lnTo>
                  <a:lnTo>
                    <a:pt x="1967" y="701"/>
                  </a:lnTo>
                  <a:lnTo>
                    <a:pt x="1970" y="705"/>
                  </a:lnTo>
                  <a:lnTo>
                    <a:pt x="1977" y="706"/>
                  </a:lnTo>
                  <a:lnTo>
                    <a:pt x="1985" y="706"/>
                  </a:lnTo>
                  <a:lnTo>
                    <a:pt x="1990" y="706"/>
                  </a:lnTo>
                  <a:lnTo>
                    <a:pt x="1994" y="707"/>
                  </a:lnTo>
                  <a:lnTo>
                    <a:pt x="1999" y="709"/>
                  </a:lnTo>
                  <a:lnTo>
                    <a:pt x="2002" y="713"/>
                  </a:lnTo>
                  <a:lnTo>
                    <a:pt x="2005" y="721"/>
                  </a:lnTo>
                  <a:lnTo>
                    <a:pt x="2005" y="737"/>
                  </a:lnTo>
                  <a:lnTo>
                    <a:pt x="2003" y="740"/>
                  </a:lnTo>
                  <a:lnTo>
                    <a:pt x="2001" y="747"/>
                  </a:lnTo>
                  <a:lnTo>
                    <a:pt x="2000" y="752"/>
                  </a:lnTo>
                  <a:lnTo>
                    <a:pt x="1999" y="757"/>
                  </a:lnTo>
                  <a:lnTo>
                    <a:pt x="1998" y="763"/>
                  </a:lnTo>
                  <a:lnTo>
                    <a:pt x="1997" y="769"/>
                  </a:lnTo>
                  <a:lnTo>
                    <a:pt x="1998" y="773"/>
                  </a:lnTo>
                  <a:lnTo>
                    <a:pt x="2000" y="779"/>
                  </a:lnTo>
                  <a:lnTo>
                    <a:pt x="2002" y="785"/>
                  </a:lnTo>
                  <a:lnTo>
                    <a:pt x="2003" y="789"/>
                  </a:lnTo>
                  <a:lnTo>
                    <a:pt x="2002" y="796"/>
                  </a:lnTo>
                  <a:lnTo>
                    <a:pt x="2001" y="800"/>
                  </a:lnTo>
                  <a:lnTo>
                    <a:pt x="1998" y="802"/>
                  </a:lnTo>
                  <a:lnTo>
                    <a:pt x="1993" y="804"/>
                  </a:lnTo>
                  <a:lnTo>
                    <a:pt x="1984" y="809"/>
                  </a:lnTo>
                  <a:lnTo>
                    <a:pt x="1978" y="813"/>
                  </a:lnTo>
                  <a:lnTo>
                    <a:pt x="1974" y="818"/>
                  </a:lnTo>
                  <a:lnTo>
                    <a:pt x="1970" y="822"/>
                  </a:lnTo>
                  <a:lnTo>
                    <a:pt x="1970" y="828"/>
                  </a:lnTo>
                  <a:lnTo>
                    <a:pt x="1973" y="834"/>
                  </a:lnTo>
                  <a:lnTo>
                    <a:pt x="1976" y="836"/>
                  </a:lnTo>
                  <a:lnTo>
                    <a:pt x="1982" y="836"/>
                  </a:lnTo>
                  <a:lnTo>
                    <a:pt x="1986" y="834"/>
                  </a:lnTo>
                  <a:lnTo>
                    <a:pt x="1990" y="835"/>
                  </a:lnTo>
                  <a:lnTo>
                    <a:pt x="1992" y="836"/>
                  </a:lnTo>
                  <a:lnTo>
                    <a:pt x="1995" y="840"/>
                  </a:lnTo>
                  <a:lnTo>
                    <a:pt x="1998" y="843"/>
                  </a:lnTo>
                  <a:lnTo>
                    <a:pt x="2000" y="844"/>
                  </a:lnTo>
                  <a:lnTo>
                    <a:pt x="2003" y="846"/>
                  </a:lnTo>
                  <a:lnTo>
                    <a:pt x="2008" y="852"/>
                  </a:lnTo>
                  <a:lnTo>
                    <a:pt x="2009" y="854"/>
                  </a:lnTo>
                  <a:lnTo>
                    <a:pt x="2008" y="860"/>
                  </a:lnTo>
                  <a:lnTo>
                    <a:pt x="2008" y="865"/>
                  </a:lnTo>
                  <a:lnTo>
                    <a:pt x="2010" y="870"/>
                  </a:lnTo>
                  <a:lnTo>
                    <a:pt x="2013" y="875"/>
                  </a:lnTo>
                  <a:lnTo>
                    <a:pt x="2011" y="880"/>
                  </a:lnTo>
                  <a:lnTo>
                    <a:pt x="2010" y="885"/>
                  </a:lnTo>
                  <a:lnTo>
                    <a:pt x="2009" y="891"/>
                  </a:lnTo>
                  <a:lnTo>
                    <a:pt x="2009" y="893"/>
                  </a:lnTo>
                  <a:lnTo>
                    <a:pt x="2010" y="898"/>
                  </a:lnTo>
                  <a:lnTo>
                    <a:pt x="2015" y="899"/>
                  </a:lnTo>
                  <a:lnTo>
                    <a:pt x="2017" y="900"/>
                  </a:lnTo>
                  <a:lnTo>
                    <a:pt x="2019" y="902"/>
                  </a:lnTo>
                  <a:lnTo>
                    <a:pt x="2024" y="905"/>
                  </a:lnTo>
                  <a:lnTo>
                    <a:pt x="2032" y="908"/>
                  </a:lnTo>
                  <a:lnTo>
                    <a:pt x="2037" y="912"/>
                  </a:lnTo>
                  <a:lnTo>
                    <a:pt x="2041" y="914"/>
                  </a:lnTo>
                  <a:lnTo>
                    <a:pt x="2048" y="917"/>
                  </a:lnTo>
                  <a:lnTo>
                    <a:pt x="2051" y="918"/>
                  </a:lnTo>
                  <a:lnTo>
                    <a:pt x="2056" y="920"/>
                  </a:lnTo>
                  <a:lnTo>
                    <a:pt x="2063" y="921"/>
                  </a:lnTo>
                  <a:lnTo>
                    <a:pt x="2066" y="921"/>
                  </a:lnTo>
                  <a:lnTo>
                    <a:pt x="2069" y="921"/>
                  </a:lnTo>
                  <a:lnTo>
                    <a:pt x="2073" y="920"/>
                  </a:lnTo>
                  <a:lnTo>
                    <a:pt x="2078" y="920"/>
                  </a:lnTo>
                  <a:lnTo>
                    <a:pt x="2079" y="917"/>
                  </a:lnTo>
                  <a:lnTo>
                    <a:pt x="2079" y="916"/>
                  </a:lnTo>
                  <a:lnTo>
                    <a:pt x="2078" y="913"/>
                  </a:lnTo>
                  <a:lnTo>
                    <a:pt x="2077" y="908"/>
                  </a:lnTo>
                  <a:lnTo>
                    <a:pt x="2078" y="905"/>
                  </a:lnTo>
                  <a:lnTo>
                    <a:pt x="2081" y="902"/>
                  </a:lnTo>
                  <a:lnTo>
                    <a:pt x="2083" y="901"/>
                  </a:lnTo>
                  <a:lnTo>
                    <a:pt x="2087" y="901"/>
                  </a:lnTo>
                  <a:lnTo>
                    <a:pt x="2090" y="901"/>
                  </a:lnTo>
                  <a:lnTo>
                    <a:pt x="2094" y="900"/>
                  </a:lnTo>
                  <a:lnTo>
                    <a:pt x="2097" y="899"/>
                  </a:lnTo>
                  <a:lnTo>
                    <a:pt x="2099" y="897"/>
                  </a:lnTo>
                  <a:lnTo>
                    <a:pt x="2104" y="896"/>
                  </a:lnTo>
                  <a:lnTo>
                    <a:pt x="2106" y="892"/>
                  </a:lnTo>
                  <a:lnTo>
                    <a:pt x="2109" y="886"/>
                  </a:lnTo>
                  <a:lnTo>
                    <a:pt x="2109" y="883"/>
                  </a:lnTo>
                  <a:lnTo>
                    <a:pt x="2103" y="876"/>
                  </a:lnTo>
                  <a:lnTo>
                    <a:pt x="2099" y="872"/>
                  </a:lnTo>
                  <a:lnTo>
                    <a:pt x="2096" y="868"/>
                  </a:lnTo>
                  <a:lnTo>
                    <a:pt x="2090" y="862"/>
                  </a:lnTo>
                  <a:lnTo>
                    <a:pt x="2088" y="857"/>
                  </a:lnTo>
                  <a:lnTo>
                    <a:pt x="2085" y="854"/>
                  </a:lnTo>
                  <a:lnTo>
                    <a:pt x="2083" y="849"/>
                  </a:lnTo>
                  <a:lnTo>
                    <a:pt x="2085" y="842"/>
                  </a:lnTo>
                  <a:lnTo>
                    <a:pt x="2088" y="838"/>
                  </a:lnTo>
                  <a:lnTo>
                    <a:pt x="2094" y="835"/>
                  </a:lnTo>
                  <a:lnTo>
                    <a:pt x="2105" y="820"/>
                  </a:lnTo>
                  <a:lnTo>
                    <a:pt x="2105" y="819"/>
                  </a:lnTo>
                  <a:lnTo>
                    <a:pt x="2106" y="818"/>
                  </a:lnTo>
                  <a:lnTo>
                    <a:pt x="2113" y="814"/>
                  </a:lnTo>
                  <a:lnTo>
                    <a:pt x="2114" y="812"/>
                  </a:lnTo>
                  <a:lnTo>
                    <a:pt x="2115" y="809"/>
                  </a:lnTo>
                  <a:lnTo>
                    <a:pt x="2118" y="803"/>
                  </a:lnTo>
                  <a:lnTo>
                    <a:pt x="2119" y="798"/>
                  </a:lnTo>
                  <a:lnTo>
                    <a:pt x="2120" y="788"/>
                  </a:lnTo>
                  <a:lnTo>
                    <a:pt x="2122" y="782"/>
                  </a:lnTo>
                  <a:lnTo>
                    <a:pt x="2125" y="776"/>
                  </a:lnTo>
                  <a:lnTo>
                    <a:pt x="2128" y="770"/>
                  </a:lnTo>
                  <a:lnTo>
                    <a:pt x="2135" y="761"/>
                  </a:lnTo>
                  <a:lnTo>
                    <a:pt x="2138" y="758"/>
                  </a:lnTo>
                  <a:lnTo>
                    <a:pt x="2144" y="755"/>
                  </a:lnTo>
                  <a:lnTo>
                    <a:pt x="2149" y="753"/>
                  </a:lnTo>
                  <a:lnTo>
                    <a:pt x="2154" y="752"/>
                  </a:lnTo>
                  <a:lnTo>
                    <a:pt x="2160" y="749"/>
                  </a:lnTo>
                  <a:lnTo>
                    <a:pt x="2162" y="748"/>
                  </a:lnTo>
                  <a:lnTo>
                    <a:pt x="2165" y="748"/>
                  </a:lnTo>
                  <a:lnTo>
                    <a:pt x="2169" y="747"/>
                  </a:lnTo>
                  <a:lnTo>
                    <a:pt x="2173" y="747"/>
                  </a:lnTo>
                  <a:lnTo>
                    <a:pt x="2178" y="747"/>
                  </a:lnTo>
                  <a:lnTo>
                    <a:pt x="2183" y="747"/>
                  </a:lnTo>
                  <a:lnTo>
                    <a:pt x="2185" y="747"/>
                  </a:lnTo>
                  <a:lnTo>
                    <a:pt x="2189" y="748"/>
                  </a:lnTo>
                  <a:lnTo>
                    <a:pt x="2190" y="749"/>
                  </a:lnTo>
                  <a:lnTo>
                    <a:pt x="2193" y="750"/>
                  </a:lnTo>
                  <a:lnTo>
                    <a:pt x="2195" y="750"/>
                  </a:lnTo>
                  <a:lnTo>
                    <a:pt x="2199" y="750"/>
                  </a:lnTo>
                  <a:lnTo>
                    <a:pt x="2201" y="749"/>
                  </a:lnTo>
                  <a:lnTo>
                    <a:pt x="2206" y="750"/>
                  </a:lnTo>
                  <a:lnTo>
                    <a:pt x="2207" y="753"/>
                  </a:lnTo>
                  <a:lnTo>
                    <a:pt x="2208" y="755"/>
                  </a:lnTo>
                  <a:lnTo>
                    <a:pt x="2210" y="758"/>
                  </a:lnTo>
                  <a:lnTo>
                    <a:pt x="2211" y="762"/>
                  </a:lnTo>
                  <a:lnTo>
                    <a:pt x="2214" y="764"/>
                  </a:lnTo>
                  <a:lnTo>
                    <a:pt x="2218" y="766"/>
                  </a:lnTo>
                  <a:lnTo>
                    <a:pt x="2222" y="766"/>
                  </a:lnTo>
                  <a:lnTo>
                    <a:pt x="2226" y="763"/>
                  </a:lnTo>
                  <a:lnTo>
                    <a:pt x="2233" y="760"/>
                  </a:lnTo>
                  <a:lnTo>
                    <a:pt x="2240" y="755"/>
                  </a:lnTo>
                  <a:lnTo>
                    <a:pt x="2245" y="752"/>
                  </a:lnTo>
                  <a:lnTo>
                    <a:pt x="2250" y="749"/>
                  </a:lnTo>
                  <a:lnTo>
                    <a:pt x="2253" y="746"/>
                  </a:lnTo>
                  <a:lnTo>
                    <a:pt x="2253" y="742"/>
                  </a:lnTo>
                  <a:lnTo>
                    <a:pt x="2251" y="739"/>
                  </a:lnTo>
                  <a:lnTo>
                    <a:pt x="2247" y="734"/>
                  </a:lnTo>
                  <a:lnTo>
                    <a:pt x="2243" y="732"/>
                  </a:lnTo>
                  <a:lnTo>
                    <a:pt x="2240" y="729"/>
                  </a:lnTo>
                  <a:lnTo>
                    <a:pt x="2241" y="724"/>
                  </a:lnTo>
                  <a:lnTo>
                    <a:pt x="2242" y="723"/>
                  </a:lnTo>
                  <a:lnTo>
                    <a:pt x="2246" y="722"/>
                  </a:lnTo>
                  <a:lnTo>
                    <a:pt x="2250" y="722"/>
                  </a:lnTo>
                  <a:lnTo>
                    <a:pt x="2257" y="721"/>
                  </a:lnTo>
                  <a:lnTo>
                    <a:pt x="2262" y="721"/>
                  </a:lnTo>
                  <a:lnTo>
                    <a:pt x="2266" y="716"/>
                  </a:lnTo>
                  <a:lnTo>
                    <a:pt x="2270" y="712"/>
                  </a:lnTo>
                  <a:lnTo>
                    <a:pt x="2270" y="707"/>
                  </a:lnTo>
                  <a:lnTo>
                    <a:pt x="2266" y="705"/>
                  </a:lnTo>
                  <a:lnTo>
                    <a:pt x="2262" y="701"/>
                  </a:lnTo>
                  <a:lnTo>
                    <a:pt x="2259" y="700"/>
                  </a:lnTo>
                  <a:lnTo>
                    <a:pt x="2256" y="698"/>
                  </a:lnTo>
                  <a:lnTo>
                    <a:pt x="2255" y="697"/>
                  </a:lnTo>
                  <a:lnTo>
                    <a:pt x="2253" y="692"/>
                  </a:lnTo>
                  <a:lnTo>
                    <a:pt x="2249" y="689"/>
                  </a:lnTo>
                  <a:lnTo>
                    <a:pt x="2246" y="688"/>
                  </a:lnTo>
                  <a:lnTo>
                    <a:pt x="2240" y="688"/>
                  </a:lnTo>
                  <a:lnTo>
                    <a:pt x="2237" y="688"/>
                  </a:lnTo>
                  <a:lnTo>
                    <a:pt x="2233" y="688"/>
                  </a:lnTo>
                  <a:lnTo>
                    <a:pt x="2231" y="686"/>
                  </a:lnTo>
                  <a:lnTo>
                    <a:pt x="2229" y="684"/>
                  </a:lnTo>
                  <a:lnTo>
                    <a:pt x="2226" y="682"/>
                  </a:lnTo>
                  <a:lnTo>
                    <a:pt x="2223" y="678"/>
                  </a:lnTo>
                  <a:lnTo>
                    <a:pt x="2217" y="675"/>
                  </a:lnTo>
                  <a:lnTo>
                    <a:pt x="2213" y="675"/>
                  </a:lnTo>
                  <a:lnTo>
                    <a:pt x="2207" y="675"/>
                  </a:lnTo>
                  <a:lnTo>
                    <a:pt x="2205" y="675"/>
                  </a:lnTo>
                  <a:lnTo>
                    <a:pt x="2200" y="674"/>
                  </a:lnTo>
                  <a:lnTo>
                    <a:pt x="2198" y="670"/>
                  </a:lnTo>
                  <a:lnTo>
                    <a:pt x="2198" y="666"/>
                  </a:lnTo>
                  <a:lnTo>
                    <a:pt x="2199" y="664"/>
                  </a:lnTo>
                  <a:lnTo>
                    <a:pt x="2201" y="662"/>
                  </a:lnTo>
                  <a:lnTo>
                    <a:pt x="2206" y="658"/>
                  </a:lnTo>
                  <a:lnTo>
                    <a:pt x="2206" y="654"/>
                  </a:lnTo>
                  <a:lnTo>
                    <a:pt x="2203" y="650"/>
                  </a:lnTo>
                  <a:lnTo>
                    <a:pt x="2199" y="646"/>
                  </a:lnTo>
                  <a:lnTo>
                    <a:pt x="2193" y="645"/>
                  </a:lnTo>
                  <a:lnTo>
                    <a:pt x="2187" y="645"/>
                  </a:lnTo>
                  <a:lnTo>
                    <a:pt x="2183" y="642"/>
                  </a:lnTo>
                  <a:lnTo>
                    <a:pt x="2181" y="641"/>
                  </a:lnTo>
                  <a:lnTo>
                    <a:pt x="2179" y="638"/>
                  </a:lnTo>
                  <a:lnTo>
                    <a:pt x="2178" y="629"/>
                  </a:lnTo>
                  <a:lnTo>
                    <a:pt x="2176" y="625"/>
                  </a:lnTo>
                  <a:lnTo>
                    <a:pt x="2175" y="622"/>
                  </a:lnTo>
                  <a:lnTo>
                    <a:pt x="2173" y="619"/>
                  </a:lnTo>
                  <a:lnTo>
                    <a:pt x="2171" y="617"/>
                  </a:lnTo>
                  <a:lnTo>
                    <a:pt x="2169" y="614"/>
                  </a:lnTo>
                  <a:lnTo>
                    <a:pt x="2169" y="612"/>
                  </a:lnTo>
                  <a:lnTo>
                    <a:pt x="2168" y="610"/>
                  </a:lnTo>
                  <a:lnTo>
                    <a:pt x="2167" y="609"/>
                  </a:lnTo>
                  <a:lnTo>
                    <a:pt x="2165" y="609"/>
                  </a:lnTo>
                  <a:lnTo>
                    <a:pt x="2161" y="609"/>
                  </a:lnTo>
                  <a:lnTo>
                    <a:pt x="2159" y="611"/>
                  </a:lnTo>
                  <a:lnTo>
                    <a:pt x="2155" y="612"/>
                  </a:lnTo>
                  <a:lnTo>
                    <a:pt x="2154" y="613"/>
                  </a:lnTo>
                  <a:lnTo>
                    <a:pt x="2154" y="616"/>
                  </a:lnTo>
                  <a:lnTo>
                    <a:pt x="2154" y="618"/>
                  </a:lnTo>
                  <a:lnTo>
                    <a:pt x="2157" y="619"/>
                  </a:lnTo>
                  <a:lnTo>
                    <a:pt x="2158" y="621"/>
                  </a:lnTo>
                  <a:lnTo>
                    <a:pt x="2158" y="625"/>
                  </a:lnTo>
                  <a:lnTo>
                    <a:pt x="2154" y="627"/>
                  </a:lnTo>
                  <a:lnTo>
                    <a:pt x="2150" y="626"/>
                  </a:lnTo>
                  <a:lnTo>
                    <a:pt x="2144" y="625"/>
                  </a:lnTo>
                  <a:lnTo>
                    <a:pt x="2141" y="622"/>
                  </a:lnTo>
                  <a:lnTo>
                    <a:pt x="2138" y="620"/>
                  </a:lnTo>
                  <a:lnTo>
                    <a:pt x="2138" y="618"/>
                  </a:lnTo>
                  <a:lnTo>
                    <a:pt x="2139" y="616"/>
                  </a:lnTo>
                  <a:lnTo>
                    <a:pt x="2143" y="614"/>
                  </a:lnTo>
                  <a:lnTo>
                    <a:pt x="2146" y="612"/>
                  </a:lnTo>
                  <a:lnTo>
                    <a:pt x="2151" y="609"/>
                  </a:lnTo>
                  <a:lnTo>
                    <a:pt x="2154" y="606"/>
                  </a:lnTo>
                  <a:lnTo>
                    <a:pt x="2155" y="605"/>
                  </a:lnTo>
                  <a:lnTo>
                    <a:pt x="2155" y="602"/>
                  </a:lnTo>
                  <a:lnTo>
                    <a:pt x="2155" y="601"/>
                  </a:lnTo>
                  <a:lnTo>
                    <a:pt x="2155" y="597"/>
                  </a:lnTo>
                  <a:lnTo>
                    <a:pt x="2153" y="595"/>
                  </a:lnTo>
                  <a:lnTo>
                    <a:pt x="2149" y="592"/>
                  </a:lnTo>
                  <a:lnTo>
                    <a:pt x="2143" y="590"/>
                  </a:lnTo>
                  <a:lnTo>
                    <a:pt x="2138" y="586"/>
                  </a:lnTo>
                  <a:lnTo>
                    <a:pt x="2137" y="584"/>
                  </a:lnTo>
                  <a:lnTo>
                    <a:pt x="2137" y="581"/>
                  </a:lnTo>
                  <a:lnTo>
                    <a:pt x="2137" y="579"/>
                  </a:lnTo>
                  <a:lnTo>
                    <a:pt x="2138" y="577"/>
                  </a:lnTo>
                  <a:lnTo>
                    <a:pt x="2141" y="576"/>
                  </a:lnTo>
                  <a:lnTo>
                    <a:pt x="2144" y="576"/>
                  </a:lnTo>
                  <a:lnTo>
                    <a:pt x="2146" y="577"/>
                  </a:lnTo>
                  <a:lnTo>
                    <a:pt x="2149" y="578"/>
                  </a:lnTo>
                  <a:lnTo>
                    <a:pt x="2152" y="579"/>
                  </a:lnTo>
                  <a:lnTo>
                    <a:pt x="2154" y="581"/>
                  </a:lnTo>
                  <a:lnTo>
                    <a:pt x="2157" y="584"/>
                  </a:lnTo>
                  <a:lnTo>
                    <a:pt x="2158" y="585"/>
                  </a:lnTo>
                  <a:lnTo>
                    <a:pt x="2159" y="585"/>
                  </a:lnTo>
                  <a:lnTo>
                    <a:pt x="2161" y="586"/>
                  </a:lnTo>
                  <a:lnTo>
                    <a:pt x="2162" y="586"/>
                  </a:lnTo>
                  <a:lnTo>
                    <a:pt x="2165" y="585"/>
                  </a:lnTo>
                  <a:lnTo>
                    <a:pt x="2168" y="581"/>
                  </a:lnTo>
                  <a:lnTo>
                    <a:pt x="2169" y="578"/>
                  </a:lnTo>
                  <a:lnTo>
                    <a:pt x="2170" y="576"/>
                  </a:lnTo>
                  <a:lnTo>
                    <a:pt x="2170" y="574"/>
                  </a:lnTo>
                  <a:lnTo>
                    <a:pt x="2170" y="571"/>
                  </a:lnTo>
                  <a:lnTo>
                    <a:pt x="2170" y="568"/>
                  </a:lnTo>
                  <a:lnTo>
                    <a:pt x="2170" y="565"/>
                  </a:lnTo>
                  <a:lnTo>
                    <a:pt x="2170" y="561"/>
                  </a:lnTo>
                  <a:lnTo>
                    <a:pt x="2170" y="557"/>
                  </a:lnTo>
                  <a:lnTo>
                    <a:pt x="2170" y="555"/>
                  </a:lnTo>
                  <a:lnTo>
                    <a:pt x="2171" y="550"/>
                  </a:lnTo>
                  <a:lnTo>
                    <a:pt x="2171" y="547"/>
                  </a:lnTo>
                  <a:lnTo>
                    <a:pt x="2170" y="542"/>
                  </a:lnTo>
                  <a:lnTo>
                    <a:pt x="2170" y="540"/>
                  </a:lnTo>
                  <a:lnTo>
                    <a:pt x="2169" y="537"/>
                  </a:lnTo>
                  <a:lnTo>
                    <a:pt x="2168" y="534"/>
                  </a:lnTo>
                  <a:lnTo>
                    <a:pt x="2167" y="532"/>
                  </a:lnTo>
                  <a:lnTo>
                    <a:pt x="2166" y="529"/>
                  </a:lnTo>
                  <a:lnTo>
                    <a:pt x="2163" y="526"/>
                  </a:lnTo>
                  <a:lnTo>
                    <a:pt x="2161" y="525"/>
                  </a:lnTo>
                  <a:lnTo>
                    <a:pt x="2159" y="524"/>
                  </a:lnTo>
                  <a:lnTo>
                    <a:pt x="2157" y="523"/>
                  </a:lnTo>
                  <a:lnTo>
                    <a:pt x="2153" y="523"/>
                  </a:lnTo>
                  <a:lnTo>
                    <a:pt x="2150" y="523"/>
                  </a:lnTo>
                  <a:lnTo>
                    <a:pt x="2147" y="523"/>
                  </a:lnTo>
                  <a:lnTo>
                    <a:pt x="2142" y="523"/>
                  </a:lnTo>
                  <a:lnTo>
                    <a:pt x="2138" y="523"/>
                  </a:lnTo>
                  <a:lnTo>
                    <a:pt x="2136" y="523"/>
                  </a:lnTo>
                  <a:lnTo>
                    <a:pt x="2134" y="522"/>
                  </a:lnTo>
                  <a:lnTo>
                    <a:pt x="2131" y="517"/>
                  </a:lnTo>
                  <a:lnTo>
                    <a:pt x="2131" y="513"/>
                  </a:lnTo>
                  <a:lnTo>
                    <a:pt x="2134" y="510"/>
                  </a:lnTo>
                  <a:lnTo>
                    <a:pt x="2134" y="508"/>
                  </a:lnTo>
                  <a:lnTo>
                    <a:pt x="2134" y="506"/>
                  </a:lnTo>
                  <a:lnTo>
                    <a:pt x="2134" y="504"/>
                  </a:lnTo>
                  <a:lnTo>
                    <a:pt x="2133" y="502"/>
                  </a:lnTo>
                  <a:lnTo>
                    <a:pt x="2131" y="501"/>
                  </a:lnTo>
                  <a:lnTo>
                    <a:pt x="2130" y="497"/>
                  </a:lnTo>
                  <a:lnTo>
                    <a:pt x="2130" y="494"/>
                  </a:lnTo>
                  <a:lnTo>
                    <a:pt x="2134" y="493"/>
                  </a:lnTo>
                  <a:lnTo>
                    <a:pt x="2139" y="493"/>
                  </a:lnTo>
                  <a:lnTo>
                    <a:pt x="2144" y="494"/>
                  </a:lnTo>
                  <a:lnTo>
                    <a:pt x="2149" y="494"/>
                  </a:lnTo>
                  <a:lnTo>
                    <a:pt x="2152" y="492"/>
                  </a:lnTo>
                  <a:lnTo>
                    <a:pt x="2160" y="489"/>
                  </a:lnTo>
                  <a:lnTo>
                    <a:pt x="2167" y="489"/>
                  </a:lnTo>
                  <a:lnTo>
                    <a:pt x="2170" y="490"/>
                  </a:lnTo>
                  <a:lnTo>
                    <a:pt x="2174" y="491"/>
                  </a:lnTo>
                  <a:lnTo>
                    <a:pt x="2177" y="491"/>
                  </a:lnTo>
                  <a:lnTo>
                    <a:pt x="2182" y="489"/>
                  </a:lnTo>
                  <a:lnTo>
                    <a:pt x="2183" y="485"/>
                  </a:lnTo>
                  <a:lnTo>
                    <a:pt x="2185" y="476"/>
                  </a:lnTo>
                  <a:lnTo>
                    <a:pt x="2185" y="470"/>
                  </a:lnTo>
                  <a:lnTo>
                    <a:pt x="2185" y="464"/>
                  </a:lnTo>
                  <a:lnTo>
                    <a:pt x="2184" y="453"/>
                  </a:lnTo>
                  <a:lnTo>
                    <a:pt x="2184" y="446"/>
                  </a:lnTo>
                  <a:lnTo>
                    <a:pt x="2185" y="443"/>
                  </a:lnTo>
                  <a:lnTo>
                    <a:pt x="2186" y="436"/>
                  </a:lnTo>
                  <a:lnTo>
                    <a:pt x="2187" y="432"/>
                  </a:lnTo>
                  <a:lnTo>
                    <a:pt x="2189" y="427"/>
                  </a:lnTo>
                  <a:lnTo>
                    <a:pt x="2190" y="424"/>
                  </a:lnTo>
                  <a:lnTo>
                    <a:pt x="2191" y="417"/>
                  </a:lnTo>
                  <a:lnTo>
                    <a:pt x="2192" y="413"/>
                  </a:lnTo>
                  <a:lnTo>
                    <a:pt x="2193" y="409"/>
                  </a:lnTo>
                  <a:lnTo>
                    <a:pt x="2195" y="405"/>
                  </a:lnTo>
                  <a:lnTo>
                    <a:pt x="2198" y="400"/>
                  </a:lnTo>
                  <a:lnTo>
                    <a:pt x="2198" y="395"/>
                  </a:lnTo>
                  <a:lnTo>
                    <a:pt x="2197" y="393"/>
                  </a:lnTo>
                  <a:lnTo>
                    <a:pt x="2193" y="392"/>
                  </a:lnTo>
                  <a:lnTo>
                    <a:pt x="2190" y="392"/>
                  </a:lnTo>
                  <a:lnTo>
                    <a:pt x="2185" y="390"/>
                  </a:lnTo>
                  <a:lnTo>
                    <a:pt x="2181" y="394"/>
                  </a:lnTo>
                  <a:lnTo>
                    <a:pt x="2176" y="396"/>
                  </a:lnTo>
                  <a:lnTo>
                    <a:pt x="2171" y="400"/>
                  </a:lnTo>
                  <a:lnTo>
                    <a:pt x="2167" y="403"/>
                  </a:lnTo>
                  <a:lnTo>
                    <a:pt x="2160" y="404"/>
                  </a:lnTo>
                  <a:lnTo>
                    <a:pt x="2158" y="404"/>
                  </a:lnTo>
                  <a:lnTo>
                    <a:pt x="2157" y="403"/>
                  </a:lnTo>
                  <a:lnTo>
                    <a:pt x="2154" y="403"/>
                  </a:lnTo>
                  <a:lnTo>
                    <a:pt x="2152" y="398"/>
                  </a:lnTo>
                  <a:lnTo>
                    <a:pt x="2153" y="394"/>
                  </a:lnTo>
                  <a:lnTo>
                    <a:pt x="2154" y="389"/>
                  </a:lnTo>
                  <a:lnTo>
                    <a:pt x="2158" y="387"/>
                  </a:lnTo>
                  <a:lnTo>
                    <a:pt x="2159" y="385"/>
                  </a:lnTo>
                  <a:lnTo>
                    <a:pt x="2162" y="384"/>
                  </a:lnTo>
                  <a:lnTo>
                    <a:pt x="2166" y="382"/>
                  </a:lnTo>
                  <a:lnTo>
                    <a:pt x="2170" y="380"/>
                  </a:lnTo>
                  <a:lnTo>
                    <a:pt x="2176" y="376"/>
                  </a:lnTo>
                  <a:lnTo>
                    <a:pt x="2177" y="373"/>
                  </a:lnTo>
                  <a:lnTo>
                    <a:pt x="2175" y="368"/>
                  </a:lnTo>
                  <a:lnTo>
                    <a:pt x="2175" y="365"/>
                  </a:lnTo>
                  <a:lnTo>
                    <a:pt x="2173" y="361"/>
                  </a:lnTo>
                  <a:lnTo>
                    <a:pt x="2171" y="355"/>
                  </a:lnTo>
                  <a:lnTo>
                    <a:pt x="2171" y="348"/>
                  </a:lnTo>
                  <a:lnTo>
                    <a:pt x="2171" y="340"/>
                  </a:lnTo>
                  <a:lnTo>
                    <a:pt x="2171" y="332"/>
                  </a:lnTo>
                  <a:lnTo>
                    <a:pt x="2173" y="322"/>
                  </a:lnTo>
                  <a:lnTo>
                    <a:pt x="2171" y="317"/>
                  </a:lnTo>
                  <a:lnTo>
                    <a:pt x="2170" y="313"/>
                  </a:lnTo>
                  <a:lnTo>
                    <a:pt x="2167" y="310"/>
                  </a:lnTo>
                  <a:lnTo>
                    <a:pt x="2161" y="309"/>
                  </a:lnTo>
                  <a:lnTo>
                    <a:pt x="2155" y="308"/>
                  </a:lnTo>
                  <a:lnTo>
                    <a:pt x="2152" y="308"/>
                  </a:lnTo>
                  <a:lnTo>
                    <a:pt x="2149" y="308"/>
                  </a:lnTo>
                  <a:lnTo>
                    <a:pt x="2144" y="307"/>
                  </a:lnTo>
                  <a:lnTo>
                    <a:pt x="2141" y="305"/>
                  </a:lnTo>
                  <a:lnTo>
                    <a:pt x="2141" y="302"/>
                  </a:lnTo>
                  <a:lnTo>
                    <a:pt x="2142" y="294"/>
                  </a:lnTo>
                  <a:lnTo>
                    <a:pt x="2143" y="289"/>
                  </a:lnTo>
                  <a:lnTo>
                    <a:pt x="2144" y="284"/>
                  </a:lnTo>
                  <a:lnTo>
                    <a:pt x="2144" y="280"/>
                  </a:lnTo>
                  <a:lnTo>
                    <a:pt x="2144" y="276"/>
                  </a:lnTo>
                  <a:lnTo>
                    <a:pt x="2143" y="272"/>
                  </a:lnTo>
                  <a:lnTo>
                    <a:pt x="2144" y="264"/>
                  </a:lnTo>
                  <a:lnTo>
                    <a:pt x="2143" y="258"/>
                  </a:lnTo>
                  <a:lnTo>
                    <a:pt x="2143" y="253"/>
                  </a:lnTo>
                  <a:lnTo>
                    <a:pt x="2145" y="250"/>
                  </a:lnTo>
                  <a:lnTo>
                    <a:pt x="2149" y="245"/>
                  </a:lnTo>
                  <a:lnTo>
                    <a:pt x="2159" y="238"/>
                  </a:lnTo>
                  <a:lnTo>
                    <a:pt x="2170" y="229"/>
                  </a:lnTo>
                  <a:lnTo>
                    <a:pt x="2182" y="227"/>
                  </a:lnTo>
                  <a:lnTo>
                    <a:pt x="2187" y="226"/>
                  </a:lnTo>
                  <a:lnTo>
                    <a:pt x="2191" y="224"/>
                  </a:lnTo>
                  <a:lnTo>
                    <a:pt x="2195" y="221"/>
                  </a:lnTo>
                  <a:lnTo>
                    <a:pt x="2199" y="216"/>
                  </a:lnTo>
                  <a:lnTo>
                    <a:pt x="2201" y="212"/>
                  </a:lnTo>
                  <a:lnTo>
                    <a:pt x="2203" y="209"/>
                  </a:lnTo>
                  <a:lnTo>
                    <a:pt x="2206" y="205"/>
                  </a:lnTo>
                  <a:lnTo>
                    <a:pt x="2206" y="202"/>
                  </a:lnTo>
                  <a:lnTo>
                    <a:pt x="2203" y="201"/>
                  </a:lnTo>
                  <a:lnTo>
                    <a:pt x="2199" y="200"/>
                  </a:lnTo>
                  <a:lnTo>
                    <a:pt x="2193" y="200"/>
                  </a:lnTo>
                  <a:lnTo>
                    <a:pt x="2189" y="201"/>
                  </a:lnTo>
                  <a:lnTo>
                    <a:pt x="2185" y="200"/>
                  </a:lnTo>
                  <a:lnTo>
                    <a:pt x="2179" y="198"/>
                  </a:lnTo>
                  <a:lnTo>
                    <a:pt x="2176" y="196"/>
                  </a:lnTo>
                  <a:lnTo>
                    <a:pt x="2174" y="193"/>
                  </a:lnTo>
                  <a:lnTo>
                    <a:pt x="2168" y="188"/>
                  </a:lnTo>
                  <a:lnTo>
                    <a:pt x="2165" y="187"/>
                  </a:lnTo>
                  <a:lnTo>
                    <a:pt x="2160" y="185"/>
                  </a:lnTo>
                  <a:lnTo>
                    <a:pt x="2157" y="185"/>
                  </a:lnTo>
                  <a:lnTo>
                    <a:pt x="2151" y="185"/>
                  </a:lnTo>
                  <a:lnTo>
                    <a:pt x="2146" y="184"/>
                  </a:lnTo>
                  <a:lnTo>
                    <a:pt x="2135" y="180"/>
                  </a:lnTo>
                  <a:lnTo>
                    <a:pt x="2133" y="179"/>
                  </a:lnTo>
                  <a:lnTo>
                    <a:pt x="2130" y="177"/>
                  </a:lnTo>
                  <a:lnTo>
                    <a:pt x="2126" y="170"/>
                  </a:lnTo>
                  <a:lnTo>
                    <a:pt x="2122" y="156"/>
                  </a:lnTo>
                  <a:lnTo>
                    <a:pt x="2122" y="147"/>
                  </a:lnTo>
                  <a:lnTo>
                    <a:pt x="2118" y="140"/>
                  </a:lnTo>
                  <a:lnTo>
                    <a:pt x="2113" y="136"/>
                  </a:lnTo>
                  <a:lnTo>
                    <a:pt x="2111" y="134"/>
                  </a:lnTo>
                  <a:lnTo>
                    <a:pt x="2106" y="132"/>
                  </a:lnTo>
                  <a:lnTo>
                    <a:pt x="2103" y="131"/>
                  </a:lnTo>
                  <a:lnTo>
                    <a:pt x="2089" y="123"/>
                  </a:lnTo>
                  <a:lnTo>
                    <a:pt x="2085" y="121"/>
                  </a:lnTo>
                  <a:lnTo>
                    <a:pt x="2079" y="120"/>
                  </a:lnTo>
                  <a:lnTo>
                    <a:pt x="2075" y="117"/>
                  </a:lnTo>
                  <a:lnTo>
                    <a:pt x="2069" y="117"/>
                  </a:lnTo>
                  <a:lnTo>
                    <a:pt x="2063" y="118"/>
                  </a:lnTo>
                  <a:lnTo>
                    <a:pt x="2058" y="121"/>
                  </a:lnTo>
                  <a:lnTo>
                    <a:pt x="2051" y="124"/>
                  </a:lnTo>
                  <a:lnTo>
                    <a:pt x="2047" y="128"/>
                  </a:lnTo>
                  <a:lnTo>
                    <a:pt x="2042" y="131"/>
                  </a:lnTo>
                  <a:lnTo>
                    <a:pt x="2039" y="136"/>
                  </a:lnTo>
                  <a:lnTo>
                    <a:pt x="2033" y="138"/>
                  </a:lnTo>
                  <a:lnTo>
                    <a:pt x="2030" y="140"/>
                  </a:lnTo>
                  <a:lnTo>
                    <a:pt x="2024" y="140"/>
                  </a:lnTo>
                  <a:lnTo>
                    <a:pt x="2018" y="140"/>
                  </a:lnTo>
                  <a:lnTo>
                    <a:pt x="2007" y="138"/>
                  </a:lnTo>
                  <a:lnTo>
                    <a:pt x="2001" y="138"/>
                  </a:lnTo>
                  <a:lnTo>
                    <a:pt x="1995" y="136"/>
                  </a:lnTo>
                  <a:lnTo>
                    <a:pt x="1990" y="134"/>
                  </a:lnTo>
                  <a:lnTo>
                    <a:pt x="1986" y="133"/>
                  </a:lnTo>
                  <a:lnTo>
                    <a:pt x="1977" y="130"/>
                  </a:lnTo>
                  <a:lnTo>
                    <a:pt x="1968" y="126"/>
                  </a:lnTo>
                  <a:lnTo>
                    <a:pt x="1962" y="125"/>
                  </a:lnTo>
                  <a:lnTo>
                    <a:pt x="1957" y="124"/>
                  </a:lnTo>
                  <a:lnTo>
                    <a:pt x="1952" y="122"/>
                  </a:lnTo>
                  <a:lnTo>
                    <a:pt x="1937" y="124"/>
                  </a:lnTo>
                  <a:lnTo>
                    <a:pt x="1930" y="128"/>
                  </a:lnTo>
                  <a:lnTo>
                    <a:pt x="1925" y="131"/>
                  </a:lnTo>
                  <a:lnTo>
                    <a:pt x="1920" y="137"/>
                  </a:lnTo>
                  <a:lnTo>
                    <a:pt x="1917" y="141"/>
                  </a:lnTo>
                  <a:lnTo>
                    <a:pt x="1913" y="142"/>
                  </a:lnTo>
                  <a:lnTo>
                    <a:pt x="1910" y="141"/>
                  </a:lnTo>
                  <a:lnTo>
                    <a:pt x="1907" y="139"/>
                  </a:lnTo>
                  <a:lnTo>
                    <a:pt x="1903" y="138"/>
                  </a:lnTo>
                  <a:lnTo>
                    <a:pt x="1897" y="139"/>
                  </a:lnTo>
                  <a:lnTo>
                    <a:pt x="1891" y="139"/>
                  </a:lnTo>
                  <a:lnTo>
                    <a:pt x="1887" y="137"/>
                  </a:lnTo>
                  <a:lnTo>
                    <a:pt x="1885" y="134"/>
                  </a:lnTo>
                  <a:lnTo>
                    <a:pt x="1882" y="132"/>
                  </a:lnTo>
                  <a:lnTo>
                    <a:pt x="1882" y="128"/>
                  </a:lnTo>
                  <a:lnTo>
                    <a:pt x="1882" y="124"/>
                  </a:lnTo>
                  <a:lnTo>
                    <a:pt x="1882" y="120"/>
                  </a:lnTo>
                  <a:lnTo>
                    <a:pt x="1880" y="115"/>
                  </a:lnTo>
                  <a:lnTo>
                    <a:pt x="1881" y="110"/>
                  </a:lnTo>
                  <a:lnTo>
                    <a:pt x="1881" y="106"/>
                  </a:lnTo>
                  <a:lnTo>
                    <a:pt x="1879" y="104"/>
                  </a:lnTo>
                  <a:lnTo>
                    <a:pt x="1877" y="104"/>
                  </a:lnTo>
                  <a:lnTo>
                    <a:pt x="1872" y="105"/>
                  </a:lnTo>
                  <a:lnTo>
                    <a:pt x="1867" y="106"/>
                  </a:lnTo>
                  <a:lnTo>
                    <a:pt x="1862" y="107"/>
                  </a:lnTo>
                  <a:lnTo>
                    <a:pt x="1855" y="108"/>
                  </a:lnTo>
                  <a:lnTo>
                    <a:pt x="1851" y="107"/>
                  </a:lnTo>
                  <a:lnTo>
                    <a:pt x="1847" y="107"/>
                  </a:lnTo>
                  <a:lnTo>
                    <a:pt x="1838" y="105"/>
                  </a:lnTo>
                  <a:lnTo>
                    <a:pt x="1832" y="105"/>
                  </a:lnTo>
                  <a:lnTo>
                    <a:pt x="1826" y="105"/>
                  </a:lnTo>
                  <a:lnTo>
                    <a:pt x="1823" y="104"/>
                  </a:lnTo>
                  <a:lnTo>
                    <a:pt x="1815" y="97"/>
                  </a:lnTo>
                  <a:lnTo>
                    <a:pt x="1813" y="93"/>
                  </a:lnTo>
                  <a:lnTo>
                    <a:pt x="1809" y="91"/>
                  </a:lnTo>
                  <a:lnTo>
                    <a:pt x="1806" y="91"/>
                  </a:lnTo>
                  <a:lnTo>
                    <a:pt x="1803" y="97"/>
                  </a:lnTo>
                  <a:lnTo>
                    <a:pt x="1803" y="99"/>
                  </a:lnTo>
                  <a:lnTo>
                    <a:pt x="1805" y="105"/>
                  </a:lnTo>
                  <a:lnTo>
                    <a:pt x="1803" y="109"/>
                  </a:lnTo>
                  <a:lnTo>
                    <a:pt x="1801" y="113"/>
                  </a:lnTo>
                  <a:lnTo>
                    <a:pt x="1797" y="115"/>
                  </a:lnTo>
                  <a:lnTo>
                    <a:pt x="1791" y="115"/>
                  </a:lnTo>
                  <a:lnTo>
                    <a:pt x="1786" y="113"/>
                  </a:lnTo>
                  <a:lnTo>
                    <a:pt x="1783" y="113"/>
                  </a:lnTo>
                  <a:lnTo>
                    <a:pt x="1778" y="114"/>
                  </a:lnTo>
                  <a:lnTo>
                    <a:pt x="1776" y="116"/>
                  </a:lnTo>
                  <a:lnTo>
                    <a:pt x="1774" y="121"/>
                  </a:lnTo>
                  <a:lnTo>
                    <a:pt x="1771" y="124"/>
                  </a:lnTo>
                  <a:lnTo>
                    <a:pt x="1760" y="124"/>
                  </a:lnTo>
                  <a:lnTo>
                    <a:pt x="1755" y="125"/>
                  </a:lnTo>
                  <a:lnTo>
                    <a:pt x="1751" y="126"/>
                  </a:lnTo>
                  <a:lnTo>
                    <a:pt x="1745" y="125"/>
                  </a:lnTo>
                  <a:lnTo>
                    <a:pt x="1742" y="123"/>
                  </a:lnTo>
                  <a:lnTo>
                    <a:pt x="1738" y="123"/>
                  </a:lnTo>
                  <a:lnTo>
                    <a:pt x="1735" y="123"/>
                  </a:lnTo>
                  <a:lnTo>
                    <a:pt x="1733" y="126"/>
                  </a:lnTo>
                  <a:lnTo>
                    <a:pt x="1729" y="129"/>
                  </a:lnTo>
                  <a:lnTo>
                    <a:pt x="1725" y="130"/>
                  </a:lnTo>
                  <a:lnTo>
                    <a:pt x="1722" y="131"/>
                  </a:lnTo>
                  <a:lnTo>
                    <a:pt x="1719" y="132"/>
                  </a:lnTo>
                  <a:lnTo>
                    <a:pt x="1717" y="133"/>
                  </a:lnTo>
                  <a:lnTo>
                    <a:pt x="1715" y="137"/>
                  </a:lnTo>
                  <a:lnTo>
                    <a:pt x="1719" y="139"/>
                  </a:lnTo>
                  <a:lnTo>
                    <a:pt x="1723" y="142"/>
                  </a:lnTo>
                  <a:lnTo>
                    <a:pt x="1727" y="146"/>
                  </a:lnTo>
                  <a:lnTo>
                    <a:pt x="1730" y="150"/>
                  </a:lnTo>
                  <a:lnTo>
                    <a:pt x="1733" y="155"/>
                  </a:lnTo>
                  <a:lnTo>
                    <a:pt x="1733" y="157"/>
                  </a:lnTo>
                  <a:lnTo>
                    <a:pt x="1730" y="160"/>
                  </a:lnTo>
                  <a:lnTo>
                    <a:pt x="1726" y="160"/>
                  </a:lnTo>
                  <a:lnTo>
                    <a:pt x="1720" y="158"/>
                  </a:lnTo>
                  <a:lnTo>
                    <a:pt x="1714" y="157"/>
                  </a:lnTo>
                  <a:lnTo>
                    <a:pt x="1711" y="157"/>
                  </a:lnTo>
                  <a:lnTo>
                    <a:pt x="1709" y="160"/>
                  </a:lnTo>
                  <a:lnTo>
                    <a:pt x="1702" y="160"/>
                  </a:lnTo>
                  <a:lnTo>
                    <a:pt x="1698" y="160"/>
                  </a:lnTo>
                  <a:lnTo>
                    <a:pt x="1694" y="158"/>
                  </a:lnTo>
                  <a:lnTo>
                    <a:pt x="1690" y="158"/>
                  </a:lnTo>
                  <a:lnTo>
                    <a:pt x="1682" y="161"/>
                  </a:lnTo>
                  <a:lnTo>
                    <a:pt x="1675" y="164"/>
                  </a:lnTo>
                  <a:lnTo>
                    <a:pt x="1670" y="164"/>
                  </a:lnTo>
                  <a:lnTo>
                    <a:pt x="1666" y="165"/>
                  </a:lnTo>
                  <a:lnTo>
                    <a:pt x="1662" y="165"/>
                  </a:lnTo>
                  <a:lnTo>
                    <a:pt x="1659" y="164"/>
                  </a:lnTo>
                  <a:lnTo>
                    <a:pt x="1655" y="162"/>
                  </a:lnTo>
                  <a:lnTo>
                    <a:pt x="1650" y="161"/>
                  </a:lnTo>
                  <a:lnTo>
                    <a:pt x="1648" y="162"/>
                  </a:lnTo>
                  <a:lnTo>
                    <a:pt x="1642" y="162"/>
                  </a:lnTo>
                  <a:lnTo>
                    <a:pt x="1638" y="162"/>
                  </a:lnTo>
                  <a:lnTo>
                    <a:pt x="1635" y="161"/>
                  </a:lnTo>
                  <a:lnTo>
                    <a:pt x="1632" y="160"/>
                  </a:lnTo>
                  <a:lnTo>
                    <a:pt x="1626" y="155"/>
                  </a:lnTo>
                  <a:lnTo>
                    <a:pt x="1623" y="153"/>
                  </a:lnTo>
                  <a:lnTo>
                    <a:pt x="1618" y="149"/>
                  </a:lnTo>
                  <a:lnTo>
                    <a:pt x="1616" y="147"/>
                  </a:lnTo>
                  <a:lnTo>
                    <a:pt x="1611" y="147"/>
                  </a:lnTo>
                  <a:lnTo>
                    <a:pt x="1605" y="147"/>
                  </a:lnTo>
                  <a:lnTo>
                    <a:pt x="1599" y="148"/>
                  </a:lnTo>
                  <a:lnTo>
                    <a:pt x="1594" y="149"/>
                  </a:lnTo>
                  <a:lnTo>
                    <a:pt x="1590" y="148"/>
                  </a:lnTo>
                  <a:lnTo>
                    <a:pt x="1585" y="146"/>
                  </a:lnTo>
                  <a:lnTo>
                    <a:pt x="1584" y="141"/>
                  </a:lnTo>
                  <a:lnTo>
                    <a:pt x="1581" y="137"/>
                  </a:lnTo>
                  <a:lnTo>
                    <a:pt x="1576" y="133"/>
                  </a:lnTo>
                  <a:lnTo>
                    <a:pt x="1571" y="130"/>
                  </a:lnTo>
                  <a:lnTo>
                    <a:pt x="1568" y="129"/>
                  </a:lnTo>
                  <a:lnTo>
                    <a:pt x="1563" y="129"/>
                  </a:lnTo>
                  <a:lnTo>
                    <a:pt x="1558" y="129"/>
                  </a:lnTo>
                  <a:lnTo>
                    <a:pt x="1551" y="129"/>
                  </a:lnTo>
                  <a:lnTo>
                    <a:pt x="1547" y="129"/>
                  </a:lnTo>
                  <a:lnTo>
                    <a:pt x="1544" y="129"/>
                  </a:lnTo>
                  <a:lnTo>
                    <a:pt x="1538" y="132"/>
                  </a:lnTo>
                  <a:lnTo>
                    <a:pt x="1535" y="134"/>
                  </a:lnTo>
                  <a:lnTo>
                    <a:pt x="1530" y="138"/>
                  </a:lnTo>
                  <a:lnTo>
                    <a:pt x="1526" y="139"/>
                  </a:lnTo>
                  <a:lnTo>
                    <a:pt x="1521" y="139"/>
                  </a:lnTo>
                  <a:lnTo>
                    <a:pt x="1519" y="140"/>
                  </a:lnTo>
                  <a:lnTo>
                    <a:pt x="1517" y="144"/>
                  </a:lnTo>
                  <a:lnTo>
                    <a:pt x="1515" y="146"/>
                  </a:lnTo>
                  <a:lnTo>
                    <a:pt x="1514" y="149"/>
                  </a:lnTo>
                  <a:lnTo>
                    <a:pt x="1512" y="154"/>
                  </a:lnTo>
                  <a:lnTo>
                    <a:pt x="1509" y="156"/>
                  </a:lnTo>
                  <a:lnTo>
                    <a:pt x="1506" y="157"/>
                  </a:lnTo>
                  <a:lnTo>
                    <a:pt x="1501" y="161"/>
                  </a:lnTo>
                  <a:lnTo>
                    <a:pt x="1495" y="161"/>
                  </a:lnTo>
                  <a:lnTo>
                    <a:pt x="1490" y="162"/>
                  </a:lnTo>
                  <a:lnTo>
                    <a:pt x="1486" y="163"/>
                  </a:lnTo>
                  <a:lnTo>
                    <a:pt x="1483" y="165"/>
                  </a:lnTo>
                  <a:lnTo>
                    <a:pt x="1480" y="169"/>
                  </a:lnTo>
                  <a:lnTo>
                    <a:pt x="1477" y="172"/>
                  </a:lnTo>
                  <a:lnTo>
                    <a:pt x="1474" y="176"/>
                  </a:lnTo>
                  <a:lnTo>
                    <a:pt x="1466" y="180"/>
                  </a:lnTo>
                  <a:lnTo>
                    <a:pt x="1463" y="184"/>
                  </a:lnTo>
                  <a:lnTo>
                    <a:pt x="1458" y="186"/>
                  </a:lnTo>
                  <a:lnTo>
                    <a:pt x="1454" y="186"/>
                  </a:lnTo>
                  <a:lnTo>
                    <a:pt x="1449" y="186"/>
                  </a:lnTo>
                  <a:lnTo>
                    <a:pt x="1443" y="186"/>
                  </a:lnTo>
                  <a:lnTo>
                    <a:pt x="1438" y="186"/>
                  </a:lnTo>
                  <a:lnTo>
                    <a:pt x="1433" y="185"/>
                  </a:lnTo>
                  <a:lnTo>
                    <a:pt x="1424" y="182"/>
                  </a:lnTo>
                  <a:lnTo>
                    <a:pt x="1421" y="181"/>
                  </a:lnTo>
                  <a:lnTo>
                    <a:pt x="1417" y="179"/>
                  </a:lnTo>
                  <a:lnTo>
                    <a:pt x="1414" y="178"/>
                  </a:lnTo>
                  <a:lnTo>
                    <a:pt x="1411" y="179"/>
                  </a:lnTo>
                  <a:lnTo>
                    <a:pt x="1407" y="182"/>
                  </a:lnTo>
                  <a:lnTo>
                    <a:pt x="1403" y="185"/>
                  </a:lnTo>
                  <a:lnTo>
                    <a:pt x="1400" y="188"/>
                  </a:lnTo>
                  <a:lnTo>
                    <a:pt x="1395" y="190"/>
                  </a:lnTo>
                  <a:lnTo>
                    <a:pt x="1392" y="192"/>
                  </a:lnTo>
                  <a:lnTo>
                    <a:pt x="1386" y="190"/>
                  </a:lnTo>
                  <a:lnTo>
                    <a:pt x="1383" y="188"/>
                  </a:lnTo>
                  <a:lnTo>
                    <a:pt x="1381" y="186"/>
                  </a:lnTo>
                  <a:lnTo>
                    <a:pt x="1377" y="182"/>
                  </a:lnTo>
                  <a:lnTo>
                    <a:pt x="1376" y="182"/>
                  </a:lnTo>
                  <a:lnTo>
                    <a:pt x="1371" y="182"/>
                  </a:lnTo>
                  <a:lnTo>
                    <a:pt x="1366" y="182"/>
                  </a:lnTo>
                  <a:lnTo>
                    <a:pt x="1361" y="185"/>
                  </a:lnTo>
                  <a:lnTo>
                    <a:pt x="1358" y="192"/>
                  </a:lnTo>
                  <a:lnTo>
                    <a:pt x="1353" y="192"/>
                  </a:lnTo>
                  <a:lnTo>
                    <a:pt x="1351" y="190"/>
                  </a:lnTo>
                  <a:lnTo>
                    <a:pt x="1349" y="188"/>
                  </a:lnTo>
                  <a:lnTo>
                    <a:pt x="1347" y="186"/>
                  </a:lnTo>
                  <a:lnTo>
                    <a:pt x="1342" y="180"/>
                  </a:lnTo>
                  <a:lnTo>
                    <a:pt x="1341" y="177"/>
                  </a:lnTo>
                  <a:lnTo>
                    <a:pt x="1339" y="173"/>
                  </a:lnTo>
                  <a:lnTo>
                    <a:pt x="1338" y="173"/>
                  </a:lnTo>
                  <a:lnTo>
                    <a:pt x="1336" y="174"/>
                  </a:lnTo>
                  <a:lnTo>
                    <a:pt x="1335" y="180"/>
                  </a:lnTo>
                  <a:lnTo>
                    <a:pt x="1333" y="185"/>
                  </a:lnTo>
                  <a:lnTo>
                    <a:pt x="1329" y="187"/>
                  </a:lnTo>
                  <a:lnTo>
                    <a:pt x="1326" y="186"/>
                  </a:lnTo>
                  <a:lnTo>
                    <a:pt x="1321" y="184"/>
                  </a:lnTo>
                  <a:lnTo>
                    <a:pt x="1319" y="179"/>
                  </a:lnTo>
                  <a:lnTo>
                    <a:pt x="1319" y="174"/>
                  </a:lnTo>
                  <a:lnTo>
                    <a:pt x="1320" y="169"/>
                  </a:lnTo>
                  <a:lnTo>
                    <a:pt x="1319" y="165"/>
                  </a:lnTo>
                  <a:lnTo>
                    <a:pt x="1314" y="161"/>
                  </a:lnTo>
                  <a:lnTo>
                    <a:pt x="1312" y="157"/>
                  </a:lnTo>
                  <a:lnTo>
                    <a:pt x="1310" y="153"/>
                  </a:lnTo>
                  <a:lnTo>
                    <a:pt x="1306" y="148"/>
                  </a:lnTo>
                  <a:lnTo>
                    <a:pt x="1304" y="144"/>
                  </a:lnTo>
                  <a:lnTo>
                    <a:pt x="1305" y="140"/>
                  </a:lnTo>
                  <a:lnTo>
                    <a:pt x="1306" y="138"/>
                  </a:lnTo>
                  <a:lnTo>
                    <a:pt x="1311" y="138"/>
                  </a:lnTo>
                  <a:lnTo>
                    <a:pt x="1318" y="138"/>
                  </a:lnTo>
                  <a:lnTo>
                    <a:pt x="1323" y="138"/>
                  </a:lnTo>
                  <a:lnTo>
                    <a:pt x="1329" y="140"/>
                  </a:lnTo>
                  <a:lnTo>
                    <a:pt x="1337" y="141"/>
                  </a:lnTo>
                  <a:lnTo>
                    <a:pt x="1342" y="144"/>
                  </a:lnTo>
                  <a:lnTo>
                    <a:pt x="1347" y="147"/>
                  </a:lnTo>
                  <a:lnTo>
                    <a:pt x="1352" y="148"/>
                  </a:lnTo>
                  <a:lnTo>
                    <a:pt x="1354" y="147"/>
                  </a:lnTo>
                  <a:lnTo>
                    <a:pt x="1354" y="144"/>
                  </a:lnTo>
                  <a:lnTo>
                    <a:pt x="1352" y="139"/>
                  </a:lnTo>
                  <a:lnTo>
                    <a:pt x="1351" y="134"/>
                  </a:lnTo>
                  <a:lnTo>
                    <a:pt x="1349" y="131"/>
                  </a:lnTo>
                  <a:lnTo>
                    <a:pt x="1347" y="128"/>
                  </a:lnTo>
                  <a:lnTo>
                    <a:pt x="1346" y="124"/>
                  </a:lnTo>
                  <a:lnTo>
                    <a:pt x="1344" y="121"/>
                  </a:lnTo>
                  <a:lnTo>
                    <a:pt x="1343" y="116"/>
                  </a:lnTo>
                  <a:lnTo>
                    <a:pt x="1344" y="113"/>
                  </a:lnTo>
                  <a:lnTo>
                    <a:pt x="1343" y="109"/>
                  </a:lnTo>
                  <a:lnTo>
                    <a:pt x="1343" y="106"/>
                  </a:lnTo>
                  <a:lnTo>
                    <a:pt x="1343" y="101"/>
                  </a:lnTo>
                  <a:lnTo>
                    <a:pt x="1338" y="98"/>
                  </a:lnTo>
                  <a:lnTo>
                    <a:pt x="1335" y="93"/>
                  </a:lnTo>
                  <a:lnTo>
                    <a:pt x="1333" y="91"/>
                  </a:lnTo>
                  <a:lnTo>
                    <a:pt x="1328" y="88"/>
                  </a:lnTo>
                  <a:lnTo>
                    <a:pt x="1325" y="85"/>
                  </a:lnTo>
                  <a:lnTo>
                    <a:pt x="1320" y="80"/>
                  </a:lnTo>
                  <a:lnTo>
                    <a:pt x="1317" y="78"/>
                  </a:lnTo>
                  <a:lnTo>
                    <a:pt x="1309" y="80"/>
                  </a:lnTo>
                  <a:lnTo>
                    <a:pt x="1306" y="82"/>
                  </a:lnTo>
                  <a:lnTo>
                    <a:pt x="1298" y="83"/>
                  </a:lnTo>
                  <a:lnTo>
                    <a:pt x="1295" y="83"/>
                  </a:lnTo>
                  <a:lnTo>
                    <a:pt x="1291" y="84"/>
                  </a:lnTo>
                  <a:lnTo>
                    <a:pt x="1286" y="84"/>
                  </a:lnTo>
                  <a:lnTo>
                    <a:pt x="1281" y="83"/>
                  </a:lnTo>
                  <a:lnTo>
                    <a:pt x="1277" y="83"/>
                  </a:lnTo>
                  <a:lnTo>
                    <a:pt x="1274" y="80"/>
                  </a:lnTo>
                  <a:lnTo>
                    <a:pt x="1273" y="78"/>
                  </a:lnTo>
                  <a:lnTo>
                    <a:pt x="1269" y="80"/>
                  </a:lnTo>
                  <a:lnTo>
                    <a:pt x="1264" y="83"/>
                  </a:lnTo>
                  <a:lnTo>
                    <a:pt x="1261" y="85"/>
                  </a:lnTo>
                  <a:lnTo>
                    <a:pt x="1256" y="88"/>
                  </a:lnTo>
                  <a:lnTo>
                    <a:pt x="1251" y="88"/>
                  </a:lnTo>
                  <a:lnTo>
                    <a:pt x="1247" y="88"/>
                  </a:lnTo>
                  <a:lnTo>
                    <a:pt x="1243" y="90"/>
                  </a:lnTo>
                  <a:lnTo>
                    <a:pt x="1239" y="93"/>
                  </a:lnTo>
                  <a:lnTo>
                    <a:pt x="1233" y="96"/>
                  </a:lnTo>
                  <a:lnTo>
                    <a:pt x="1227" y="98"/>
                  </a:lnTo>
                  <a:lnTo>
                    <a:pt x="1223" y="98"/>
                  </a:lnTo>
                  <a:lnTo>
                    <a:pt x="1217" y="97"/>
                  </a:lnTo>
                  <a:lnTo>
                    <a:pt x="1213" y="97"/>
                  </a:lnTo>
                  <a:lnTo>
                    <a:pt x="1208" y="97"/>
                  </a:lnTo>
                  <a:lnTo>
                    <a:pt x="1203" y="96"/>
                  </a:lnTo>
                  <a:lnTo>
                    <a:pt x="1199" y="94"/>
                  </a:lnTo>
                  <a:lnTo>
                    <a:pt x="1194" y="94"/>
                  </a:lnTo>
                  <a:lnTo>
                    <a:pt x="1190" y="97"/>
                  </a:lnTo>
                  <a:lnTo>
                    <a:pt x="1186" y="99"/>
                  </a:lnTo>
                  <a:lnTo>
                    <a:pt x="1179" y="105"/>
                  </a:lnTo>
                  <a:lnTo>
                    <a:pt x="1177" y="108"/>
                  </a:lnTo>
                  <a:lnTo>
                    <a:pt x="1174" y="112"/>
                  </a:lnTo>
                  <a:lnTo>
                    <a:pt x="1163" y="123"/>
                  </a:lnTo>
                  <a:lnTo>
                    <a:pt x="1160" y="123"/>
                  </a:lnTo>
                  <a:lnTo>
                    <a:pt x="1157" y="125"/>
                  </a:lnTo>
                  <a:lnTo>
                    <a:pt x="1153" y="128"/>
                  </a:lnTo>
                  <a:lnTo>
                    <a:pt x="1147" y="130"/>
                  </a:lnTo>
                  <a:lnTo>
                    <a:pt x="1142" y="131"/>
                  </a:lnTo>
                  <a:lnTo>
                    <a:pt x="1138" y="131"/>
                  </a:lnTo>
                  <a:lnTo>
                    <a:pt x="1137" y="132"/>
                  </a:lnTo>
                  <a:lnTo>
                    <a:pt x="1134" y="137"/>
                  </a:lnTo>
                  <a:lnTo>
                    <a:pt x="1135" y="141"/>
                  </a:lnTo>
                  <a:lnTo>
                    <a:pt x="1134" y="144"/>
                  </a:lnTo>
                  <a:lnTo>
                    <a:pt x="1133" y="147"/>
                  </a:lnTo>
                  <a:lnTo>
                    <a:pt x="1134" y="152"/>
                  </a:lnTo>
                  <a:lnTo>
                    <a:pt x="1134" y="155"/>
                  </a:lnTo>
                  <a:lnTo>
                    <a:pt x="1133" y="158"/>
                  </a:lnTo>
                  <a:lnTo>
                    <a:pt x="1131" y="161"/>
                  </a:lnTo>
                  <a:lnTo>
                    <a:pt x="1130" y="163"/>
                  </a:lnTo>
                  <a:lnTo>
                    <a:pt x="1127" y="164"/>
                  </a:lnTo>
                  <a:lnTo>
                    <a:pt x="1125" y="164"/>
                  </a:lnTo>
                  <a:lnTo>
                    <a:pt x="1121" y="166"/>
                  </a:lnTo>
                  <a:lnTo>
                    <a:pt x="1121" y="169"/>
                  </a:lnTo>
                  <a:lnTo>
                    <a:pt x="1120" y="174"/>
                  </a:lnTo>
                  <a:lnTo>
                    <a:pt x="1114" y="180"/>
                  </a:lnTo>
                  <a:lnTo>
                    <a:pt x="1111" y="182"/>
                  </a:lnTo>
                  <a:lnTo>
                    <a:pt x="1107" y="184"/>
                  </a:lnTo>
                  <a:lnTo>
                    <a:pt x="1103" y="185"/>
                  </a:lnTo>
                  <a:lnTo>
                    <a:pt x="1099" y="187"/>
                  </a:lnTo>
                  <a:lnTo>
                    <a:pt x="1097" y="190"/>
                  </a:lnTo>
                  <a:lnTo>
                    <a:pt x="1094" y="194"/>
                  </a:lnTo>
                  <a:lnTo>
                    <a:pt x="1091" y="195"/>
                  </a:lnTo>
                  <a:lnTo>
                    <a:pt x="1089" y="198"/>
                  </a:lnTo>
                  <a:lnTo>
                    <a:pt x="1089" y="200"/>
                  </a:lnTo>
                  <a:lnTo>
                    <a:pt x="1090" y="201"/>
                  </a:lnTo>
                  <a:lnTo>
                    <a:pt x="1091" y="203"/>
                  </a:lnTo>
                  <a:lnTo>
                    <a:pt x="1094" y="205"/>
                  </a:lnTo>
                  <a:lnTo>
                    <a:pt x="1095" y="209"/>
                  </a:lnTo>
                  <a:lnTo>
                    <a:pt x="1097" y="214"/>
                  </a:lnTo>
                  <a:lnTo>
                    <a:pt x="1097" y="218"/>
                  </a:lnTo>
                  <a:lnTo>
                    <a:pt x="1096" y="222"/>
                  </a:lnTo>
                  <a:lnTo>
                    <a:pt x="1095" y="227"/>
                  </a:lnTo>
                  <a:lnTo>
                    <a:pt x="1094" y="229"/>
                  </a:lnTo>
                  <a:lnTo>
                    <a:pt x="1093" y="232"/>
                  </a:lnTo>
                  <a:lnTo>
                    <a:pt x="1090" y="234"/>
                  </a:lnTo>
                  <a:lnTo>
                    <a:pt x="1088" y="236"/>
                  </a:lnTo>
                  <a:lnTo>
                    <a:pt x="1086" y="236"/>
                  </a:lnTo>
                  <a:lnTo>
                    <a:pt x="1082" y="238"/>
                  </a:lnTo>
                  <a:lnTo>
                    <a:pt x="1075" y="240"/>
                  </a:lnTo>
                  <a:lnTo>
                    <a:pt x="1067" y="240"/>
                  </a:lnTo>
                  <a:lnTo>
                    <a:pt x="1053" y="240"/>
                  </a:lnTo>
                  <a:lnTo>
                    <a:pt x="1048" y="241"/>
                  </a:lnTo>
                  <a:lnTo>
                    <a:pt x="1046" y="245"/>
                  </a:lnTo>
                  <a:lnTo>
                    <a:pt x="1042" y="250"/>
                  </a:lnTo>
                  <a:lnTo>
                    <a:pt x="1039" y="253"/>
                  </a:lnTo>
                  <a:lnTo>
                    <a:pt x="1035" y="258"/>
                  </a:lnTo>
                  <a:lnTo>
                    <a:pt x="1032" y="262"/>
                  </a:lnTo>
                  <a:lnTo>
                    <a:pt x="1029" y="265"/>
                  </a:lnTo>
                  <a:lnTo>
                    <a:pt x="1025" y="268"/>
                  </a:lnTo>
                  <a:lnTo>
                    <a:pt x="1018" y="272"/>
                  </a:lnTo>
                  <a:lnTo>
                    <a:pt x="1013" y="272"/>
                  </a:lnTo>
                  <a:lnTo>
                    <a:pt x="1008" y="272"/>
                  </a:lnTo>
                  <a:lnTo>
                    <a:pt x="1003" y="272"/>
                  </a:lnTo>
                  <a:lnTo>
                    <a:pt x="999" y="270"/>
                  </a:lnTo>
                  <a:lnTo>
                    <a:pt x="995" y="269"/>
                  </a:lnTo>
                  <a:lnTo>
                    <a:pt x="989" y="268"/>
                  </a:lnTo>
                  <a:lnTo>
                    <a:pt x="984" y="266"/>
                  </a:lnTo>
                  <a:lnTo>
                    <a:pt x="978" y="265"/>
                  </a:lnTo>
                  <a:lnTo>
                    <a:pt x="974" y="265"/>
                  </a:lnTo>
                  <a:lnTo>
                    <a:pt x="969" y="266"/>
                  </a:lnTo>
                  <a:lnTo>
                    <a:pt x="967" y="267"/>
                  </a:lnTo>
                  <a:lnTo>
                    <a:pt x="962" y="268"/>
                  </a:lnTo>
                  <a:lnTo>
                    <a:pt x="959" y="268"/>
                  </a:lnTo>
                  <a:lnTo>
                    <a:pt x="957" y="266"/>
                  </a:lnTo>
                  <a:lnTo>
                    <a:pt x="955" y="262"/>
                  </a:lnTo>
                  <a:lnTo>
                    <a:pt x="955" y="258"/>
                  </a:lnTo>
                  <a:lnTo>
                    <a:pt x="953" y="254"/>
                  </a:lnTo>
                  <a:lnTo>
                    <a:pt x="951" y="252"/>
                  </a:lnTo>
                  <a:lnTo>
                    <a:pt x="947" y="251"/>
                  </a:lnTo>
                  <a:lnTo>
                    <a:pt x="942" y="249"/>
                  </a:lnTo>
                  <a:lnTo>
                    <a:pt x="939" y="249"/>
                  </a:lnTo>
                  <a:lnTo>
                    <a:pt x="937" y="246"/>
                  </a:lnTo>
                  <a:lnTo>
                    <a:pt x="938" y="243"/>
                  </a:lnTo>
                  <a:lnTo>
                    <a:pt x="938" y="240"/>
                  </a:lnTo>
                  <a:lnTo>
                    <a:pt x="938" y="238"/>
                  </a:lnTo>
                  <a:lnTo>
                    <a:pt x="941" y="237"/>
                  </a:lnTo>
                  <a:lnTo>
                    <a:pt x="943" y="237"/>
                  </a:lnTo>
                  <a:lnTo>
                    <a:pt x="945" y="232"/>
                  </a:lnTo>
                  <a:lnTo>
                    <a:pt x="947" y="229"/>
                  </a:lnTo>
                  <a:lnTo>
                    <a:pt x="950" y="227"/>
                  </a:lnTo>
                  <a:lnTo>
                    <a:pt x="951" y="222"/>
                  </a:lnTo>
                  <a:lnTo>
                    <a:pt x="952" y="219"/>
                  </a:lnTo>
                  <a:lnTo>
                    <a:pt x="952" y="217"/>
                  </a:lnTo>
                  <a:lnTo>
                    <a:pt x="951" y="213"/>
                  </a:lnTo>
                  <a:lnTo>
                    <a:pt x="952" y="211"/>
                  </a:lnTo>
                  <a:lnTo>
                    <a:pt x="952" y="208"/>
                  </a:lnTo>
                  <a:lnTo>
                    <a:pt x="954" y="202"/>
                  </a:lnTo>
                  <a:lnTo>
                    <a:pt x="953" y="200"/>
                  </a:lnTo>
                  <a:lnTo>
                    <a:pt x="949" y="195"/>
                  </a:lnTo>
                  <a:lnTo>
                    <a:pt x="945" y="193"/>
                  </a:lnTo>
                  <a:lnTo>
                    <a:pt x="943" y="192"/>
                  </a:lnTo>
                  <a:lnTo>
                    <a:pt x="942" y="189"/>
                  </a:lnTo>
                  <a:lnTo>
                    <a:pt x="936" y="186"/>
                  </a:lnTo>
                  <a:lnTo>
                    <a:pt x="933" y="188"/>
                  </a:lnTo>
                  <a:lnTo>
                    <a:pt x="929" y="189"/>
                  </a:lnTo>
                  <a:lnTo>
                    <a:pt x="925" y="189"/>
                  </a:lnTo>
                  <a:lnTo>
                    <a:pt x="922" y="189"/>
                  </a:lnTo>
                  <a:lnTo>
                    <a:pt x="919" y="189"/>
                  </a:lnTo>
                  <a:lnTo>
                    <a:pt x="917" y="188"/>
                  </a:lnTo>
                  <a:lnTo>
                    <a:pt x="913" y="186"/>
                  </a:lnTo>
                  <a:lnTo>
                    <a:pt x="909" y="185"/>
                  </a:lnTo>
                  <a:lnTo>
                    <a:pt x="905" y="184"/>
                  </a:lnTo>
                  <a:lnTo>
                    <a:pt x="903" y="181"/>
                  </a:lnTo>
                  <a:lnTo>
                    <a:pt x="899" y="180"/>
                  </a:lnTo>
                  <a:lnTo>
                    <a:pt x="896" y="179"/>
                  </a:lnTo>
                  <a:lnTo>
                    <a:pt x="885" y="180"/>
                  </a:lnTo>
                  <a:lnTo>
                    <a:pt x="881" y="181"/>
                  </a:lnTo>
                  <a:lnTo>
                    <a:pt x="877" y="181"/>
                  </a:lnTo>
                  <a:lnTo>
                    <a:pt x="874" y="181"/>
                  </a:lnTo>
                  <a:lnTo>
                    <a:pt x="872" y="181"/>
                  </a:lnTo>
                  <a:lnTo>
                    <a:pt x="867" y="182"/>
                  </a:lnTo>
                  <a:lnTo>
                    <a:pt x="863" y="181"/>
                  </a:lnTo>
                  <a:lnTo>
                    <a:pt x="857" y="181"/>
                  </a:lnTo>
                  <a:lnTo>
                    <a:pt x="854" y="181"/>
                  </a:lnTo>
                  <a:lnTo>
                    <a:pt x="850" y="181"/>
                  </a:lnTo>
                  <a:lnTo>
                    <a:pt x="843" y="181"/>
                  </a:lnTo>
                  <a:lnTo>
                    <a:pt x="839" y="181"/>
                  </a:lnTo>
                  <a:lnTo>
                    <a:pt x="834" y="181"/>
                  </a:lnTo>
                  <a:lnTo>
                    <a:pt x="830" y="181"/>
                  </a:lnTo>
                  <a:lnTo>
                    <a:pt x="824" y="182"/>
                  </a:lnTo>
                  <a:lnTo>
                    <a:pt x="821" y="181"/>
                  </a:lnTo>
                  <a:lnTo>
                    <a:pt x="816" y="181"/>
                  </a:lnTo>
                  <a:lnTo>
                    <a:pt x="811" y="180"/>
                  </a:lnTo>
                  <a:lnTo>
                    <a:pt x="807" y="179"/>
                  </a:lnTo>
                  <a:lnTo>
                    <a:pt x="802" y="179"/>
                  </a:lnTo>
                  <a:lnTo>
                    <a:pt x="797" y="179"/>
                  </a:lnTo>
                  <a:lnTo>
                    <a:pt x="787" y="180"/>
                  </a:lnTo>
                  <a:lnTo>
                    <a:pt x="782" y="181"/>
                  </a:lnTo>
                  <a:lnTo>
                    <a:pt x="777" y="182"/>
                  </a:lnTo>
                  <a:lnTo>
                    <a:pt x="774" y="184"/>
                  </a:lnTo>
                  <a:lnTo>
                    <a:pt x="770" y="185"/>
                  </a:lnTo>
                  <a:lnTo>
                    <a:pt x="767" y="186"/>
                  </a:lnTo>
                  <a:lnTo>
                    <a:pt x="761" y="187"/>
                  </a:lnTo>
                  <a:lnTo>
                    <a:pt x="755" y="187"/>
                  </a:lnTo>
                  <a:lnTo>
                    <a:pt x="751" y="188"/>
                  </a:lnTo>
                  <a:lnTo>
                    <a:pt x="745" y="187"/>
                  </a:lnTo>
                  <a:lnTo>
                    <a:pt x="741" y="186"/>
                  </a:lnTo>
                  <a:lnTo>
                    <a:pt x="737" y="184"/>
                  </a:lnTo>
                  <a:lnTo>
                    <a:pt x="734" y="180"/>
                  </a:lnTo>
                  <a:lnTo>
                    <a:pt x="729" y="177"/>
                  </a:lnTo>
                  <a:lnTo>
                    <a:pt x="726" y="174"/>
                  </a:lnTo>
                  <a:lnTo>
                    <a:pt x="721" y="173"/>
                  </a:lnTo>
                  <a:lnTo>
                    <a:pt x="718" y="171"/>
                  </a:lnTo>
                  <a:lnTo>
                    <a:pt x="713" y="170"/>
                  </a:lnTo>
                  <a:lnTo>
                    <a:pt x="706" y="170"/>
                  </a:lnTo>
                  <a:lnTo>
                    <a:pt x="699" y="171"/>
                  </a:lnTo>
                  <a:lnTo>
                    <a:pt x="689" y="170"/>
                  </a:lnTo>
                  <a:lnTo>
                    <a:pt x="685" y="169"/>
                  </a:lnTo>
                  <a:lnTo>
                    <a:pt x="680" y="166"/>
                  </a:lnTo>
                  <a:lnTo>
                    <a:pt x="677" y="165"/>
                  </a:lnTo>
                  <a:lnTo>
                    <a:pt x="673" y="164"/>
                  </a:lnTo>
                  <a:lnTo>
                    <a:pt x="671" y="162"/>
                  </a:lnTo>
                  <a:lnTo>
                    <a:pt x="669" y="158"/>
                  </a:lnTo>
                  <a:lnTo>
                    <a:pt x="667" y="156"/>
                  </a:lnTo>
                  <a:lnTo>
                    <a:pt x="664" y="152"/>
                  </a:lnTo>
                  <a:lnTo>
                    <a:pt x="658" y="145"/>
                  </a:lnTo>
                  <a:lnTo>
                    <a:pt x="655" y="137"/>
                  </a:lnTo>
                  <a:lnTo>
                    <a:pt x="651" y="134"/>
                  </a:lnTo>
                  <a:lnTo>
                    <a:pt x="645" y="128"/>
                  </a:lnTo>
                  <a:lnTo>
                    <a:pt x="640" y="125"/>
                  </a:lnTo>
                  <a:lnTo>
                    <a:pt x="637" y="123"/>
                  </a:lnTo>
                  <a:lnTo>
                    <a:pt x="632" y="121"/>
                  </a:lnTo>
                  <a:lnTo>
                    <a:pt x="627" y="121"/>
                  </a:lnTo>
                  <a:lnTo>
                    <a:pt x="621" y="120"/>
                  </a:lnTo>
                  <a:lnTo>
                    <a:pt x="616" y="118"/>
                  </a:lnTo>
                  <a:lnTo>
                    <a:pt x="613" y="117"/>
                  </a:lnTo>
                  <a:lnTo>
                    <a:pt x="609" y="116"/>
                  </a:lnTo>
                  <a:lnTo>
                    <a:pt x="608" y="115"/>
                  </a:lnTo>
                  <a:lnTo>
                    <a:pt x="605" y="112"/>
                  </a:lnTo>
                  <a:lnTo>
                    <a:pt x="602" y="112"/>
                  </a:lnTo>
                  <a:lnTo>
                    <a:pt x="597" y="113"/>
                  </a:lnTo>
                  <a:lnTo>
                    <a:pt x="593" y="114"/>
                  </a:lnTo>
                  <a:lnTo>
                    <a:pt x="592" y="115"/>
                  </a:lnTo>
                  <a:lnTo>
                    <a:pt x="591" y="117"/>
                  </a:lnTo>
                  <a:lnTo>
                    <a:pt x="589" y="118"/>
                  </a:lnTo>
                  <a:lnTo>
                    <a:pt x="585" y="118"/>
                  </a:lnTo>
                  <a:lnTo>
                    <a:pt x="582" y="117"/>
                  </a:lnTo>
                  <a:lnTo>
                    <a:pt x="579" y="116"/>
                  </a:lnTo>
                  <a:lnTo>
                    <a:pt x="573" y="114"/>
                  </a:lnTo>
                  <a:lnTo>
                    <a:pt x="566" y="113"/>
                  </a:lnTo>
                  <a:lnTo>
                    <a:pt x="559" y="112"/>
                  </a:lnTo>
                  <a:lnTo>
                    <a:pt x="547" y="109"/>
                  </a:lnTo>
                  <a:lnTo>
                    <a:pt x="533" y="107"/>
                  </a:lnTo>
                  <a:lnTo>
                    <a:pt x="526" y="105"/>
                  </a:lnTo>
                  <a:lnTo>
                    <a:pt x="523" y="102"/>
                  </a:lnTo>
                  <a:lnTo>
                    <a:pt x="521" y="100"/>
                  </a:lnTo>
                  <a:lnTo>
                    <a:pt x="519" y="97"/>
                  </a:lnTo>
                  <a:lnTo>
                    <a:pt x="517" y="91"/>
                  </a:lnTo>
                  <a:lnTo>
                    <a:pt x="515" y="86"/>
                  </a:lnTo>
                  <a:lnTo>
                    <a:pt x="515" y="84"/>
                  </a:lnTo>
                  <a:lnTo>
                    <a:pt x="514" y="81"/>
                  </a:lnTo>
                  <a:lnTo>
                    <a:pt x="511" y="80"/>
                  </a:lnTo>
                  <a:lnTo>
                    <a:pt x="509" y="77"/>
                  </a:lnTo>
                  <a:lnTo>
                    <a:pt x="507" y="76"/>
                  </a:lnTo>
                  <a:lnTo>
                    <a:pt x="504" y="77"/>
                  </a:lnTo>
                  <a:lnTo>
                    <a:pt x="499" y="77"/>
                  </a:lnTo>
                  <a:lnTo>
                    <a:pt x="498" y="77"/>
                  </a:lnTo>
                  <a:lnTo>
                    <a:pt x="498" y="75"/>
                  </a:lnTo>
                  <a:lnTo>
                    <a:pt x="498" y="73"/>
                  </a:lnTo>
                  <a:lnTo>
                    <a:pt x="498" y="72"/>
                  </a:lnTo>
                  <a:lnTo>
                    <a:pt x="501" y="68"/>
                  </a:lnTo>
                  <a:lnTo>
                    <a:pt x="502" y="65"/>
                  </a:lnTo>
                  <a:lnTo>
                    <a:pt x="503" y="57"/>
                  </a:lnTo>
                  <a:lnTo>
                    <a:pt x="504" y="46"/>
                  </a:lnTo>
                  <a:lnTo>
                    <a:pt x="504" y="41"/>
                  </a:lnTo>
                  <a:lnTo>
                    <a:pt x="504" y="36"/>
                  </a:lnTo>
                  <a:lnTo>
                    <a:pt x="502" y="32"/>
                  </a:lnTo>
                  <a:lnTo>
                    <a:pt x="497" y="28"/>
                  </a:lnTo>
                  <a:lnTo>
                    <a:pt x="494" y="27"/>
                  </a:lnTo>
                  <a:lnTo>
                    <a:pt x="491" y="26"/>
                  </a:lnTo>
                  <a:lnTo>
                    <a:pt x="489" y="24"/>
                  </a:lnTo>
                  <a:lnTo>
                    <a:pt x="487" y="21"/>
                  </a:lnTo>
                  <a:lnTo>
                    <a:pt x="486" y="19"/>
                  </a:lnTo>
                  <a:lnTo>
                    <a:pt x="486" y="17"/>
                  </a:lnTo>
                  <a:lnTo>
                    <a:pt x="485" y="13"/>
                  </a:lnTo>
                  <a:lnTo>
                    <a:pt x="485" y="10"/>
                  </a:lnTo>
                  <a:lnTo>
                    <a:pt x="485" y="8"/>
                  </a:lnTo>
                  <a:lnTo>
                    <a:pt x="482" y="4"/>
                  </a:lnTo>
                  <a:lnTo>
                    <a:pt x="481" y="2"/>
                  </a:lnTo>
                  <a:lnTo>
                    <a:pt x="478" y="2"/>
                  </a:lnTo>
                  <a:lnTo>
                    <a:pt x="475" y="1"/>
                  </a:lnTo>
                  <a:lnTo>
                    <a:pt x="471" y="0"/>
                  </a:lnTo>
                  <a:lnTo>
                    <a:pt x="469" y="1"/>
                  </a:lnTo>
                  <a:lnTo>
                    <a:pt x="464" y="2"/>
                  </a:lnTo>
                  <a:lnTo>
                    <a:pt x="455" y="8"/>
                  </a:lnTo>
                  <a:lnTo>
                    <a:pt x="453" y="11"/>
                  </a:lnTo>
                  <a:lnTo>
                    <a:pt x="451" y="13"/>
                  </a:lnTo>
                  <a:lnTo>
                    <a:pt x="450" y="17"/>
                  </a:lnTo>
                  <a:lnTo>
                    <a:pt x="447" y="20"/>
                  </a:lnTo>
                  <a:lnTo>
                    <a:pt x="445" y="22"/>
                  </a:lnTo>
                  <a:lnTo>
                    <a:pt x="442" y="25"/>
                  </a:lnTo>
                  <a:lnTo>
                    <a:pt x="440" y="27"/>
                  </a:lnTo>
                  <a:lnTo>
                    <a:pt x="437" y="29"/>
                  </a:lnTo>
                  <a:lnTo>
                    <a:pt x="434" y="30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27" y="37"/>
                  </a:lnTo>
                  <a:lnTo>
                    <a:pt x="424" y="37"/>
                  </a:lnTo>
                  <a:lnTo>
                    <a:pt x="419" y="37"/>
                  </a:lnTo>
                  <a:lnTo>
                    <a:pt x="416" y="37"/>
                  </a:lnTo>
                  <a:lnTo>
                    <a:pt x="415" y="37"/>
                  </a:lnTo>
                  <a:lnTo>
                    <a:pt x="413" y="36"/>
                  </a:lnTo>
                  <a:lnTo>
                    <a:pt x="410" y="35"/>
                  </a:lnTo>
                  <a:lnTo>
                    <a:pt x="409" y="35"/>
                  </a:lnTo>
                  <a:lnTo>
                    <a:pt x="408" y="33"/>
                  </a:lnTo>
                  <a:lnTo>
                    <a:pt x="406" y="30"/>
                  </a:lnTo>
                  <a:lnTo>
                    <a:pt x="406" y="29"/>
                  </a:lnTo>
                  <a:lnTo>
                    <a:pt x="405" y="27"/>
                  </a:lnTo>
                  <a:lnTo>
                    <a:pt x="402" y="26"/>
                  </a:lnTo>
                  <a:lnTo>
                    <a:pt x="400" y="24"/>
                  </a:lnTo>
                  <a:lnTo>
                    <a:pt x="397" y="21"/>
                  </a:lnTo>
                  <a:lnTo>
                    <a:pt x="392" y="21"/>
                  </a:lnTo>
                  <a:lnTo>
                    <a:pt x="390" y="19"/>
                  </a:lnTo>
                  <a:lnTo>
                    <a:pt x="386" y="19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4" y="22"/>
                  </a:lnTo>
                  <a:lnTo>
                    <a:pt x="370" y="25"/>
                  </a:lnTo>
                  <a:lnTo>
                    <a:pt x="367" y="26"/>
                  </a:lnTo>
                  <a:lnTo>
                    <a:pt x="365" y="28"/>
                  </a:lnTo>
                  <a:lnTo>
                    <a:pt x="361" y="32"/>
                  </a:lnTo>
                  <a:lnTo>
                    <a:pt x="357" y="38"/>
                  </a:lnTo>
                  <a:lnTo>
                    <a:pt x="354" y="42"/>
                  </a:lnTo>
                  <a:lnTo>
                    <a:pt x="351" y="46"/>
                  </a:lnTo>
                  <a:lnTo>
                    <a:pt x="349" y="49"/>
                  </a:lnTo>
                  <a:lnTo>
                    <a:pt x="345" y="51"/>
                  </a:lnTo>
                  <a:lnTo>
                    <a:pt x="339" y="54"/>
                  </a:lnTo>
                  <a:lnTo>
                    <a:pt x="336" y="54"/>
                  </a:lnTo>
                  <a:lnTo>
                    <a:pt x="331" y="54"/>
                  </a:lnTo>
                  <a:lnTo>
                    <a:pt x="328" y="54"/>
                  </a:lnTo>
                  <a:lnTo>
                    <a:pt x="318" y="54"/>
                  </a:lnTo>
                  <a:lnTo>
                    <a:pt x="312" y="53"/>
                  </a:lnTo>
                  <a:lnTo>
                    <a:pt x="310" y="53"/>
                  </a:lnTo>
                  <a:lnTo>
                    <a:pt x="309" y="54"/>
                  </a:lnTo>
                  <a:lnTo>
                    <a:pt x="306" y="54"/>
                  </a:lnTo>
                  <a:lnTo>
                    <a:pt x="303" y="56"/>
                  </a:lnTo>
                  <a:lnTo>
                    <a:pt x="302" y="57"/>
                  </a:lnTo>
                  <a:lnTo>
                    <a:pt x="302" y="59"/>
                  </a:lnTo>
                  <a:lnTo>
                    <a:pt x="302" y="64"/>
                  </a:lnTo>
                  <a:lnTo>
                    <a:pt x="303" y="66"/>
                  </a:lnTo>
                  <a:lnTo>
                    <a:pt x="306" y="69"/>
                  </a:lnTo>
                  <a:lnTo>
                    <a:pt x="309" y="73"/>
                  </a:lnTo>
                  <a:lnTo>
                    <a:pt x="314" y="80"/>
                  </a:lnTo>
                  <a:lnTo>
                    <a:pt x="315" y="82"/>
                  </a:lnTo>
                  <a:lnTo>
                    <a:pt x="319" y="85"/>
                  </a:lnTo>
                  <a:lnTo>
                    <a:pt x="321" y="89"/>
                  </a:lnTo>
                  <a:lnTo>
                    <a:pt x="325" y="92"/>
                  </a:lnTo>
                  <a:lnTo>
                    <a:pt x="326" y="96"/>
                  </a:lnTo>
                  <a:lnTo>
                    <a:pt x="327" y="99"/>
                  </a:lnTo>
                  <a:lnTo>
                    <a:pt x="327" y="101"/>
                  </a:lnTo>
                  <a:lnTo>
                    <a:pt x="327" y="105"/>
                  </a:lnTo>
                  <a:lnTo>
                    <a:pt x="322" y="109"/>
                  </a:lnTo>
                  <a:lnTo>
                    <a:pt x="317" y="109"/>
                  </a:lnTo>
                  <a:lnTo>
                    <a:pt x="312" y="110"/>
                  </a:lnTo>
                  <a:lnTo>
                    <a:pt x="307" y="110"/>
                  </a:lnTo>
                  <a:lnTo>
                    <a:pt x="304" y="112"/>
                  </a:lnTo>
                  <a:lnTo>
                    <a:pt x="302" y="112"/>
                  </a:lnTo>
                  <a:lnTo>
                    <a:pt x="299" y="114"/>
                  </a:lnTo>
                  <a:lnTo>
                    <a:pt x="299" y="116"/>
                  </a:lnTo>
                  <a:lnTo>
                    <a:pt x="302" y="123"/>
                  </a:lnTo>
                  <a:lnTo>
                    <a:pt x="307" y="130"/>
                  </a:lnTo>
                  <a:lnTo>
                    <a:pt x="311" y="136"/>
                  </a:lnTo>
                  <a:lnTo>
                    <a:pt x="314" y="144"/>
                  </a:lnTo>
                  <a:lnTo>
                    <a:pt x="314" y="149"/>
                  </a:lnTo>
                  <a:lnTo>
                    <a:pt x="318" y="152"/>
                  </a:lnTo>
                  <a:lnTo>
                    <a:pt x="322" y="150"/>
                  </a:lnTo>
                  <a:lnTo>
                    <a:pt x="327" y="147"/>
                  </a:lnTo>
                  <a:lnTo>
                    <a:pt x="331" y="144"/>
                  </a:lnTo>
                  <a:lnTo>
                    <a:pt x="335" y="142"/>
                  </a:lnTo>
                  <a:lnTo>
                    <a:pt x="338" y="142"/>
                  </a:lnTo>
                  <a:lnTo>
                    <a:pt x="341" y="144"/>
                  </a:lnTo>
                  <a:lnTo>
                    <a:pt x="341" y="145"/>
                  </a:lnTo>
                  <a:lnTo>
                    <a:pt x="343" y="145"/>
                  </a:lnTo>
                  <a:lnTo>
                    <a:pt x="344" y="142"/>
                  </a:lnTo>
                  <a:lnTo>
                    <a:pt x="345" y="140"/>
                  </a:lnTo>
                  <a:lnTo>
                    <a:pt x="347" y="138"/>
                  </a:lnTo>
                  <a:lnTo>
                    <a:pt x="351" y="138"/>
                  </a:lnTo>
                  <a:lnTo>
                    <a:pt x="351" y="140"/>
                  </a:lnTo>
                  <a:lnTo>
                    <a:pt x="354" y="139"/>
                  </a:lnTo>
                  <a:lnTo>
                    <a:pt x="357" y="138"/>
                  </a:lnTo>
                  <a:lnTo>
                    <a:pt x="360" y="136"/>
                  </a:lnTo>
                  <a:lnTo>
                    <a:pt x="365" y="136"/>
                  </a:lnTo>
                  <a:lnTo>
                    <a:pt x="368" y="137"/>
                  </a:lnTo>
                  <a:lnTo>
                    <a:pt x="371" y="137"/>
                  </a:lnTo>
                  <a:lnTo>
                    <a:pt x="375" y="136"/>
                  </a:lnTo>
                  <a:lnTo>
                    <a:pt x="378" y="133"/>
                  </a:lnTo>
                  <a:lnTo>
                    <a:pt x="382" y="131"/>
                  </a:lnTo>
                  <a:lnTo>
                    <a:pt x="387" y="133"/>
                  </a:lnTo>
                  <a:lnTo>
                    <a:pt x="390" y="133"/>
                  </a:lnTo>
                  <a:lnTo>
                    <a:pt x="392" y="131"/>
                  </a:lnTo>
                  <a:lnTo>
                    <a:pt x="395" y="130"/>
                  </a:lnTo>
                  <a:lnTo>
                    <a:pt x="398" y="131"/>
                  </a:lnTo>
                  <a:lnTo>
                    <a:pt x="399" y="133"/>
                  </a:lnTo>
                  <a:lnTo>
                    <a:pt x="400" y="136"/>
                  </a:lnTo>
                  <a:lnTo>
                    <a:pt x="403" y="137"/>
                  </a:lnTo>
                  <a:lnTo>
                    <a:pt x="407" y="140"/>
                  </a:lnTo>
                  <a:lnTo>
                    <a:pt x="410" y="140"/>
                  </a:lnTo>
                  <a:lnTo>
                    <a:pt x="414" y="140"/>
                  </a:lnTo>
                  <a:lnTo>
                    <a:pt x="416" y="139"/>
                  </a:lnTo>
                  <a:lnTo>
                    <a:pt x="421" y="137"/>
                  </a:lnTo>
                  <a:lnTo>
                    <a:pt x="431" y="130"/>
                  </a:lnTo>
                  <a:lnTo>
                    <a:pt x="438" y="126"/>
                  </a:lnTo>
                  <a:lnTo>
                    <a:pt x="440" y="126"/>
                  </a:lnTo>
                  <a:lnTo>
                    <a:pt x="442" y="126"/>
                  </a:lnTo>
                  <a:lnTo>
                    <a:pt x="443" y="130"/>
                  </a:lnTo>
                  <a:lnTo>
                    <a:pt x="443" y="132"/>
                  </a:lnTo>
                  <a:lnTo>
                    <a:pt x="442" y="134"/>
                  </a:lnTo>
                  <a:lnTo>
                    <a:pt x="441" y="138"/>
                  </a:lnTo>
                  <a:lnTo>
                    <a:pt x="441" y="140"/>
                  </a:lnTo>
                  <a:lnTo>
                    <a:pt x="441" y="142"/>
                  </a:lnTo>
                  <a:lnTo>
                    <a:pt x="440" y="144"/>
                  </a:lnTo>
                  <a:lnTo>
                    <a:pt x="433" y="147"/>
                  </a:lnTo>
                  <a:lnTo>
                    <a:pt x="429" y="147"/>
                  </a:lnTo>
                  <a:lnTo>
                    <a:pt x="425" y="149"/>
                  </a:lnTo>
                  <a:lnTo>
                    <a:pt x="422" y="153"/>
                  </a:lnTo>
                  <a:lnTo>
                    <a:pt x="419" y="154"/>
                  </a:lnTo>
                  <a:lnTo>
                    <a:pt x="415" y="155"/>
                  </a:lnTo>
                  <a:lnTo>
                    <a:pt x="410" y="155"/>
                  </a:lnTo>
                  <a:lnTo>
                    <a:pt x="406" y="155"/>
                  </a:lnTo>
                  <a:lnTo>
                    <a:pt x="402" y="156"/>
                  </a:lnTo>
                  <a:lnTo>
                    <a:pt x="399" y="156"/>
                  </a:lnTo>
                  <a:lnTo>
                    <a:pt x="397" y="156"/>
                  </a:lnTo>
                  <a:lnTo>
                    <a:pt x="393" y="157"/>
                  </a:lnTo>
                  <a:lnTo>
                    <a:pt x="390" y="160"/>
                  </a:lnTo>
                  <a:lnTo>
                    <a:pt x="387" y="161"/>
                  </a:lnTo>
                  <a:lnTo>
                    <a:pt x="384" y="161"/>
                  </a:lnTo>
                  <a:lnTo>
                    <a:pt x="382" y="162"/>
                  </a:lnTo>
                  <a:lnTo>
                    <a:pt x="377" y="162"/>
                  </a:lnTo>
                  <a:lnTo>
                    <a:pt x="375" y="163"/>
                  </a:lnTo>
                  <a:lnTo>
                    <a:pt x="371" y="163"/>
                  </a:lnTo>
                  <a:lnTo>
                    <a:pt x="368" y="164"/>
                  </a:lnTo>
                  <a:lnTo>
                    <a:pt x="367" y="169"/>
                  </a:lnTo>
                  <a:lnTo>
                    <a:pt x="367" y="173"/>
                  </a:lnTo>
                  <a:lnTo>
                    <a:pt x="363" y="176"/>
                  </a:lnTo>
                  <a:lnTo>
                    <a:pt x="360" y="176"/>
                  </a:lnTo>
                  <a:lnTo>
                    <a:pt x="357" y="174"/>
                  </a:lnTo>
                  <a:lnTo>
                    <a:pt x="354" y="174"/>
                  </a:lnTo>
                  <a:lnTo>
                    <a:pt x="349" y="176"/>
                  </a:lnTo>
                  <a:lnTo>
                    <a:pt x="346" y="178"/>
                  </a:lnTo>
                  <a:lnTo>
                    <a:pt x="345" y="179"/>
                  </a:lnTo>
                  <a:lnTo>
                    <a:pt x="343" y="180"/>
                  </a:lnTo>
                  <a:lnTo>
                    <a:pt x="342" y="184"/>
                  </a:lnTo>
                  <a:lnTo>
                    <a:pt x="342" y="188"/>
                  </a:lnTo>
                  <a:lnTo>
                    <a:pt x="339" y="193"/>
                  </a:lnTo>
                  <a:lnTo>
                    <a:pt x="339" y="201"/>
                  </a:lnTo>
                  <a:lnTo>
                    <a:pt x="338" y="204"/>
                  </a:lnTo>
                  <a:lnTo>
                    <a:pt x="336" y="206"/>
                  </a:lnTo>
                  <a:lnTo>
                    <a:pt x="335" y="209"/>
                  </a:lnTo>
                  <a:lnTo>
                    <a:pt x="333" y="210"/>
                  </a:lnTo>
                  <a:lnTo>
                    <a:pt x="329" y="210"/>
                  </a:lnTo>
                  <a:lnTo>
                    <a:pt x="327" y="210"/>
                  </a:lnTo>
                  <a:lnTo>
                    <a:pt x="326" y="210"/>
                  </a:lnTo>
                  <a:lnTo>
                    <a:pt x="323" y="210"/>
                  </a:lnTo>
                  <a:lnTo>
                    <a:pt x="320" y="211"/>
                  </a:lnTo>
                  <a:lnTo>
                    <a:pt x="318" y="211"/>
                  </a:lnTo>
                  <a:lnTo>
                    <a:pt x="315" y="212"/>
                  </a:lnTo>
                  <a:lnTo>
                    <a:pt x="312" y="214"/>
                  </a:lnTo>
                  <a:lnTo>
                    <a:pt x="311" y="216"/>
                  </a:lnTo>
                  <a:lnTo>
                    <a:pt x="306" y="218"/>
                  </a:lnTo>
                  <a:lnTo>
                    <a:pt x="305" y="220"/>
                  </a:lnTo>
                  <a:lnTo>
                    <a:pt x="304" y="224"/>
                  </a:lnTo>
                  <a:lnTo>
                    <a:pt x="303" y="227"/>
                  </a:lnTo>
                  <a:lnTo>
                    <a:pt x="302" y="229"/>
                  </a:lnTo>
                  <a:lnTo>
                    <a:pt x="302" y="233"/>
                  </a:lnTo>
                  <a:lnTo>
                    <a:pt x="302" y="240"/>
                  </a:lnTo>
                  <a:lnTo>
                    <a:pt x="298" y="242"/>
                  </a:lnTo>
                  <a:lnTo>
                    <a:pt x="295" y="242"/>
                  </a:lnTo>
                  <a:lnTo>
                    <a:pt x="290" y="242"/>
                  </a:lnTo>
                  <a:lnTo>
                    <a:pt x="287" y="242"/>
                  </a:lnTo>
                  <a:lnTo>
                    <a:pt x="283" y="241"/>
                  </a:lnTo>
                  <a:lnTo>
                    <a:pt x="281" y="240"/>
                  </a:lnTo>
                  <a:lnTo>
                    <a:pt x="277" y="240"/>
                  </a:lnTo>
                  <a:lnTo>
                    <a:pt x="269" y="238"/>
                  </a:lnTo>
                  <a:lnTo>
                    <a:pt x="264" y="237"/>
                  </a:lnTo>
                  <a:lnTo>
                    <a:pt x="259" y="237"/>
                  </a:lnTo>
                  <a:lnTo>
                    <a:pt x="255" y="237"/>
                  </a:lnTo>
                  <a:lnTo>
                    <a:pt x="253" y="236"/>
                  </a:lnTo>
                  <a:lnTo>
                    <a:pt x="249" y="236"/>
                  </a:lnTo>
                  <a:lnTo>
                    <a:pt x="246" y="236"/>
                  </a:lnTo>
                  <a:lnTo>
                    <a:pt x="245" y="237"/>
                  </a:lnTo>
                  <a:lnTo>
                    <a:pt x="243" y="242"/>
                  </a:lnTo>
                  <a:lnTo>
                    <a:pt x="245" y="244"/>
                  </a:lnTo>
                  <a:lnTo>
                    <a:pt x="247" y="248"/>
                  </a:lnTo>
                  <a:lnTo>
                    <a:pt x="253" y="248"/>
                  </a:lnTo>
                  <a:lnTo>
                    <a:pt x="255" y="249"/>
                  </a:lnTo>
                  <a:lnTo>
                    <a:pt x="258" y="251"/>
                  </a:lnTo>
                  <a:lnTo>
                    <a:pt x="261" y="251"/>
                  </a:lnTo>
                  <a:lnTo>
                    <a:pt x="264" y="252"/>
                  </a:lnTo>
                  <a:lnTo>
                    <a:pt x="267" y="253"/>
                  </a:lnTo>
                  <a:lnTo>
                    <a:pt x="271" y="253"/>
                  </a:lnTo>
                  <a:lnTo>
                    <a:pt x="274" y="253"/>
                  </a:lnTo>
                  <a:lnTo>
                    <a:pt x="280" y="253"/>
                  </a:lnTo>
                  <a:lnTo>
                    <a:pt x="283" y="254"/>
                  </a:lnTo>
                  <a:lnTo>
                    <a:pt x="286" y="256"/>
                  </a:lnTo>
                  <a:lnTo>
                    <a:pt x="287" y="258"/>
                  </a:lnTo>
                  <a:lnTo>
                    <a:pt x="287" y="260"/>
                  </a:lnTo>
                  <a:lnTo>
                    <a:pt x="286" y="264"/>
                  </a:lnTo>
                  <a:lnTo>
                    <a:pt x="285" y="267"/>
                  </a:lnTo>
                  <a:lnTo>
                    <a:pt x="285" y="268"/>
                  </a:lnTo>
                  <a:lnTo>
                    <a:pt x="287" y="270"/>
                  </a:lnTo>
                  <a:lnTo>
                    <a:pt x="289" y="270"/>
                  </a:lnTo>
                  <a:lnTo>
                    <a:pt x="293" y="268"/>
                  </a:lnTo>
                  <a:lnTo>
                    <a:pt x="295" y="265"/>
                  </a:lnTo>
                  <a:lnTo>
                    <a:pt x="296" y="264"/>
                  </a:lnTo>
                  <a:lnTo>
                    <a:pt x="299" y="264"/>
                  </a:lnTo>
                  <a:lnTo>
                    <a:pt x="302" y="262"/>
                  </a:lnTo>
                  <a:lnTo>
                    <a:pt x="305" y="261"/>
                  </a:lnTo>
                  <a:lnTo>
                    <a:pt x="306" y="262"/>
                  </a:lnTo>
                  <a:lnTo>
                    <a:pt x="309" y="265"/>
                  </a:lnTo>
                  <a:lnTo>
                    <a:pt x="310" y="268"/>
                  </a:lnTo>
                  <a:lnTo>
                    <a:pt x="307" y="270"/>
                  </a:lnTo>
                  <a:lnTo>
                    <a:pt x="309" y="274"/>
                  </a:lnTo>
                  <a:lnTo>
                    <a:pt x="311" y="276"/>
                  </a:lnTo>
                  <a:lnTo>
                    <a:pt x="310" y="280"/>
                  </a:lnTo>
                  <a:lnTo>
                    <a:pt x="311" y="282"/>
                  </a:lnTo>
                  <a:lnTo>
                    <a:pt x="313" y="283"/>
                  </a:lnTo>
                  <a:lnTo>
                    <a:pt x="317" y="285"/>
                  </a:lnTo>
                  <a:lnTo>
                    <a:pt x="320" y="286"/>
                  </a:lnTo>
                  <a:lnTo>
                    <a:pt x="322" y="289"/>
                  </a:lnTo>
                  <a:lnTo>
                    <a:pt x="326" y="292"/>
                  </a:lnTo>
                  <a:lnTo>
                    <a:pt x="327" y="296"/>
                  </a:lnTo>
                  <a:lnTo>
                    <a:pt x="327" y="297"/>
                  </a:lnTo>
                  <a:lnTo>
                    <a:pt x="328" y="301"/>
                  </a:lnTo>
                  <a:lnTo>
                    <a:pt x="327" y="309"/>
                  </a:lnTo>
                  <a:lnTo>
                    <a:pt x="330" y="318"/>
                  </a:lnTo>
                  <a:lnTo>
                    <a:pt x="335" y="325"/>
                  </a:lnTo>
                  <a:lnTo>
                    <a:pt x="337" y="332"/>
                  </a:lnTo>
                  <a:lnTo>
                    <a:pt x="338" y="339"/>
                  </a:lnTo>
                  <a:lnTo>
                    <a:pt x="337" y="345"/>
                  </a:lnTo>
                  <a:lnTo>
                    <a:pt x="336" y="350"/>
                  </a:lnTo>
                  <a:lnTo>
                    <a:pt x="335" y="354"/>
                  </a:lnTo>
                  <a:lnTo>
                    <a:pt x="334" y="356"/>
                  </a:lnTo>
                  <a:lnTo>
                    <a:pt x="331" y="358"/>
                  </a:lnTo>
                  <a:lnTo>
                    <a:pt x="326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4"/>
                  </a:lnTo>
                  <a:lnTo>
                    <a:pt x="319" y="366"/>
                  </a:lnTo>
                  <a:lnTo>
                    <a:pt x="317" y="368"/>
                  </a:lnTo>
                  <a:lnTo>
                    <a:pt x="314" y="368"/>
                  </a:lnTo>
                  <a:lnTo>
                    <a:pt x="312" y="369"/>
                  </a:lnTo>
                  <a:lnTo>
                    <a:pt x="309" y="369"/>
                  </a:lnTo>
                  <a:lnTo>
                    <a:pt x="307" y="370"/>
                  </a:lnTo>
                  <a:lnTo>
                    <a:pt x="307" y="374"/>
                  </a:lnTo>
                  <a:lnTo>
                    <a:pt x="307" y="377"/>
                  </a:lnTo>
                  <a:lnTo>
                    <a:pt x="309" y="386"/>
                  </a:lnTo>
                  <a:lnTo>
                    <a:pt x="310" y="393"/>
                  </a:lnTo>
                  <a:lnTo>
                    <a:pt x="309" y="395"/>
                  </a:lnTo>
                  <a:lnTo>
                    <a:pt x="306" y="396"/>
                  </a:lnTo>
                  <a:lnTo>
                    <a:pt x="303" y="396"/>
                  </a:lnTo>
                  <a:lnTo>
                    <a:pt x="301" y="396"/>
                  </a:lnTo>
                  <a:lnTo>
                    <a:pt x="297" y="396"/>
                  </a:lnTo>
                  <a:lnTo>
                    <a:pt x="295" y="397"/>
                  </a:lnTo>
                  <a:lnTo>
                    <a:pt x="293" y="400"/>
                  </a:lnTo>
                  <a:lnTo>
                    <a:pt x="291" y="401"/>
                  </a:lnTo>
                  <a:lnTo>
                    <a:pt x="288" y="404"/>
                  </a:lnTo>
                  <a:lnTo>
                    <a:pt x="287" y="405"/>
                  </a:lnTo>
                  <a:lnTo>
                    <a:pt x="286" y="405"/>
                  </a:lnTo>
                  <a:lnTo>
                    <a:pt x="282" y="403"/>
                  </a:lnTo>
                  <a:lnTo>
                    <a:pt x="280" y="401"/>
                  </a:lnTo>
                  <a:lnTo>
                    <a:pt x="278" y="400"/>
                  </a:lnTo>
                  <a:lnTo>
                    <a:pt x="274" y="398"/>
                  </a:lnTo>
                  <a:lnTo>
                    <a:pt x="271" y="398"/>
                  </a:lnTo>
                  <a:lnTo>
                    <a:pt x="267" y="400"/>
                  </a:lnTo>
                  <a:lnTo>
                    <a:pt x="264" y="401"/>
                  </a:lnTo>
                  <a:lnTo>
                    <a:pt x="259" y="402"/>
                  </a:lnTo>
                  <a:lnTo>
                    <a:pt x="256" y="402"/>
                  </a:lnTo>
                  <a:lnTo>
                    <a:pt x="254" y="402"/>
                  </a:lnTo>
                  <a:lnTo>
                    <a:pt x="251" y="400"/>
                  </a:lnTo>
                  <a:lnTo>
                    <a:pt x="247" y="394"/>
                  </a:lnTo>
                  <a:lnTo>
                    <a:pt x="241" y="390"/>
                  </a:lnTo>
                  <a:lnTo>
                    <a:pt x="238" y="388"/>
                  </a:lnTo>
                  <a:lnTo>
                    <a:pt x="233" y="387"/>
                  </a:lnTo>
                  <a:lnTo>
                    <a:pt x="231" y="385"/>
                  </a:lnTo>
                  <a:lnTo>
                    <a:pt x="230" y="381"/>
                  </a:lnTo>
                  <a:lnTo>
                    <a:pt x="229" y="378"/>
                  </a:lnTo>
                  <a:lnTo>
                    <a:pt x="226" y="378"/>
                  </a:lnTo>
                  <a:lnTo>
                    <a:pt x="223" y="378"/>
                  </a:lnTo>
                  <a:lnTo>
                    <a:pt x="219" y="378"/>
                  </a:lnTo>
                  <a:lnTo>
                    <a:pt x="218" y="377"/>
                  </a:lnTo>
                  <a:lnTo>
                    <a:pt x="215" y="374"/>
                  </a:lnTo>
                  <a:lnTo>
                    <a:pt x="213" y="374"/>
                  </a:lnTo>
                  <a:lnTo>
                    <a:pt x="210" y="376"/>
                  </a:lnTo>
                  <a:lnTo>
                    <a:pt x="209" y="378"/>
                  </a:lnTo>
                  <a:lnTo>
                    <a:pt x="207" y="380"/>
                  </a:lnTo>
                  <a:lnTo>
                    <a:pt x="206" y="382"/>
                  </a:lnTo>
                  <a:lnTo>
                    <a:pt x="203" y="389"/>
                  </a:lnTo>
                  <a:lnTo>
                    <a:pt x="205" y="396"/>
                  </a:lnTo>
                  <a:lnTo>
                    <a:pt x="207" y="400"/>
                  </a:lnTo>
                  <a:lnTo>
                    <a:pt x="208" y="402"/>
                  </a:lnTo>
                  <a:lnTo>
                    <a:pt x="208" y="406"/>
                  </a:lnTo>
                  <a:lnTo>
                    <a:pt x="211" y="411"/>
                  </a:lnTo>
                  <a:lnTo>
                    <a:pt x="213" y="416"/>
                  </a:lnTo>
                  <a:lnTo>
                    <a:pt x="211" y="419"/>
                  </a:lnTo>
                  <a:lnTo>
                    <a:pt x="209" y="422"/>
                  </a:lnTo>
                  <a:lnTo>
                    <a:pt x="208" y="427"/>
                  </a:lnTo>
                  <a:lnTo>
                    <a:pt x="208" y="433"/>
                  </a:lnTo>
                  <a:lnTo>
                    <a:pt x="206" y="436"/>
                  </a:lnTo>
                  <a:lnTo>
                    <a:pt x="208" y="436"/>
                  </a:lnTo>
                  <a:lnTo>
                    <a:pt x="206" y="438"/>
                  </a:lnTo>
                  <a:lnTo>
                    <a:pt x="201" y="443"/>
                  </a:lnTo>
                  <a:lnTo>
                    <a:pt x="201" y="446"/>
                  </a:lnTo>
                  <a:lnTo>
                    <a:pt x="203" y="448"/>
                  </a:lnTo>
                  <a:lnTo>
                    <a:pt x="206" y="450"/>
                  </a:lnTo>
                  <a:lnTo>
                    <a:pt x="208" y="453"/>
                  </a:lnTo>
                  <a:lnTo>
                    <a:pt x="213" y="456"/>
                  </a:lnTo>
                  <a:lnTo>
                    <a:pt x="213" y="458"/>
                  </a:lnTo>
                  <a:lnTo>
                    <a:pt x="213" y="462"/>
                  </a:lnTo>
                  <a:lnTo>
                    <a:pt x="211" y="467"/>
                  </a:lnTo>
                  <a:lnTo>
                    <a:pt x="211" y="472"/>
                  </a:lnTo>
                  <a:lnTo>
                    <a:pt x="210" y="475"/>
                  </a:lnTo>
                  <a:lnTo>
                    <a:pt x="208" y="478"/>
                  </a:lnTo>
                  <a:lnTo>
                    <a:pt x="209" y="482"/>
                  </a:lnTo>
                  <a:lnTo>
                    <a:pt x="210" y="485"/>
                  </a:lnTo>
                  <a:lnTo>
                    <a:pt x="211" y="489"/>
                  </a:lnTo>
                  <a:lnTo>
                    <a:pt x="210" y="493"/>
                  </a:lnTo>
                  <a:lnTo>
                    <a:pt x="210" y="494"/>
                  </a:lnTo>
                  <a:lnTo>
                    <a:pt x="210" y="500"/>
                  </a:lnTo>
                  <a:lnTo>
                    <a:pt x="210" y="504"/>
                  </a:lnTo>
                  <a:lnTo>
                    <a:pt x="207" y="504"/>
                  </a:lnTo>
                  <a:lnTo>
                    <a:pt x="205" y="505"/>
                  </a:lnTo>
                  <a:lnTo>
                    <a:pt x="201" y="505"/>
                  </a:lnTo>
                  <a:lnTo>
                    <a:pt x="198" y="504"/>
                  </a:lnTo>
                  <a:lnTo>
                    <a:pt x="197" y="502"/>
                  </a:lnTo>
                  <a:lnTo>
                    <a:pt x="195" y="500"/>
                  </a:lnTo>
                  <a:lnTo>
                    <a:pt x="193" y="498"/>
                  </a:lnTo>
                  <a:lnTo>
                    <a:pt x="190" y="497"/>
                  </a:lnTo>
                  <a:lnTo>
                    <a:pt x="185" y="496"/>
                  </a:lnTo>
                  <a:lnTo>
                    <a:pt x="179" y="494"/>
                  </a:lnTo>
                  <a:lnTo>
                    <a:pt x="178" y="497"/>
                  </a:lnTo>
                  <a:lnTo>
                    <a:pt x="178" y="500"/>
                  </a:lnTo>
                  <a:lnTo>
                    <a:pt x="176" y="501"/>
                  </a:lnTo>
                  <a:lnTo>
                    <a:pt x="176" y="505"/>
                  </a:lnTo>
                  <a:lnTo>
                    <a:pt x="175" y="512"/>
                  </a:lnTo>
                  <a:lnTo>
                    <a:pt x="177" y="516"/>
                  </a:lnTo>
                  <a:lnTo>
                    <a:pt x="177" y="520"/>
                  </a:lnTo>
                  <a:lnTo>
                    <a:pt x="177" y="522"/>
                  </a:lnTo>
                  <a:lnTo>
                    <a:pt x="174" y="522"/>
                  </a:lnTo>
                  <a:lnTo>
                    <a:pt x="171" y="524"/>
                  </a:lnTo>
                  <a:lnTo>
                    <a:pt x="169" y="525"/>
                  </a:lnTo>
                  <a:lnTo>
                    <a:pt x="167" y="528"/>
                  </a:lnTo>
                  <a:lnTo>
                    <a:pt x="166" y="529"/>
                  </a:lnTo>
                  <a:lnTo>
                    <a:pt x="161" y="531"/>
                  </a:lnTo>
                  <a:lnTo>
                    <a:pt x="162" y="534"/>
                  </a:lnTo>
                  <a:lnTo>
                    <a:pt x="162" y="536"/>
                  </a:lnTo>
                  <a:lnTo>
                    <a:pt x="162" y="538"/>
                  </a:lnTo>
                  <a:lnTo>
                    <a:pt x="160" y="540"/>
                  </a:lnTo>
                  <a:lnTo>
                    <a:pt x="158" y="541"/>
                  </a:lnTo>
                  <a:lnTo>
                    <a:pt x="155" y="544"/>
                  </a:lnTo>
                  <a:lnTo>
                    <a:pt x="153" y="545"/>
                  </a:lnTo>
                  <a:lnTo>
                    <a:pt x="150" y="546"/>
                  </a:lnTo>
                  <a:lnTo>
                    <a:pt x="147" y="545"/>
                  </a:lnTo>
                  <a:lnTo>
                    <a:pt x="145" y="544"/>
                  </a:lnTo>
                  <a:lnTo>
                    <a:pt x="143" y="542"/>
                  </a:lnTo>
                  <a:lnTo>
                    <a:pt x="141" y="542"/>
                  </a:lnTo>
                  <a:lnTo>
                    <a:pt x="137" y="540"/>
                  </a:lnTo>
                  <a:lnTo>
                    <a:pt x="134" y="539"/>
                  </a:lnTo>
                  <a:lnTo>
                    <a:pt x="131" y="536"/>
                  </a:lnTo>
                  <a:lnTo>
                    <a:pt x="128" y="534"/>
                  </a:lnTo>
                  <a:lnTo>
                    <a:pt x="123" y="534"/>
                  </a:lnTo>
                  <a:lnTo>
                    <a:pt x="119" y="534"/>
                  </a:lnTo>
                  <a:lnTo>
                    <a:pt x="115" y="537"/>
                  </a:lnTo>
                  <a:lnTo>
                    <a:pt x="112" y="538"/>
                  </a:lnTo>
                  <a:lnTo>
                    <a:pt x="110" y="538"/>
                  </a:lnTo>
                  <a:lnTo>
                    <a:pt x="106" y="537"/>
                  </a:lnTo>
                  <a:lnTo>
                    <a:pt x="105" y="536"/>
                  </a:lnTo>
                  <a:lnTo>
                    <a:pt x="105" y="533"/>
                  </a:lnTo>
                  <a:lnTo>
                    <a:pt x="105" y="530"/>
                  </a:lnTo>
                  <a:lnTo>
                    <a:pt x="109" y="525"/>
                  </a:lnTo>
                  <a:lnTo>
                    <a:pt x="109" y="523"/>
                  </a:lnTo>
                  <a:lnTo>
                    <a:pt x="107" y="520"/>
                  </a:lnTo>
                  <a:lnTo>
                    <a:pt x="106" y="517"/>
                  </a:lnTo>
                  <a:lnTo>
                    <a:pt x="103" y="517"/>
                  </a:lnTo>
                  <a:lnTo>
                    <a:pt x="101" y="520"/>
                  </a:lnTo>
                  <a:lnTo>
                    <a:pt x="98" y="522"/>
                  </a:lnTo>
                  <a:lnTo>
                    <a:pt x="97" y="525"/>
                  </a:lnTo>
                  <a:lnTo>
                    <a:pt x="96" y="526"/>
                  </a:lnTo>
                  <a:lnTo>
                    <a:pt x="94" y="526"/>
                  </a:lnTo>
                  <a:lnTo>
                    <a:pt x="91" y="525"/>
                  </a:lnTo>
                  <a:lnTo>
                    <a:pt x="91" y="524"/>
                  </a:lnTo>
                  <a:lnTo>
                    <a:pt x="91" y="522"/>
                  </a:lnTo>
                  <a:lnTo>
                    <a:pt x="91" y="521"/>
                  </a:lnTo>
                  <a:lnTo>
                    <a:pt x="93" y="520"/>
                  </a:lnTo>
                  <a:lnTo>
                    <a:pt x="94" y="517"/>
                  </a:lnTo>
                  <a:lnTo>
                    <a:pt x="94" y="515"/>
                  </a:lnTo>
                  <a:lnTo>
                    <a:pt x="93" y="514"/>
                  </a:lnTo>
                  <a:lnTo>
                    <a:pt x="93" y="513"/>
                  </a:lnTo>
                  <a:lnTo>
                    <a:pt x="91" y="510"/>
                  </a:lnTo>
                  <a:lnTo>
                    <a:pt x="91" y="509"/>
                  </a:lnTo>
                  <a:lnTo>
                    <a:pt x="93" y="508"/>
                  </a:lnTo>
                  <a:lnTo>
                    <a:pt x="95" y="507"/>
                  </a:lnTo>
                  <a:lnTo>
                    <a:pt x="95" y="502"/>
                  </a:lnTo>
                  <a:lnTo>
                    <a:pt x="93" y="502"/>
                  </a:lnTo>
                  <a:lnTo>
                    <a:pt x="91" y="501"/>
                  </a:lnTo>
                  <a:lnTo>
                    <a:pt x="88" y="501"/>
                  </a:lnTo>
                  <a:lnTo>
                    <a:pt x="86" y="500"/>
                  </a:lnTo>
                  <a:lnTo>
                    <a:pt x="82" y="499"/>
                  </a:lnTo>
                  <a:lnTo>
                    <a:pt x="79" y="500"/>
                  </a:lnTo>
                  <a:lnTo>
                    <a:pt x="74" y="501"/>
                  </a:lnTo>
                  <a:lnTo>
                    <a:pt x="71" y="502"/>
                  </a:lnTo>
                  <a:lnTo>
                    <a:pt x="67" y="502"/>
                  </a:lnTo>
                  <a:lnTo>
                    <a:pt x="65" y="502"/>
                  </a:lnTo>
                  <a:lnTo>
                    <a:pt x="64" y="501"/>
                  </a:lnTo>
                  <a:lnTo>
                    <a:pt x="62" y="500"/>
                  </a:lnTo>
                  <a:lnTo>
                    <a:pt x="59" y="498"/>
                  </a:lnTo>
                  <a:lnTo>
                    <a:pt x="59" y="496"/>
                  </a:lnTo>
                  <a:lnTo>
                    <a:pt x="58" y="494"/>
                  </a:lnTo>
                  <a:lnTo>
                    <a:pt x="59" y="493"/>
                  </a:lnTo>
                  <a:lnTo>
                    <a:pt x="61" y="490"/>
                  </a:lnTo>
                  <a:lnTo>
                    <a:pt x="63" y="489"/>
                  </a:lnTo>
                  <a:lnTo>
                    <a:pt x="65" y="488"/>
                  </a:lnTo>
                  <a:lnTo>
                    <a:pt x="65" y="484"/>
                  </a:lnTo>
                  <a:lnTo>
                    <a:pt x="64" y="482"/>
                  </a:lnTo>
                  <a:lnTo>
                    <a:pt x="63" y="481"/>
                  </a:lnTo>
                  <a:lnTo>
                    <a:pt x="61" y="480"/>
                  </a:lnTo>
                  <a:lnTo>
                    <a:pt x="61" y="478"/>
                  </a:lnTo>
                  <a:lnTo>
                    <a:pt x="58" y="476"/>
                  </a:lnTo>
                  <a:lnTo>
                    <a:pt x="56" y="475"/>
                  </a:lnTo>
                  <a:lnTo>
                    <a:pt x="54" y="475"/>
                  </a:lnTo>
                  <a:lnTo>
                    <a:pt x="50" y="475"/>
                  </a:lnTo>
                  <a:lnTo>
                    <a:pt x="48" y="475"/>
                  </a:lnTo>
                  <a:lnTo>
                    <a:pt x="45" y="476"/>
                  </a:lnTo>
                  <a:lnTo>
                    <a:pt x="42" y="476"/>
                  </a:lnTo>
                  <a:lnTo>
                    <a:pt x="34" y="477"/>
                  </a:lnTo>
                  <a:lnTo>
                    <a:pt x="31" y="482"/>
                  </a:lnTo>
                  <a:lnTo>
                    <a:pt x="30" y="485"/>
                  </a:lnTo>
                  <a:lnTo>
                    <a:pt x="29" y="489"/>
                  </a:lnTo>
                  <a:lnTo>
                    <a:pt x="27" y="491"/>
                  </a:lnTo>
                  <a:lnTo>
                    <a:pt x="26" y="494"/>
                  </a:lnTo>
                  <a:lnTo>
                    <a:pt x="26" y="496"/>
                  </a:lnTo>
                  <a:lnTo>
                    <a:pt x="27" y="497"/>
                  </a:lnTo>
                  <a:lnTo>
                    <a:pt x="27" y="499"/>
                  </a:lnTo>
                  <a:lnTo>
                    <a:pt x="29" y="500"/>
                  </a:lnTo>
                  <a:lnTo>
                    <a:pt x="29" y="501"/>
                  </a:lnTo>
                  <a:lnTo>
                    <a:pt x="30" y="501"/>
                  </a:lnTo>
                  <a:lnTo>
                    <a:pt x="31" y="501"/>
                  </a:lnTo>
                  <a:lnTo>
                    <a:pt x="32" y="502"/>
                  </a:lnTo>
                  <a:lnTo>
                    <a:pt x="33" y="501"/>
                  </a:lnTo>
                  <a:lnTo>
                    <a:pt x="34" y="499"/>
                  </a:lnTo>
                  <a:lnTo>
                    <a:pt x="34" y="498"/>
                  </a:lnTo>
                  <a:lnTo>
                    <a:pt x="35" y="497"/>
                  </a:lnTo>
                  <a:lnTo>
                    <a:pt x="37" y="497"/>
                  </a:lnTo>
                  <a:lnTo>
                    <a:pt x="38" y="497"/>
                  </a:lnTo>
                  <a:lnTo>
                    <a:pt x="39" y="498"/>
                  </a:lnTo>
                  <a:lnTo>
                    <a:pt x="39" y="499"/>
                  </a:lnTo>
                  <a:lnTo>
                    <a:pt x="40" y="499"/>
                  </a:lnTo>
                  <a:lnTo>
                    <a:pt x="41" y="499"/>
                  </a:lnTo>
                  <a:lnTo>
                    <a:pt x="42" y="501"/>
                  </a:lnTo>
                  <a:lnTo>
                    <a:pt x="43" y="501"/>
                  </a:lnTo>
                  <a:lnTo>
                    <a:pt x="43" y="502"/>
                  </a:lnTo>
                  <a:lnTo>
                    <a:pt x="42" y="504"/>
                  </a:lnTo>
                  <a:lnTo>
                    <a:pt x="41" y="504"/>
                  </a:lnTo>
                  <a:lnTo>
                    <a:pt x="40" y="505"/>
                  </a:lnTo>
                  <a:lnTo>
                    <a:pt x="39" y="505"/>
                  </a:lnTo>
                  <a:lnTo>
                    <a:pt x="37" y="505"/>
                  </a:lnTo>
                  <a:lnTo>
                    <a:pt x="38" y="507"/>
                  </a:lnTo>
                  <a:lnTo>
                    <a:pt x="38" y="509"/>
                  </a:lnTo>
                  <a:lnTo>
                    <a:pt x="35" y="509"/>
                  </a:lnTo>
                  <a:lnTo>
                    <a:pt x="34" y="507"/>
                  </a:lnTo>
                  <a:lnTo>
                    <a:pt x="33" y="506"/>
                  </a:lnTo>
                  <a:lnTo>
                    <a:pt x="31" y="505"/>
                  </a:lnTo>
                  <a:lnTo>
                    <a:pt x="30" y="505"/>
                  </a:lnTo>
                  <a:lnTo>
                    <a:pt x="29" y="505"/>
                  </a:lnTo>
                  <a:lnTo>
                    <a:pt x="29" y="506"/>
                  </a:lnTo>
                  <a:lnTo>
                    <a:pt x="27" y="507"/>
                  </a:lnTo>
                  <a:lnTo>
                    <a:pt x="25" y="507"/>
                  </a:lnTo>
                  <a:lnTo>
                    <a:pt x="24" y="507"/>
                  </a:lnTo>
                  <a:lnTo>
                    <a:pt x="24" y="509"/>
                  </a:lnTo>
                  <a:lnTo>
                    <a:pt x="25" y="509"/>
                  </a:lnTo>
                  <a:lnTo>
                    <a:pt x="26" y="509"/>
                  </a:lnTo>
                  <a:lnTo>
                    <a:pt x="26" y="510"/>
                  </a:lnTo>
                  <a:lnTo>
                    <a:pt x="26" y="514"/>
                  </a:lnTo>
                  <a:lnTo>
                    <a:pt x="27" y="516"/>
                  </a:lnTo>
                  <a:lnTo>
                    <a:pt x="26" y="518"/>
                  </a:lnTo>
                  <a:lnTo>
                    <a:pt x="26" y="521"/>
                  </a:lnTo>
                  <a:lnTo>
                    <a:pt x="24" y="521"/>
                  </a:lnTo>
                  <a:lnTo>
                    <a:pt x="24" y="522"/>
                  </a:lnTo>
                  <a:lnTo>
                    <a:pt x="25" y="524"/>
                  </a:lnTo>
                  <a:lnTo>
                    <a:pt x="25" y="529"/>
                  </a:lnTo>
                  <a:lnTo>
                    <a:pt x="25" y="531"/>
                  </a:lnTo>
                  <a:lnTo>
                    <a:pt x="25" y="532"/>
                  </a:lnTo>
                  <a:lnTo>
                    <a:pt x="24" y="533"/>
                  </a:lnTo>
                  <a:lnTo>
                    <a:pt x="23" y="533"/>
                  </a:lnTo>
                  <a:lnTo>
                    <a:pt x="23" y="537"/>
                  </a:lnTo>
                  <a:lnTo>
                    <a:pt x="22" y="538"/>
                  </a:lnTo>
                  <a:lnTo>
                    <a:pt x="21" y="538"/>
                  </a:lnTo>
                  <a:lnTo>
                    <a:pt x="19" y="539"/>
                  </a:lnTo>
                  <a:lnTo>
                    <a:pt x="18" y="541"/>
                  </a:lnTo>
                  <a:lnTo>
                    <a:pt x="18" y="542"/>
                  </a:lnTo>
                  <a:lnTo>
                    <a:pt x="19" y="545"/>
                  </a:lnTo>
                  <a:lnTo>
                    <a:pt x="19" y="547"/>
                  </a:lnTo>
                  <a:lnTo>
                    <a:pt x="19" y="550"/>
                  </a:lnTo>
                  <a:lnTo>
                    <a:pt x="21" y="550"/>
                  </a:lnTo>
                  <a:lnTo>
                    <a:pt x="22" y="553"/>
                  </a:lnTo>
                  <a:lnTo>
                    <a:pt x="22" y="554"/>
                  </a:lnTo>
                  <a:lnTo>
                    <a:pt x="22" y="556"/>
                  </a:lnTo>
                  <a:lnTo>
                    <a:pt x="21" y="560"/>
                  </a:lnTo>
                  <a:lnTo>
                    <a:pt x="21" y="561"/>
                  </a:lnTo>
                  <a:lnTo>
                    <a:pt x="22" y="562"/>
                  </a:lnTo>
                  <a:lnTo>
                    <a:pt x="23" y="563"/>
                  </a:lnTo>
                  <a:lnTo>
                    <a:pt x="25" y="563"/>
                  </a:lnTo>
                  <a:lnTo>
                    <a:pt x="25" y="566"/>
                  </a:lnTo>
                  <a:lnTo>
                    <a:pt x="26" y="566"/>
                  </a:lnTo>
                  <a:lnTo>
                    <a:pt x="29" y="566"/>
                  </a:lnTo>
                  <a:lnTo>
                    <a:pt x="30" y="568"/>
                  </a:lnTo>
                  <a:lnTo>
                    <a:pt x="31" y="569"/>
                  </a:lnTo>
                  <a:lnTo>
                    <a:pt x="32" y="571"/>
                  </a:lnTo>
                  <a:lnTo>
                    <a:pt x="32" y="573"/>
                  </a:lnTo>
                  <a:lnTo>
                    <a:pt x="33" y="576"/>
                  </a:lnTo>
                  <a:lnTo>
                    <a:pt x="35" y="576"/>
                  </a:lnTo>
                  <a:lnTo>
                    <a:pt x="37" y="578"/>
                  </a:lnTo>
                  <a:lnTo>
                    <a:pt x="37" y="580"/>
                  </a:lnTo>
                  <a:lnTo>
                    <a:pt x="37" y="582"/>
                  </a:lnTo>
                  <a:lnTo>
                    <a:pt x="37" y="584"/>
                  </a:lnTo>
                  <a:lnTo>
                    <a:pt x="37" y="585"/>
                  </a:lnTo>
                  <a:lnTo>
                    <a:pt x="37" y="586"/>
                  </a:lnTo>
                  <a:lnTo>
                    <a:pt x="37" y="587"/>
                  </a:lnTo>
                  <a:lnTo>
                    <a:pt x="38" y="589"/>
                  </a:lnTo>
                  <a:lnTo>
                    <a:pt x="38" y="592"/>
                  </a:lnTo>
                  <a:lnTo>
                    <a:pt x="37" y="593"/>
                  </a:lnTo>
                  <a:lnTo>
                    <a:pt x="38" y="593"/>
                  </a:lnTo>
                  <a:lnTo>
                    <a:pt x="35" y="593"/>
                  </a:lnTo>
                  <a:lnTo>
                    <a:pt x="33" y="590"/>
                  </a:lnTo>
                  <a:lnTo>
                    <a:pt x="33" y="588"/>
                  </a:lnTo>
                  <a:lnTo>
                    <a:pt x="33" y="587"/>
                  </a:lnTo>
                  <a:lnTo>
                    <a:pt x="31" y="586"/>
                  </a:lnTo>
                  <a:lnTo>
                    <a:pt x="30" y="582"/>
                  </a:lnTo>
                  <a:lnTo>
                    <a:pt x="29" y="580"/>
                  </a:lnTo>
                  <a:lnTo>
                    <a:pt x="27" y="579"/>
                  </a:lnTo>
                  <a:lnTo>
                    <a:pt x="24" y="576"/>
                  </a:lnTo>
                  <a:lnTo>
                    <a:pt x="23" y="573"/>
                  </a:lnTo>
                  <a:lnTo>
                    <a:pt x="22" y="572"/>
                  </a:lnTo>
                  <a:lnTo>
                    <a:pt x="21" y="571"/>
                  </a:lnTo>
                  <a:lnTo>
                    <a:pt x="18" y="570"/>
                  </a:lnTo>
                  <a:lnTo>
                    <a:pt x="16" y="569"/>
                  </a:lnTo>
                  <a:lnTo>
                    <a:pt x="14" y="569"/>
                  </a:lnTo>
                  <a:lnTo>
                    <a:pt x="13" y="569"/>
                  </a:lnTo>
                  <a:lnTo>
                    <a:pt x="10" y="570"/>
                  </a:lnTo>
                  <a:lnTo>
                    <a:pt x="9" y="572"/>
                  </a:lnTo>
                  <a:lnTo>
                    <a:pt x="7" y="573"/>
                  </a:lnTo>
                  <a:lnTo>
                    <a:pt x="6" y="573"/>
                  </a:lnTo>
                  <a:lnTo>
                    <a:pt x="3" y="574"/>
                  </a:lnTo>
                  <a:lnTo>
                    <a:pt x="3" y="576"/>
                  </a:lnTo>
                  <a:lnTo>
                    <a:pt x="2" y="579"/>
                  </a:lnTo>
                  <a:lnTo>
                    <a:pt x="2" y="581"/>
                  </a:lnTo>
                  <a:lnTo>
                    <a:pt x="2" y="584"/>
                  </a:lnTo>
                  <a:lnTo>
                    <a:pt x="2" y="586"/>
                  </a:lnTo>
                  <a:lnTo>
                    <a:pt x="2" y="588"/>
                  </a:lnTo>
                  <a:lnTo>
                    <a:pt x="3" y="589"/>
                  </a:lnTo>
                  <a:lnTo>
                    <a:pt x="6" y="592"/>
                  </a:lnTo>
                  <a:lnTo>
                    <a:pt x="7" y="594"/>
                  </a:lnTo>
                  <a:lnTo>
                    <a:pt x="8" y="595"/>
                  </a:lnTo>
                  <a:lnTo>
                    <a:pt x="10" y="596"/>
                  </a:lnTo>
                  <a:lnTo>
                    <a:pt x="9" y="597"/>
                  </a:lnTo>
                  <a:lnTo>
                    <a:pt x="8" y="600"/>
                  </a:lnTo>
                  <a:lnTo>
                    <a:pt x="7" y="600"/>
                  </a:lnTo>
                  <a:lnTo>
                    <a:pt x="5" y="601"/>
                  </a:lnTo>
                  <a:lnTo>
                    <a:pt x="2" y="603"/>
                  </a:lnTo>
                  <a:lnTo>
                    <a:pt x="0" y="606"/>
                  </a:lnTo>
                  <a:lnTo>
                    <a:pt x="1" y="609"/>
                  </a:lnTo>
                  <a:lnTo>
                    <a:pt x="2" y="611"/>
                  </a:lnTo>
                  <a:lnTo>
                    <a:pt x="5" y="613"/>
                  </a:lnTo>
                  <a:lnTo>
                    <a:pt x="5" y="614"/>
                  </a:lnTo>
                  <a:lnTo>
                    <a:pt x="6" y="616"/>
                  </a:lnTo>
                  <a:lnTo>
                    <a:pt x="8" y="617"/>
                  </a:lnTo>
                  <a:lnTo>
                    <a:pt x="9" y="617"/>
                  </a:lnTo>
                  <a:lnTo>
                    <a:pt x="11" y="618"/>
                  </a:lnTo>
                  <a:lnTo>
                    <a:pt x="11" y="620"/>
                  </a:lnTo>
                  <a:lnTo>
                    <a:pt x="11" y="622"/>
                  </a:lnTo>
                  <a:lnTo>
                    <a:pt x="10" y="625"/>
                  </a:lnTo>
                  <a:lnTo>
                    <a:pt x="9" y="627"/>
                  </a:lnTo>
                  <a:lnTo>
                    <a:pt x="8" y="628"/>
                  </a:lnTo>
                  <a:lnTo>
                    <a:pt x="8" y="632"/>
                  </a:lnTo>
                  <a:lnTo>
                    <a:pt x="7" y="634"/>
                  </a:lnTo>
                  <a:lnTo>
                    <a:pt x="7" y="636"/>
                  </a:lnTo>
                  <a:lnTo>
                    <a:pt x="7" y="638"/>
                  </a:lnTo>
                  <a:lnTo>
                    <a:pt x="8" y="640"/>
                  </a:lnTo>
                  <a:lnTo>
                    <a:pt x="9" y="641"/>
                  </a:lnTo>
                  <a:lnTo>
                    <a:pt x="11" y="641"/>
                  </a:lnTo>
                  <a:lnTo>
                    <a:pt x="14" y="641"/>
                  </a:lnTo>
                  <a:lnTo>
                    <a:pt x="15" y="640"/>
                  </a:lnTo>
                  <a:lnTo>
                    <a:pt x="17" y="641"/>
                  </a:lnTo>
                  <a:lnTo>
                    <a:pt x="17" y="643"/>
                  </a:lnTo>
                  <a:lnTo>
                    <a:pt x="16" y="646"/>
                  </a:lnTo>
                  <a:lnTo>
                    <a:pt x="16" y="649"/>
                  </a:lnTo>
                  <a:lnTo>
                    <a:pt x="16" y="652"/>
                  </a:lnTo>
                  <a:lnTo>
                    <a:pt x="17" y="660"/>
                  </a:lnTo>
                  <a:lnTo>
                    <a:pt x="17" y="661"/>
                  </a:lnTo>
                  <a:lnTo>
                    <a:pt x="18" y="664"/>
                  </a:lnTo>
                  <a:lnTo>
                    <a:pt x="19" y="666"/>
                  </a:lnTo>
                  <a:lnTo>
                    <a:pt x="19" y="669"/>
                  </a:lnTo>
                  <a:lnTo>
                    <a:pt x="18" y="673"/>
                  </a:lnTo>
                  <a:lnTo>
                    <a:pt x="18" y="676"/>
                  </a:lnTo>
                  <a:lnTo>
                    <a:pt x="19" y="685"/>
                  </a:lnTo>
                  <a:lnTo>
                    <a:pt x="19" y="689"/>
                  </a:lnTo>
                  <a:lnTo>
                    <a:pt x="21" y="692"/>
                  </a:lnTo>
                  <a:lnTo>
                    <a:pt x="22" y="694"/>
                  </a:lnTo>
                  <a:lnTo>
                    <a:pt x="22" y="696"/>
                  </a:lnTo>
                  <a:lnTo>
                    <a:pt x="23" y="696"/>
                  </a:lnTo>
                  <a:lnTo>
                    <a:pt x="24" y="697"/>
                  </a:lnTo>
                  <a:lnTo>
                    <a:pt x="26" y="698"/>
                  </a:lnTo>
                  <a:lnTo>
                    <a:pt x="26" y="699"/>
                  </a:lnTo>
                  <a:lnTo>
                    <a:pt x="30" y="699"/>
                  </a:lnTo>
                  <a:lnTo>
                    <a:pt x="32" y="696"/>
                  </a:lnTo>
                  <a:lnTo>
                    <a:pt x="33" y="696"/>
                  </a:lnTo>
                  <a:lnTo>
                    <a:pt x="34" y="696"/>
                  </a:lnTo>
                  <a:lnTo>
                    <a:pt x="35" y="694"/>
                  </a:lnTo>
                  <a:lnTo>
                    <a:pt x="37" y="693"/>
                  </a:lnTo>
                  <a:lnTo>
                    <a:pt x="37" y="691"/>
                  </a:lnTo>
                  <a:lnTo>
                    <a:pt x="35" y="688"/>
                  </a:lnTo>
                  <a:lnTo>
                    <a:pt x="34" y="685"/>
                  </a:lnTo>
                  <a:lnTo>
                    <a:pt x="33" y="683"/>
                  </a:lnTo>
                  <a:lnTo>
                    <a:pt x="32" y="681"/>
                  </a:lnTo>
                  <a:lnTo>
                    <a:pt x="33" y="680"/>
                  </a:lnTo>
                  <a:lnTo>
                    <a:pt x="37" y="680"/>
                  </a:lnTo>
                  <a:lnTo>
                    <a:pt x="38" y="681"/>
                  </a:lnTo>
                  <a:lnTo>
                    <a:pt x="38" y="683"/>
                  </a:lnTo>
                  <a:lnTo>
                    <a:pt x="40" y="685"/>
                  </a:lnTo>
                  <a:lnTo>
                    <a:pt x="41" y="686"/>
                  </a:lnTo>
                  <a:lnTo>
                    <a:pt x="42" y="688"/>
                  </a:lnTo>
                  <a:lnTo>
                    <a:pt x="43" y="689"/>
                  </a:lnTo>
                  <a:lnTo>
                    <a:pt x="45" y="690"/>
                  </a:lnTo>
                  <a:lnTo>
                    <a:pt x="47" y="692"/>
                  </a:lnTo>
                  <a:lnTo>
                    <a:pt x="49" y="692"/>
                  </a:lnTo>
                  <a:lnTo>
                    <a:pt x="51" y="691"/>
                  </a:lnTo>
                  <a:lnTo>
                    <a:pt x="55" y="691"/>
                  </a:lnTo>
                  <a:lnTo>
                    <a:pt x="56" y="691"/>
                  </a:lnTo>
                  <a:lnTo>
                    <a:pt x="58" y="690"/>
                  </a:lnTo>
                  <a:lnTo>
                    <a:pt x="56" y="698"/>
                  </a:lnTo>
                  <a:lnTo>
                    <a:pt x="56" y="699"/>
                  </a:lnTo>
                  <a:lnTo>
                    <a:pt x="55" y="699"/>
                  </a:lnTo>
                  <a:lnTo>
                    <a:pt x="54" y="699"/>
                  </a:lnTo>
                  <a:lnTo>
                    <a:pt x="53" y="699"/>
                  </a:lnTo>
                  <a:lnTo>
                    <a:pt x="51" y="699"/>
                  </a:lnTo>
                  <a:lnTo>
                    <a:pt x="50" y="699"/>
                  </a:lnTo>
                  <a:lnTo>
                    <a:pt x="49" y="700"/>
                  </a:lnTo>
                  <a:lnTo>
                    <a:pt x="48" y="700"/>
                  </a:lnTo>
                  <a:lnTo>
                    <a:pt x="48" y="701"/>
                  </a:lnTo>
                  <a:lnTo>
                    <a:pt x="47" y="701"/>
                  </a:lnTo>
                  <a:lnTo>
                    <a:pt x="47" y="702"/>
                  </a:lnTo>
                  <a:lnTo>
                    <a:pt x="46" y="702"/>
                  </a:lnTo>
                  <a:lnTo>
                    <a:pt x="46" y="704"/>
                  </a:lnTo>
                  <a:lnTo>
                    <a:pt x="45" y="704"/>
                  </a:lnTo>
                  <a:lnTo>
                    <a:pt x="43" y="705"/>
                  </a:lnTo>
                  <a:lnTo>
                    <a:pt x="42" y="705"/>
                  </a:lnTo>
                  <a:lnTo>
                    <a:pt x="41" y="705"/>
                  </a:lnTo>
                  <a:lnTo>
                    <a:pt x="40" y="705"/>
                  </a:lnTo>
                  <a:lnTo>
                    <a:pt x="39" y="705"/>
                  </a:lnTo>
                  <a:lnTo>
                    <a:pt x="38" y="705"/>
                  </a:lnTo>
                  <a:lnTo>
                    <a:pt x="37" y="705"/>
                  </a:lnTo>
                  <a:lnTo>
                    <a:pt x="35" y="705"/>
                  </a:lnTo>
                  <a:lnTo>
                    <a:pt x="35" y="706"/>
                  </a:lnTo>
                  <a:lnTo>
                    <a:pt x="34" y="706"/>
                  </a:lnTo>
                  <a:lnTo>
                    <a:pt x="34" y="707"/>
                  </a:lnTo>
                  <a:lnTo>
                    <a:pt x="34" y="708"/>
                  </a:lnTo>
                  <a:lnTo>
                    <a:pt x="34" y="709"/>
                  </a:lnTo>
                  <a:lnTo>
                    <a:pt x="35" y="709"/>
                  </a:lnTo>
                  <a:lnTo>
                    <a:pt x="35" y="710"/>
                  </a:lnTo>
                  <a:lnTo>
                    <a:pt x="37" y="712"/>
                  </a:lnTo>
                  <a:lnTo>
                    <a:pt x="38" y="712"/>
                  </a:lnTo>
                  <a:lnTo>
                    <a:pt x="39" y="714"/>
                  </a:lnTo>
                  <a:lnTo>
                    <a:pt x="39" y="716"/>
                  </a:lnTo>
                  <a:lnTo>
                    <a:pt x="40" y="717"/>
                  </a:lnTo>
                  <a:lnTo>
                    <a:pt x="40" y="718"/>
                  </a:lnTo>
                  <a:lnTo>
                    <a:pt x="40" y="720"/>
                  </a:lnTo>
                  <a:lnTo>
                    <a:pt x="41" y="721"/>
                  </a:lnTo>
                  <a:lnTo>
                    <a:pt x="41" y="722"/>
                  </a:lnTo>
                  <a:lnTo>
                    <a:pt x="41" y="723"/>
                  </a:lnTo>
                  <a:lnTo>
                    <a:pt x="42" y="724"/>
                  </a:lnTo>
                  <a:lnTo>
                    <a:pt x="42" y="725"/>
                  </a:lnTo>
                  <a:lnTo>
                    <a:pt x="41" y="726"/>
                  </a:lnTo>
                  <a:lnTo>
                    <a:pt x="40" y="728"/>
                  </a:lnTo>
                  <a:lnTo>
                    <a:pt x="40" y="731"/>
                  </a:lnTo>
                  <a:lnTo>
                    <a:pt x="40" y="732"/>
                  </a:lnTo>
                  <a:lnTo>
                    <a:pt x="40" y="733"/>
                  </a:lnTo>
                  <a:lnTo>
                    <a:pt x="41" y="734"/>
                  </a:lnTo>
                  <a:lnTo>
                    <a:pt x="41" y="737"/>
                  </a:lnTo>
                  <a:lnTo>
                    <a:pt x="42" y="737"/>
                  </a:lnTo>
                  <a:lnTo>
                    <a:pt x="42" y="739"/>
                  </a:lnTo>
                  <a:lnTo>
                    <a:pt x="45" y="741"/>
                  </a:lnTo>
                  <a:lnTo>
                    <a:pt x="45" y="742"/>
                  </a:lnTo>
                  <a:lnTo>
                    <a:pt x="46" y="744"/>
                  </a:lnTo>
                  <a:lnTo>
                    <a:pt x="46" y="745"/>
                  </a:lnTo>
                  <a:lnTo>
                    <a:pt x="46" y="746"/>
                  </a:lnTo>
                  <a:lnTo>
                    <a:pt x="47" y="746"/>
                  </a:lnTo>
                  <a:lnTo>
                    <a:pt x="48" y="747"/>
                  </a:lnTo>
                  <a:lnTo>
                    <a:pt x="49" y="748"/>
                  </a:lnTo>
                  <a:lnTo>
                    <a:pt x="51" y="749"/>
                  </a:lnTo>
                  <a:lnTo>
                    <a:pt x="53" y="749"/>
                  </a:lnTo>
                  <a:lnTo>
                    <a:pt x="54" y="750"/>
                  </a:lnTo>
                  <a:lnTo>
                    <a:pt x="55" y="750"/>
                  </a:lnTo>
                  <a:lnTo>
                    <a:pt x="56" y="750"/>
                  </a:lnTo>
                  <a:lnTo>
                    <a:pt x="57" y="750"/>
                  </a:lnTo>
                  <a:lnTo>
                    <a:pt x="59" y="752"/>
                  </a:lnTo>
                  <a:lnTo>
                    <a:pt x="61" y="752"/>
                  </a:lnTo>
                  <a:lnTo>
                    <a:pt x="62" y="752"/>
                  </a:lnTo>
                  <a:lnTo>
                    <a:pt x="63" y="752"/>
                  </a:lnTo>
                  <a:lnTo>
                    <a:pt x="64" y="750"/>
                  </a:lnTo>
                  <a:lnTo>
                    <a:pt x="65" y="750"/>
                  </a:lnTo>
                  <a:lnTo>
                    <a:pt x="66" y="750"/>
                  </a:lnTo>
                  <a:lnTo>
                    <a:pt x="67" y="750"/>
                  </a:lnTo>
                  <a:lnTo>
                    <a:pt x="69" y="750"/>
                  </a:lnTo>
                  <a:lnTo>
                    <a:pt x="70" y="752"/>
                  </a:lnTo>
                  <a:lnTo>
                    <a:pt x="71" y="753"/>
                  </a:lnTo>
                  <a:lnTo>
                    <a:pt x="72" y="753"/>
                  </a:lnTo>
                  <a:lnTo>
                    <a:pt x="73" y="753"/>
                  </a:lnTo>
                  <a:lnTo>
                    <a:pt x="74" y="754"/>
                  </a:lnTo>
                  <a:lnTo>
                    <a:pt x="75" y="755"/>
                  </a:lnTo>
                  <a:lnTo>
                    <a:pt x="75" y="757"/>
                  </a:lnTo>
                  <a:lnTo>
                    <a:pt x="75" y="758"/>
                  </a:lnTo>
                  <a:lnTo>
                    <a:pt x="75" y="760"/>
                  </a:lnTo>
                  <a:lnTo>
                    <a:pt x="75" y="761"/>
                  </a:lnTo>
                  <a:lnTo>
                    <a:pt x="75" y="762"/>
                  </a:lnTo>
                  <a:lnTo>
                    <a:pt x="73" y="762"/>
                  </a:lnTo>
                  <a:lnTo>
                    <a:pt x="72" y="760"/>
                  </a:lnTo>
                  <a:lnTo>
                    <a:pt x="71" y="758"/>
                  </a:lnTo>
                  <a:lnTo>
                    <a:pt x="69" y="758"/>
                  </a:lnTo>
                  <a:lnTo>
                    <a:pt x="67" y="757"/>
                  </a:lnTo>
                  <a:lnTo>
                    <a:pt x="66" y="757"/>
                  </a:lnTo>
                  <a:lnTo>
                    <a:pt x="64" y="757"/>
                  </a:lnTo>
                  <a:lnTo>
                    <a:pt x="62" y="757"/>
                  </a:lnTo>
                  <a:lnTo>
                    <a:pt x="61" y="757"/>
                  </a:lnTo>
                  <a:lnTo>
                    <a:pt x="57" y="756"/>
                  </a:lnTo>
                  <a:lnTo>
                    <a:pt x="56" y="756"/>
                  </a:lnTo>
                  <a:lnTo>
                    <a:pt x="54" y="757"/>
                  </a:lnTo>
                  <a:lnTo>
                    <a:pt x="53" y="757"/>
                  </a:lnTo>
                  <a:lnTo>
                    <a:pt x="50" y="758"/>
                  </a:lnTo>
                  <a:lnTo>
                    <a:pt x="49" y="760"/>
                  </a:lnTo>
                  <a:lnTo>
                    <a:pt x="48" y="761"/>
                  </a:lnTo>
                  <a:lnTo>
                    <a:pt x="48" y="762"/>
                  </a:lnTo>
                  <a:lnTo>
                    <a:pt x="47" y="763"/>
                  </a:lnTo>
                  <a:lnTo>
                    <a:pt x="46" y="765"/>
                  </a:lnTo>
                  <a:lnTo>
                    <a:pt x="46" y="768"/>
                  </a:lnTo>
                  <a:lnTo>
                    <a:pt x="46" y="769"/>
                  </a:lnTo>
                  <a:lnTo>
                    <a:pt x="47" y="770"/>
                  </a:lnTo>
                  <a:lnTo>
                    <a:pt x="47" y="771"/>
                  </a:lnTo>
                  <a:lnTo>
                    <a:pt x="47" y="772"/>
                  </a:lnTo>
                  <a:lnTo>
                    <a:pt x="47" y="774"/>
                  </a:lnTo>
                  <a:lnTo>
                    <a:pt x="48" y="776"/>
                  </a:lnTo>
                  <a:lnTo>
                    <a:pt x="48" y="777"/>
                  </a:lnTo>
                  <a:lnTo>
                    <a:pt x="48" y="778"/>
                  </a:lnTo>
                  <a:lnTo>
                    <a:pt x="48" y="780"/>
                  </a:lnTo>
                  <a:lnTo>
                    <a:pt x="48" y="781"/>
                  </a:lnTo>
                  <a:lnTo>
                    <a:pt x="48" y="782"/>
                  </a:lnTo>
                  <a:lnTo>
                    <a:pt x="47" y="785"/>
                  </a:lnTo>
                  <a:lnTo>
                    <a:pt x="47" y="787"/>
                  </a:lnTo>
                  <a:lnTo>
                    <a:pt x="47" y="788"/>
                  </a:lnTo>
                  <a:lnTo>
                    <a:pt x="47" y="789"/>
                  </a:lnTo>
                  <a:lnTo>
                    <a:pt x="47" y="792"/>
                  </a:lnTo>
                  <a:lnTo>
                    <a:pt x="47" y="793"/>
                  </a:lnTo>
                  <a:lnTo>
                    <a:pt x="47" y="795"/>
                  </a:lnTo>
                  <a:lnTo>
                    <a:pt x="47" y="797"/>
                  </a:lnTo>
                  <a:lnTo>
                    <a:pt x="47" y="798"/>
                  </a:lnTo>
                  <a:lnTo>
                    <a:pt x="47" y="800"/>
                  </a:lnTo>
                  <a:lnTo>
                    <a:pt x="47" y="802"/>
                  </a:lnTo>
                  <a:lnTo>
                    <a:pt x="48" y="803"/>
                  </a:lnTo>
                  <a:lnTo>
                    <a:pt x="49" y="804"/>
                  </a:lnTo>
                  <a:lnTo>
                    <a:pt x="50" y="805"/>
                  </a:lnTo>
                  <a:lnTo>
                    <a:pt x="51" y="805"/>
                  </a:lnTo>
                  <a:lnTo>
                    <a:pt x="54" y="805"/>
                  </a:lnTo>
                  <a:lnTo>
                    <a:pt x="55" y="805"/>
                  </a:lnTo>
                  <a:lnTo>
                    <a:pt x="56" y="806"/>
                  </a:lnTo>
                  <a:lnTo>
                    <a:pt x="57" y="808"/>
                  </a:lnTo>
                  <a:lnTo>
                    <a:pt x="57" y="809"/>
                  </a:lnTo>
                  <a:lnTo>
                    <a:pt x="57" y="810"/>
                  </a:lnTo>
                  <a:lnTo>
                    <a:pt x="57" y="811"/>
                  </a:lnTo>
                  <a:lnTo>
                    <a:pt x="57" y="812"/>
                  </a:lnTo>
                  <a:lnTo>
                    <a:pt x="57" y="814"/>
                  </a:lnTo>
                  <a:lnTo>
                    <a:pt x="57" y="816"/>
                  </a:lnTo>
                  <a:lnTo>
                    <a:pt x="56" y="817"/>
                  </a:lnTo>
                  <a:lnTo>
                    <a:pt x="56" y="819"/>
                  </a:lnTo>
                  <a:lnTo>
                    <a:pt x="56" y="821"/>
                  </a:lnTo>
                  <a:lnTo>
                    <a:pt x="56" y="824"/>
                  </a:lnTo>
                  <a:lnTo>
                    <a:pt x="55" y="830"/>
                  </a:lnTo>
                  <a:lnTo>
                    <a:pt x="55" y="832"/>
                  </a:lnTo>
                  <a:lnTo>
                    <a:pt x="55" y="833"/>
                  </a:lnTo>
                  <a:lnTo>
                    <a:pt x="54" y="834"/>
                  </a:lnTo>
                  <a:lnTo>
                    <a:pt x="54" y="835"/>
                  </a:lnTo>
                  <a:lnTo>
                    <a:pt x="54" y="836"/>
                  </a:lnTo>
                  <a:lnTo>
                    <a:pt x="54" y="837"/>
                  </a:lnTo>
                  <a:lnTo>
                    <a:pt x="54" y="838"/>
                  </a:lnTo>
                  <a:lnTo>
                    <a:pt x="54" y="841"/>
                  </a:lnTo>
                  <a:lnTo>
                    <a:pt x="53" y="843"/>
                  </a:lnTo>
                  <a:lnTo>
                    <a:pt x="53" y="844"/>
                  </a:lnTo>
                  <a:lnTo>
                    <a:pt x="51" y="845"/>
                  </a:lnTo>
                  <a:lnTo>
                    <a:pt x="53" y="846"/>
                  </a:lnTo>
                  <a:lnTo>
                    <a:pt x="53" y="848"/>
                  </a:lnTo>
                  <a:lnTo>
                    <a:pt x="51" y="849"/>
                  </a:lnTo>
                  <a:lnTo>
                    <a:pt x="51" y="850"/>
                  </a:lnTo>
                  <a:lnTo>
                    <a:pt x="50" y="850"/>
                  </a:lnTo>
                  <a:lnTo>
                    <a:pt x="50" y="851"/>
                  </a:lnTo>
                  <a:lnTo>
                    <a:pt x="50" y="853"/>
                  </a:lnTo>
                  <a:lnTo>
                    <a:pt x="51" y="853"/>
                  </a:lnTo>
                  <a:lnTo>
                    <a:pt x="53" y="854"/>
                  </a:lnTo>
                  <a:lnTo>
                    <a:pt x="54" y="854"/>
                  </a:lnTo>
                  <a:lnTo>
                    <a:pt x="55" y="854"/>
                  </a:lnTo>
                  <a:lnTo>
                    <a:pt x="55" y="856"/>
                  </a:lnTo>
                  <a:lnTo>
                    <a:pt x="56" y="857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27" name="GJ"/>
            <p:cNvSpPr>
              <a:spLocks/>
            </p:cNvSpPr>
            <p:nvPr/>
          </p:nvSpPr>
          <p:spPr bwMode="auto">
            <a:xfrm>
              <a:off x="5316625" y="3245043"/>
              <a:ext cx="706309" cy="494431"/>
            </a:xfrm>
            <a:custGeom>
              <a:avLst/>
              <a:gdLst>
                <a:gd name="T0" fmla="*/ 1406 w 1760"/>
                <a:gd name="T1" fmla="*/ 1255 h 1273"/>
                <a:gd name="T2" fmla="*/ 1492 w 1760"/>
                <a:gd name="T3" fmla="*/ 1120 h 1273"/>
                <a:gd name="T4" fmla="*/ 1558 w 1760"/>
                <a:gd name="T5" fmla="*/ 1009 h 1273"/>
                <a:gd name="T6" fmla="*/ 1688 w 1760"/>
                <a:gd name="T7" fmla="*/ 897 h 1273"/>
                <a:gd name="T8" fmla="*/ 1576 w 1760"/>
                <a:gd name="T9" fmla="*/ 798 h 1273"/>
                <a:gd name="T10" fmla="*/ 1682 w 1760"/>
                <a:gd name="T11" fmla="*/ 658 h 1273"/>
                <a:gd name="T12" fmla="*/ 1730 w 1760"/>
                <a:gd name="T13" fmla="*/ 574 h 1273"/>
                <a:gd name="T14" fmla="*/ 1662 w 1760"/>
                <a:gd name="T15" fmla="*/ 396 h 1273"/>
                <a:gd name="T16" fmla="*/ 1523 w 1760"/>
                <a:gd name="T17" fmla="*/ 297 h 1273"/>
                <a:gd name="T18" fmla="*/ 1388 w 1760"/>
                <a:gd name="T19" fmla="*/ 148 h 1273"/>
                <a:gd name="T20" fmla="*/ 1299 w 1760"/>
                <a:gd name="T21" fmla="*/ 100 h 1273"/>
                <a:gd name="T22" fmla="*/ 1184 w 1760"/>
                <a:gd name="T23" fmla="*/ 30 h 1273"/>
                <a:gd name="T24" fmla="*/ 1043 w 1760"/>
                <a:gd name="T25" fmla="*/ 32 h 1273"/>
                <a:gd name="T26" fmla="*/ 850 w 1760"/>
                <a:gd name="T27" fmla="*/ 19 h 1273"/>
                <a:gd name="T28" fmla="*/ 634 w 1760"/>
                <a:gd name="T29" fmla="*/ 103 h 1273"/>
                <a:gd name="T30" fmla="*/ 209 w 1760"/>
                <a:gd name="T31" fmla="*/ 144 h 1273"/>
                <a:gd name="T32" fmla="*/ 19 w 1760"/>
                <a:gd name="T33" fmla="*/ 296 h 1273"/>
                <a:gd name="T34" fmla="*/ 116 w 1760"/>
                <a:gd name="T35" fmla="*/ 276 h 1273"/>
                <a:gd name="T36" fmla="*/ 104 w 1760"/>
                <a:gd name="T37" fmla="*/ 302 h 1273"/>
                <a:gd name="T38" fmla="*/ 83 w 1760"/>
                <a:gd name="T39" fmla="*/ 361 h 1273"/>
                <a:gd name="T40" fmla="*/ 127 w 1760"/>
                <a:gd name="T41" fmla="*/ 398 h 1273"/>
                <a:gd name="T42" fmla="*/ 166 w 1760"/>
                <a:gd name="T43" fmla="*/ 458 h 1273"/>
                <a:gd name="T44" fmla="*/ 318 w 1760"/>
                <a:gd name="T45" fmla="*/ 527 h 1273"/>
                <a:gd name="T46" fmla="*/ 446 w 1760"/>
                <a:gd name="T47" fmla="*/ 532 h 1273"/>
                <a:gd name="T48" fmla="*/ 561 w 1760"/>
                <a:gd name="T49" fmla="*/ 483 h 1273"/>
                <a:gd name="T50" fmla="*/ 623 w 1760"/>
                <a:gd name="T51" fmla="*/ 416 h 1273"/>
                <a:gd name="T52" fmla="*/ 650 w 1760"/>
                <a:gd name="T53" fmla="*/ 492 h 1273"/>
                <a:gd name="T54" fmla="*/ 622 w 1760"/>
                <a:gd name="T55" fmla="*/ 508 h 1273"/>
                <a:gd name="T56" fmla="*/ 563 w 1760"/>
                <a:gd name="T57" fmla="*/ 603 h 1273"/>
                <a:gd name="T58" fmla="*/ 507 w 1760"/>
                <a:gd name="T59" fmla="*/ 610 h 1273"/>
                <a:gd name="T60" fmla="*/ 466 w 1760"/>
                <a:gd name="T61" fmla="*/ 643 h 1273"/>
                <a:gd name="T62" fmla="*/ 404 w 1760"/>
                <a:gd name="T63" fmla="*/ 668 h 1273"/>
                <a:gd name="T64" fmla="*/ 308 w 1760"/>
                <a:gd name="T65" fmla="*/ 684 h 1273"/>
                <a:gd name="T66" fmla="*/ 257 w 1760"/>
                <a:gd name="T67" fmla="*/ 641 h 1273"/>
                <a:gd name="T68" fmla="*/ 259 w 1760"/>
                <a:gd name="T69" fmla="*/ 722 h 1273"/>
                <a:gd name="T70" fmla="*/ 351 w 1760"/>
                <a:gd name="T71" fmla="*/ 806 h 1273"/>
                <a:gd name="T72" fmla="*/ 526 w 1760"/>
                <a:gd name="T73" fmla="*/ 972 h 1273"/>
                <a:gd name="T74" fmla="*/ 711 w 1760"/>
                <a:gd name="T75" fmla="*/ 1095 h 1273"/>
                <a:gd name="T76" fmla="*/ 806 w 1760"/>
                <a:gd name="T77" fmla="*/ 1104 h 1273"/>
                <a:gd name="T78" fmla="*/ 871 w 1760"/>
                <a:gd name="T79" fmla="*/ 1080 h 1273"/>
                <a:gd name="T80" fmla="*/ 943 w 1760"/>
                <a:gd name="T81" fmla="*/ 1058 h 1273"/>
                <a:gd name="T82" fmla="*/ 990 w 1760"/>
                <a:gd name="T83" fmla="*/ 1027 h 1273"/>
                <a:gd name="T84" fmla="*/ 1048 w 1760"/>
                <a:gd name="T85" fmla="*/ 1006 h 1273"/>
                <a:gd name="T86" fmla="*/ 1114 w 1760"/>
                <a:gd name="T87" fmla="*/ 947 h 1273"/>
                <a:gd name="T88" fmla="*/ 1119 w 1760"/>
                <a:gd name="T89" fmla="*/ 809 h 1273"/>
                <a:gd name="T90" fmla="*/ 1126 w 1760"/>
                <a:gd name="T91" fmla="*/ 792 h 1273"/>
                <a:gd name="T92" fmla="*/ 1124 w 1760"/>
                <a:gd name="T93" fmla="*/ 751 h 1273"/>
                <a:gd name="T94" fmla="*/ 1145 w 1760"/>
                <a:gd name="T95" fmla="*/ 724 h 1273"/>
                <a:gd name="T96" fmla="*/ 1190 w 1760"/>
                <a:gd name="T97" fmla="*/ 643 h 1273"/>
                <a:gd name="T98" fmla="*/ 1250 w 1760"/>
                <a:gd name="T99" fmla="*/ 671 h 1273"/>
                <a:gd name="T100" fmla="*/ 1346 w 1760"/>
                <a:gd name="T101" fmla="*/ 665 h 1273"/>
                <a:gd name="T102" fmla="*/ 1243 w 1760"/>
                <a:gd name="T103" fmla="*/ 740 h 1273"/>
                <a:gd name="T104" fmla="*/ 1288 w 1760"/>
                <a:gd name="T105" fmla="*/ 750 h 1273"/>
                <a:gd name="T106" fmla="*/ 1252 w 1760"/>
                <a:gd name="T107" fmla="*/ 817 h 1273"/>
                <a:gd name="T108" fmla="*/ 1267 w 1760"/>
                <a:gd name="T109" fmla="*/ 835 h 1273"/>
                <a:gd name="T110" fmla="*/ 1366 w 1760"/>
                <a:gd name="T111" fmla="*/ 833 h 1273"/>
                <a:gd name="T112" fmla="*/ 1308 w 1760"/>
                <a:gd name="T113" fmla="*/ 899 h 1273"/>
                <a:gd name="T114" fmla="*/ 1262 w 1760"/>
                <a:gd name="T115" fmla="*/ 939 h 1273"/>
                <a:gd name="T116" fmla="*/ 1302 w 1760"/>
                <a:gd name="T117" fmla="*/ 984 h 1273"/>
                <a:gd name="T118" fmla="*/ 1295 w 1760"/>
                <a:gd name="T119" fmla="*/ 1006 h 1273"/>
                <a:gd name="T120" fmla="*/ 1331 w 1760"/>
                <a:gd name="T121" fmla="*/ 1038 h 1273"/>
                <a:gd name="T122" fmla="*/ 1350 w 1760"/>
                <a:gd name="T123" fmla="*/ 1079 h 1273"/>
                <a:gd name="T124" fmla="*/ 1346 w 1760"/>
                <a:gd name="T125" fmla="*/ 1185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0" h="1273">
                  <a:moveTo>
                    <a:pt x="1321" y="1217"/>
                  </a:moveTo>
                  <a:lnTo>
                    <a:pt x="1323" y="1217"/>
                  </a:lnTo>
                  <a:lnTo>
                    <a:pt x="1327" y="1217"/>
                  </a:lnTo>
                  <a:lnTo>
                    <a:pt x="1329" y="1217"/>
                  </a:lnTo>
                  <a:lnTo>
                    <a:pt x="1331" y="1218"/>
                  </a:lnTo>
                  <a:lnTo>
                    <a:pt x="1334" y="1220"/>
                  </a:lnTo>
                  <a:lnTo>
                    <a:pt x="1334" y="1222"/>
                  </a:lnTo>
                  <a:lnTo>
                    <a:pt x="1336" y="1223"/>
                  </a:lnTo>
                  <a:lnTo>
                    <a:pt x="1337" y="1224"/>
                  </a:lnTo>
                  <a:lnTo>
                    <a:pt x="1338" y="1226"/>
                  </a:lnTo>
                  <a:lnTo>
                    <a:pt x="1338" y="1230"/>
                  </a:lnTo>
                  <a:lnTo>
                    <a:pt x="1336" y="1231"/>
                  </a:lnTo>
                  <a:lnTo>
                    <a:pt x="1334" y="1232"/>
                  </a:lnTo>
                  <a:lnTo>
                    <a:pt x="1332" y="1235"/>
                  </a:lnTo>
                  <a:lnTo>
                    <a:pt x="1331" y="1236"/>
                  </a:lnTo>
                  <a:lnTo>
                    <a:pt x="1332" y="1238"/>
                  </a:lnTo>
                  <a:lnTo>
                    <a:pt x="1332" y="1240"/>
                  </a:lnTo>
                  <a:lnTo>
                    <a:pt x="1335" y="1242"/>
                  </a:lnTo>
                  <a:lnTo>
                    <a:pt x="1337" y="1243"/>
                  </a:lnTo>
                  <a:lnTo>
                    <a:pt x="1338" y="1244"/>
                  </a:lnTo>
                  <a:lnTo>
                    <a:pt x="1340" y="1244"/>
                  </a:lnTo>
                  <a:lnTo>
                    <a:pt x="1344" y="1244"/>
                  </a:lnTo>
                  <a:lnTo>
                    <a:pt x="1347" y="1243"/>
                  </a:lnTo>
                  <a:lnTo>
                    <a:pt x="1352" y="1242"/>
                  </a:lnTo>
                  <a:lnTo>
                    <a:pt x="1355" y="1241"/>
                  </a:lnTo>
                  <a:lnTo>
                    <a:pt x="1359" y="1242"/>
                  </a:lnTo>
                  <a:lnTo>
                    <a:pt x="1361" y="1243"/>
                  </a:lnTo>
                  <a:lnTo>
                    <a:pt x="1364" y="1243"/>
                  </a:lnTo>
                  <a:lnTo>
                    <a:pt x="1366" y="1244"/>
                  </a:lnTo>
                  <a:lnTo>
                    <a:pt x="1368" y="1244"/>
                  </a:lnTo>
                  <a:lnTo>
                    <a:pt x="1368" y="1241"/>
                  </a:lnTo>
                  <a:lnTo>
                    <a:pt x="1367" y="1239"/>
                  </a:lnTo>
                  <a:lnTo>
                    <a:pt x="1366" y="1236"/>
                  </a:lnTo>
                  <a:lnTo>
                    <a:pt x="1363" y="1234"/>
                  </a:lnTo>
                  <a:lnTo>
                    <a:pt x="1363" y="1233"/>
                  </a:lnTo>
                  <a:lnTo>
                    <a:pt x="1362" y="1232"/>
                  </a:lnTo>
                  <a:lnTo>
                    <a:pt x="1362" y="1228"/>
                  </a:lnTo>
                  <a:lnTo>
                    <a:pt x="1363" y="1228"/>
                  </a:lnTo>
                  <a:lnTo>
                    <a:pt x="1364" y="1227"/>
                  </a:lnTo>
                  <a:lnTo>
                    <a:pt x="1367" y="1226"/>
                  </a:lnTo>
                  <a:lnTo>
                    <a:pt x="1368" y="1224"/>
                  </a:lnTo>
                  <a:lnTo>
                    <a:pt x="1369" y="1223"/>
                  </a:lnTo>
                  <a:lnTo>
                    <a:pt x="1369" y="1219"/>
                  </a:lnTo>
                  <a:lnTo>
                    <a:pt x="1370" y="1219"/>
                  </a:lnTo>
                  <a:lnTo>
                    <a:pt x="1374" y="1217"/>
                  </a:lnTo>
                  <a:lnTo>
                    <a:pt x="1378" y="1214"/>
                  </a:lnTo>
                  <a:lnTo>
                    <a:pt x="1382" y="1211"/>
                  </a:lnTo>
                  <a:lnTo>
                    <a:pt x="1385" y="1210"/>
                  </a:lnTo>
                  <a:lnTo>
                    <a:pt x="1387" y="1210"/>
                  </a:lnTo>
                  <a:lnTo>
                    <a:pt x="1393" y="1209"/>
                  </a:lnTo>
                  <a:lnTo>
                    <a:pt x="1396" y="1209"/>
                  </a:lnTo>
                  <a:lnTo>
                    <a:pt x="1398" y="1208"/>
                  </a:lnTo>
                  <a:lnTo>
                    <a:pt x="1399" y="1206"/>
                  </a:lnTo>
                  <a:lnTo>
                    <a:pt x="1402" y="1202"/>
                  </a:lnTo>
                  <a:lnTo>
                    <a:pt x="1406" y="1202"/>
                  </a:lnTo>
                  <a:lnTo>
                    <a:pt x="1407" y="1206"/>
                  </a:lnTo>
                  <a:lnTo>
                    <a:pt x="1407" y="1208"/>
                  </a:lnTo>
                  <a:lnTo>
                    <a:pt x="1406" y="1210"/>
                  </a:lnTo>
                  <a:lnTo>
                    <a:pt x="1407" y="1214"/>
                  </a:lnTo>
                  <a:lnTo>
                    <a:pt x="1409" y="1214"/>
                  </a:lnTo>
                  <a:lnTo>
                    <a:pt x="1411" y="1214"/>
                  </a:lnTo>
                  <a:lnTo>
                    <a:pt x="1415" y="1214"/>
                  </a:lnTo>
                  <a:lnTo>
                    <a:pt x="1418" y="1215"/>
                  </a:lnTo>
                  <a:lnTo>
                    <a:pt x="1420" y="1216"/>
                  </a:lnTo>
                  <a:lnTo>
                    <a:pt x="1422" y="1218"/>
                  </a:lnTo>
                  <a:lnTo>
                    <a:pt x="1419" y="1222"/>
                  </a:lnTo>
                  <a:lnTo>
                    <a:pt x="1417" y="1222"/>
                  </a:lnTo>
                  <a:lnTo>
                    <a:pt x="1415" y="1224"/>
                  </a:lnTo>
                  <a:lnTo>
                    <a:pt x="1414" y="1227"/>
                  </a:lnTo>
                  <a:lnTo>
                    <a:pt x="1411" y="1228"/>
                  </a:lnTo>
                  <a:lnTo>
                    <a:pt x="1408" y="1230"/>
                  </a:lnTo>
                  <a:lnTo>
                    <a:pt x="1404" y="1232"/>
                  </a:lnTo>
                  <a:lnTo>
                    <a:pt x="1401" y="1234"/>
                  </a:lnTo>
                  <a:lnTo>
                    <a:pt x="1398" y="1235"/>
                  </a:lnTo>
                  <a:lnTo>
                    <a:pt x="1395" y="1239"/>
                  </a:lnTo>
                  <a:lnTo>
                    <a:pt x="1394" y="1242"/>
                  </a:lnTo>
                  <a:lnTo>
                    <a:pt x="1393" y="1246"/>
                  </a:lnTo>
                  <a:lnTo>
                    <a:pt x="1393" y="1249"/>
                  </a:lnTo>
                  <a:lnTo>
                    <a:pt x="1394" y="1251"/>
                  </a:lnTo>
                  <a:lnTo>
                    <a:pt x="1400" y="1256"/>
                  </a:lnTo>
                  <a:lnTo>
                    <a:pt x="1406" y="1255"/>
                  </a:lnTo>
                  <a:lnTo>
                    <a:pt x="1409" y="1255"/>
                  </a:lnTo>
                  <a:lnTo>
                    <a:pt x="1412" y="1255"/>
                  </a:lnTo>
                  <a:lnTo>
                    <a:pt x="1414" y="1254"/>
                  </a:lnTo>
                  <a:lnTo>
                    <a:pt x="1415" y="1250"/>
                  </a:lnTo>
                  <a:lnTo>
                    <a:pt x="1418" y="1248"/>
                  </a:lnTo>
                  <a:lnTo>
                    <a:pt x="1422" y="1248"/>
                  </a:lnTo>
                  <a:lnTo>
                    <a:pt x="1427" y="1250"/>
                  </a:lnTo>
                  <a:lnTo>
                    <a:pt x="1430" y="1254"/>
                  </a:lnTo>
                  <a:lnTo>
                    <a:pt x="1431" y="1257"/>
                  </a:lnTo>
                  <a:lnTo>
                    <a:pt x="1431" y="1259"/>
                  </a:lnTo>
                  <a:lnTo>
                    <a:pt x="1430" y="1262"/>
                  </a:lnTo>
                  <a:lnTo>
                    <a:pt x="1427" y="1263"/>
                  </a:lnTo>
                  <a:lnTo>
                    <a:pt x="1426" y="1265"/>
                  </a:lnTo>
                  <a:lnTo>
                    <a:pt x="1425" y="1267"/>
                  </a:lnTo>
                  <a:lnTo>
                    <a:pt x="1426" y="1271"/>
                  </a:lnTo>
                  <a:lnTo>
                    <a:pt x="1430" y="1272"/>
                  </a:lnTo>
                  <a:lnTo>
                    <a:pt x="1434" y="1273"/>
                  </a:lnTo>
                  <a:lnTo>
                    <a:pt x="1439" y="1271"/>
                  </a:lnTo>
                  <a:lnTo>
                    <a:pt x="1440" y="1270"/>
                  </a:lnTo>
                  <a:lnTo>
                    <a:pt x="1442" y="1267"/>
                  </a:lnTo>
                  <a:lnTo>
                    <a:pt x="1444" y="1266"/>
                  </a:lnTo>
                  <a:lnTo>
                    <a:pt x="1447" y="1264"/>
                  </a:lnTo>
                  <a:lnTo>
                    <a:pt x="1450" y="1264"/>
                  </a:lnTo>
                  <a:lnTo>
                    <a:pt x="1450" y="1262"/>
                  </a:lnTo>
                  <a:lnTo>
                    <a:pt x="1450" y="1258"/>
                  </a:lnTo>
                  <a:lnTo>
                    <a:pt x="1448" y="1254"/>
                  </a:lnTo>
                  <a:lnTo>
                    <a:pt x="1449" y="1247"/>
                  </a:lnTo>
                  <a:lnTo>
                    <a:pt x="1449" y="1243"/>
                  </a:lnTo>
                  <a:lnTo>
                    <a:pt x="1451" y="1242"/>
                  </a:lnTo>
                  <a:lnTo>
                    <a:pt x="1451" y="1239"/>
                  </a:lnTo>
                  <a:lnTo>
                    <a:pt x="1452" y="1236"/>
                  </a:lnTo>
                  <a:lnTo>
                    <a:pt x="1458" y="1238"/>
                  </a:lnTo>
                  <a:lnTo>
                    <a:pt x="1463" y="1239"/>
                  </a:lnTo>
                  <a:lnTo>
                    <a:pt x="1466" y="1240"/>
                  </a:lnTo>
                  <a:lnTo>
                    <a:pt x="1468" y="1242"/>
                  </a:lnTo>
                  <a:lnTo>
                    <a:pt x="1470" y="1244"/>
                  </a:lnTo>
                  <a:lnTo>
                    <a:pt x="1471" y="1246"/>
                  </a:lnTo>
                  <a:lnTo>
                    <a:pt x="1474" y="1247"/>
                  </a:lnTo>
                  <a:lnTo>
                    <a:pt x="1478" y="1247"/>
                  </a:lnTo>
                  <a:lnTo>
                    <a:pt x="1480" y="1246"/>
                  </a:lnTo>
                  <a:lnTo>
                    <a:pt x="1483" y="1246"/>
                  </a:lnTo>
                  <a:lnTo>
                    <a:pt x="1483" y="1242"/>
                  </a:lnTo>
                  <a:lnTo>
                    <a:pt x="1483" y="1236"/>
                  </a:lnTo>
                  <a:lnTo>
                    <a:pt x="1483" y="1235"/>
                  </a:lnTo>
                  <a:lnTo>
                    <a:pt x="1484" y="1231"/>
                  </a:lnTo>
                  <a:lnTo>
                    <a:pt x="1483" y="1227"/>
                  </a:lnTo>
                  <a:lnTo>
                    <a:pt x="1482" y="1224"/>
                  </a:lnTo>
                  <a:lnTo>
                    <a:pt x="1481" y="1220"/>
                  </a:lnTo>
                  <a:lnTo>
                    <a:pt x="1483" y="1217"/>
                  </a:lnTo>
                  <a:lnTo>
                    <a:pt x="1484" y="1214"/>
                  </a:lnTo>
                  <a:lnTo>
                    <a:pt x="1484" y="1209"/>
                  </a:lnTo>
                  <a:lnTo>
                    <a:pt x="1486" y="1204"/>
                  </a:lnTo>
                  <a:lnTo>
                    <a:pt x="1486" y="1200"/>
                  </a:lnTo>
                  <a:lnTo>
                    <a:pt x="1486" y="1198"/>
                  </a:lnTo>
                  <a:lnTo>
                    <a:pt x="1481" y="1195"/>
                  </a:lnTo>
                  <a:lnTo>
                    <a:pt x="1479" y="1192"/>
                  </a:lnTo>
                  <a:lnTo>
                    <a:pt x="1476" y="1190"/>
                  </a:lnTo>
                  <a:lnTo>
                    <a:pt x="1474" y="1188"/>
                  </a:lnTo>
                  <a:lnTo>
                    <a:pt x="1474" y="1185"/>
                  </a:lnTo>
                  <a:lnTo>
                    <a:pt x="1479" y="1180"/>
                  </a:lnTo>
                  <a:lnTo>
                    <a:pt x="1481" y="1178"/>
                  </a:lnTo>
                  <a:lnTo>
                    <a:pt x="1479" y="1178"/>
                  </a:lnTo>
                  <a:lnTo>
                    <a:pt x="1481" y="1175"/>
                  </a:lnTo>
                  <a:lnTo>
                    <a:pt x="1481" y="1169"/>
                  </a:lnTo>
                  <a:lnTo>
                    <a:pt x="1482" y="1164"/>
                  </a:lnTo>
                  <a:lnTo>
                    <a:pt x="1484" y="1161"/>
                  </a:lnTo>
                  <a:lnTo>
                    <a:pt x="1486" y="1158"/>
                  </a:lnTo>
                  <a:lnTo>
                    <a:pt x="1484" y="1153"/>
                  </a:lnTo>
                  <a:lnTo>
                    <a:pt x="1481" y="1148"/>
                  </a:lnTo>
                  <a:lnTo>
                    <a:pt x="1481" y="1144"/>
                  </a:lnTo>
                  <a:lnTo>
                    <a:pt x="1480" y="1142"/>
                  </a:lnTo>
                  <a:lnTo>
                    <a:pt x="1478" y="1138"/>
                  </a:lnTo>
                  <a:lnTo>
                    <a:pt x="1476" y="1131"/>
                  </a:lnTo>
                  <a:lnTo>
                    <a:pt x="1479" y="1124"/>
                  </a:lnTo>
                  <a:lnTo>
                    <a:pt x="1480" y="1122"/>
                  </a:lnTo>
                  <a:lnTo>
                    <a:pt x="1482" y="1120"/>
                  </a:lnTo>
                  <a:lnTo>
                    <a:pt x="1483" y="1118"/>
                  </a:lnTo>
                  <a:lnTo>
                    <a:pt x="1486" y="1116"/>
                  </a:lnTo>
                  <a:lnTo>
                    <a:pt x="1488" y="1116"/>
                  </a:lnTo>
                  <a:lnTo>
                    <a:pt x="1491" y="1119"/>
                  </a:lnTo>
                  <a:lnTo>
                    <a:pt x="1492" y="1120"/>
                  </a:lnTo>
                  <a:lnTo>
                    <a:pt x="1496" y="1120"/>
                  </a:lnTo>
                  <a:lnTo>
                    <a:pt x="1499" y="1120"/>
                  </a:lnTo>
                  <a:lnTo>
                    <a:pt x="1502" y="1120"/>
                  </a:lnTo>
                  <a:lnTo>
                    <a:pt x="1503" y="1123"/>
                  </a:lnTo>
                  <a:lnTo>
                    <a:pt x="1504" y="1127"/>
                  </a:lnTo>
                  <a:lnTo>
                    <a:pt x="1506" y="1129"/>
                  </a:lnTo>
                  <a:lnTo>
                    <a:pt x="1511" y="1130"/>
                  </a:lnTo>
                  <a:lnTo>
                    <a:pt x="1514" y="1132"/>
                  </a:lnTo>
                  <a:lnTo>
                    <a:pt x="1520" y="1136"/>
                  </a:lnTo>
                  <a:lnTo>
                    <a:pt x="1524" y="1142"/>
                  </a:lnTo>
                  <a:lnTo>
                    <a:pt x="1527" y="1144"/>
                  </a:lnTo>
                  <a:lnTo>
                    <a:pt x="1529" y="1144"/>
                  </a:lnTo>
                  <a:lnTo>
                    <a:pt x="1532" y="1144"/>
                  </a:lnTo>
                  <a:lnTo>
                    <a:pt x="1537" y="1143"/>
                  </a:lnTo>
                  <a:lnTo>
                    <a:pt x="1540" y="1142"/>
                  </a:lnTo>
                  <a:lnTo>
                    <a:pt x="1544" y="1140"/>
                  </a:lnTo>
                  <a:lnTo>
                    <a:pt x="1547" y="1140"/>
                  </a:lnTo>
                  <a:lnTo>
                    <a:pt x="1551" y="1142"/>
                  </a:lnTo>
                  <a:lnTo>
                    <a:pt x="1553" y="1143"/>
                  </a:lnTo>
                  <a:lnTo>
                    <a:pt x="1555" y="1145"/>
                  </a:lnTo>
                  <a:lnTo>
                    <a:pt x="1559" y="1147"/>
                  </a:lnTo>
                  <a:lnTo>
                    <a:pt x="1560" y="1147"/>
                  </a:lnTo>
                  <a:lnTo>
                    <a:pt x="1561" y="1146"/>
                  </a:lnTo>
                  <a:lnTo>
                    <a:pt x="1564" y="1143"/>
                  </a:lnTo>
                  <a:lnTo>
                    <a:pt x="1566" y="1142"/>
                  </a:lnTo>
                  <a:lnTo>
                    <a:pt x="1568" y="1139"/>
                  </a:lnTo>
                  <a:lnTo>
                    <a:pt x="1570" y="1138"/>
                  </a:lnTo>
                  <a:lnTo>
                    <a:pt x="1574" y="1138"/>
                  </a:lnTo>
                  <a:lnTo>
                    <a:pt x="1576" y="1138"/>
                  </a:lnTo>
                  <a:lnTo>
                    <a:pt x="1579" y="1138"/>
                  </a:lnTo>
                  <a:lnTo>
                    <a:pt x="1582" y="1137"/>
                  </a:lnTo>
                  <a:lnTo>
                    <a:pt x="1583" y="1135"/>
                  </a:lnTo>
                  <a:lnTo>
                    <a:pt x="1582" y="1128"/>
                  </a:lnTo>
                  <a:lnTo>
                    <a:pt x="1580" y="1119"/>
                  </a:lnTo>
                  <a:lnTo>
                    <a:pt x="1580" y="1116"/>
                  </a:lnTo>
                  <a:lnTo>
                    <a:pt x="1580" y="1112"/>
                  </a:lnTo>
                  <a:lnTo>
                    <a:pt x="1582" y="1111"/>
                  </a:lnTo>
                  <a:lnTo>
                    <a:pt x="1585" y="1111"/>
                  </a:lnTo>
                  <a:lnTo>
                    <a:pt x="1587" y="1110"/>
                  </a:lnTo>
                  <a:lnTo>
                    <a:pt x="1590" y="1110"/>
                  </a:lnTo>
                  <a:lnTo>
                    <a:pt x="1592" y="1108"/>
                  </a:lnTo>
                  <a:lnTo>
                    <a:pt x="1593" y="1106"/>
                  </a:lnTo>
                  <a:lnTo>
                    <a:pt x="1594" y="1104"/>
                  </a:lnTo>
                  <a:lnTo>
                    <a:pt x="1595" y="1104"/>
                  </a:lnTo>
                  <a:lnTo>
                    <a:pt x="1599" y="1103"/>
                  </a:lnTo>
                  <a:lnTo>
                    <a:pt x="1604" y="1100"/>
                  </a:lnTo>
                  <a:lnTo>
                    <a:pt x="1607" y="1098"/>
                  </a:lnTo>
                  <a:lnTo>
                    <a:pt x="1608" y="1096"/>
                  </a:lnTo>
                  <a:lnTo>
                    <a:pt x="1609" y="1092"/>
                  </a:lnTo>
                  <a:lnTo>
                    <a:pt x="1610" y="1087"/>
                  </a:lnTo>
                  <a:lnTo>
                    <a:pt x="1611" y="1081"/>
                  </a:lnTo>
                  <a:lnTo>
                    <a:pt x="1610" y="1074"/>
                  </a:lnTo>
                  <a:lnTo>
                    <a:pt x="1608" y="1067"/>
                  </a:lnTo>
                  <a:lnTo>
                    <a:pt x="1603" y="1060"/>
                  </a:lnTo>
                  <a:lnTo>
                    <a:pt x="1600" y="1051"/>
                  </a:lnTo>
                  <a:lnTo>
                    <a:pt x="1601" y="1043"/>
                  </a:lnTo>
                  <a:lnTo>
                    <a:pt x="1600" y="1039"/>
                  </a:lnTo>
                  <a:lnTo>
                    <a:pt x="1600" y="1038"/>
                  </a:lnTo>
                  <a:lnTo>
                    <a:pt x="1599" y="1034"/>
                  </a:lnTo>
                  <a:lnTo>
                    <a:pt x="1595" y="1031"/>
                  </a:lnTo>
                  <a:lnTo>
                    <a:pt x="1593" y="1028"/>
                  </a:lnTo>
                  <a:lnTo>
                    <a:pt x="1590" y="1027"/>
                  </a:lnTo>
                  <a:lnTo>
                    <a:pt x="1586" y="1025"/>
                  </a:lnTo>
                  <a:lnTo>
                    <a:pt x="1584" y="1024"/>
                  </a:lnTo>
                  <a:lnTo>
                    <a:pt x="1583" y="1022"/>
                  </a:lnTo>
                  <a:lnTo>
                    <a:pt x="1584" y="1018"/>
                  </a:lnTo>
                  <a:lnTo>
                    <a:pt x="1582" y="1016"/>
                  </a:lnTo>
                  <a:lnTo>
                    <a:pt x="1580" y="1012"/>
                  </a:lnTo>
                  <a:lnTo>
                    <a:pt x="1583" y="1010"/>
                  </a:lnTo>
                  <a:lnTo>
                    <a:pt x="1582" y="1007"/>
                  </a:lnTo>
                  <a:lnTo>
                    <a:pt x="1579" y="1004"/>
                  </a:lnTo>
                  <a:lnTo>
                    <a:pt x="1578" y="1003"/>
                  </a:lnTo>
                  <a:lnTo>
                    <a:pt x="1575" y="1004"/>
                  </a:lnTo>
                  <a:lnTo>
                    <a:pt x="1572" y="1006"/>
                  </a:lnTo>
                  <a:lnTo>
                    <a:pt x="1569" y="1006"/>
                  </a:lnTo>
                  <a:lnTo>
                    <a:pt x="1568" y="1007"/>
                  </a:lnTo>
                  <a:lnTo>
                    <a:pt x="1566" y="1010"/>
                  </a:lnTo>
                  <a:lnTo>
                    <a:pt x="1562" y="1012"/>
                  </a:lnTo>
                  <a:lnTo>
                    <a:pt x="1560" y="1012"/>
                  </a:lnTo>
                  <a:lnTo>
                    <a:pt x="1558" y="1010"/>
                  </a:lnTo>
                  <a:lnTo>
                    <a:pt x="1558" y="1009"/>
                  </a:lnTo>
                  <a:lnTo>
                    <a:pt x="1559" y="1006"/>
                  </a:lnTo>
                  <a:lnTo>
                    <a:pt x="1560" y="1002"/>
                  </a:lnTo>
                  <a:lnTo>
                    <a:pt x="1560" y="1000"/>
                  </a:lnTo>
                  <a:lnTo>
                    <a:pt x="1559" y="998"/>
                  </a:lnTo>
                  <a:lnTo>
                    <a:pt x="1556" y="996"/>
                  </a:lnTo>
                  <a:lnTo>
                    <a:pt x="1553" y="995"/>
                  </a:lnTo>
                  <a:lnTo>
                    <a:pt x="1547" y="995"/>
                  </a:lnTo>
                  <a:lnTo>
                    <a:pt x="1544" y="995"/>
                  </a:lnTo>
                  <a:lnTo>
                    <a:pt x="1540" y="995"/>
                  </a:lnTo>
                  <a:lnTo>
                    <a:pt x="1537" y="994"/>
                  </a:lnTo>
                  <a:lnTo>
                    <a:pt x="1534" y="993"/>
                  </a:lnTo>
                  <a:lnTo>
                    <a:pt x="1531" y="993"/>
                  </a:lnTo>
                  <a:lnTo>
                    <a:pt x="1528" y="991"/>
                  </a:lnTo>
                  <a:lnTo>
                    <a:pt x="1526" y="990"/>
                  </a:lnTo>
                  <a:lnTo>
                    <a:pt x="1520" y="990"/>
                  </a:lnTo>
                  <a:lnTo>
                    <a:pt x="1518" y="986"/>
                  </a:lnTo>
                  <a:lnTo>
                    <a:pt x="1516" y="984"/>
                  </a:lnTo>
                  <a:lnTo>
                    <a:pt x="1518" y="979"/>
                  </a:lnTo>
                  <a:lnTo>
                    <a:pt x="1519" y="978"/>
                  </a:lnTo>
                  <a:lnTo>
                    <a:pt x="1522" y="978"/>
                  </a:lnTo>
                  <a:lnTo>
                    <a:pt x="1526" y="978"/>
                  </a:lnTo>
                  <a:lnTo>
                    <a:pt x="1528" y="979"/>
                  </a:lnTo>
                  <a:lnTo>
                    <a:pt x="1532" y="979"/>
                  </a:lnTo>
                  <a:lnTo>
                    <a:pt x="1537" y="979"/>
                  </a:lnTo>
                  <a:lnTo>
                    <a:pt x="1542" y="980"/>
                  </a:lnTo>
                  <a:lnTo>
                    <a:pt x="1550" y="982"/>
                  </a:lnTo>
                  <a:lnTo>
                    <a:pt x="1554" y="982"/>
                  </a:lnTo>
                  <a:lnTo>
                    <a:pt x="1556" y="983"/>
                  </a:lnTo>
                  <a:lnTo>
                    <a:pt x="1560" y="984"/>
                  </a:lnTo>
                  <a:lnTo>
                    <a:pt x="1563" y="984"/>
                  </a:lnTo>
                  <a:lnTo>
                    <a:pt x="1568" y="984"/>
                  </a:lnTo>
                  <a:lnTo>
                    <a:pt x="1571" y="984"/>
                  </a:lnTo>
                  <a:lnTo>
                    <a:pt x="1575" y="982"/>
                  </a:lnTo>
                  <a:lnTo>
                    <a:pt x="1575" y="975"/>
                  </a:lnTo>
                  <a:lnTo>
                    <a:pt x="1575" y="971"/>
                  </a:lnTo>
                  <a:lnTo>
                    <a:pt x="1576" y="969"/>
                  </a:lnTo>
                  <a:lnTo>
                    <a:pt x="1577" y="966"/>
                  </a:lnTo>
                  <a:lnTo>
                    <a:pt x="1578" y="962"/>
                  </a:lnTo>
                  <a:lnTo>
                    <a:pt x="1579" y="960"/>
                  </a:lnTo>
                  <a:lnTo>
                    <a:pt x="1584" y="958"/>
                  </a:lnTo>
                  <a:lnTo>
                    <a:pt x="1585" y="956"/>
                  </a:lnTo>
                  <a:lnTo>
                    <a:pt x="1588" y="954"/>
                  </a:lnTo>
                  <a:lnTo>
                    <a:pt x="1591" y="953"/>
                  </a:lnTo>
                  <a:lnTo>
                    <a:pt x="1593" y="953"/>
                  </a:lnTo>
                  <a:lnTo>
                    <a:pt x="1596" y="952"/>
                  </a:lnTo>
                  <a:lnTo>
                    <a:pt x="1599" y="952"/>
                  </a:lnTo>
                  <a:lnTo>
                    <a:pt x="1600" y="952"/>
                  </a:lnTo>
                  <a:lnTo>
                    <a:pt x="1602" y="952"/>
                  </a:lnTo>
                  <a:lnTo>
                    <a:pt x="1606" y="952"/>
                  </a:lnTo>
                  <a:lnTo>
                    <a:pt x="1608" y="951"/>
                  </a:lnTo>
                  <a:lnTo>
                    <a:pt x="1609" y="948"/>
                  </a:lnTo>
                  <a:lnTo>
                    <a:pt x="1611" y="946"/>
                  </a:lnTo>
                  <a:lnTo>
                    <a:pt x="1612" y="943"/>
                  </a:lnTo>
                  <a:lnTo>
                    <a:pt x="1612" y="935"/>
                  </a:lnTo>
                  <a:lnTo>
                    <a:pt x="1615" y="930"/>
                  </a:lnTo>
                  <a:lnTo>
                    <a:pt x="1615" y="926"/>
                  </a:lnTo>
                  <a:lnTo>
                    <a:pt x="1616" y="922"/>
                  </a:lnTo>
                  <a:lnTo>
                    <a:pt x="1618" y="921"/>
                  </a:lnTo>
                  <a:lnTo>
                    <a:pt x="1619" y="920"/>
                  </a:lnTo>
                  <a:lnTo>
                    <a:pt x="1622" y="918"/>
                  </a:lnTo>
                  <a:lnTo>
                    <a:pt x="1627" y="916"/>
                  </a:lnTo>
                  <a:lnTo>
                    <a:pt x="1630" y="916"/>
                  </a:lnTo>
                  <a:lnTo>
                    <a:pt x="1633" y="918"/>
                  </a:lnTo>
                  <a:lnTo>
                    <a:pt x="1636" y="918"/>
                  </a:lnTo>
                  <a:lnTo>
                    <a:pt x="1640" y="915"/>
                  </a:lnTo>
                  <a:lnTo>
                    <a:pt x="1640" y="911"/>
                  </a:lnTo>
                  <a:lnTo>
                    <a:pt x="1641" y="906"/>
                  </a:lnTo>
                  <a:lnTo>
                    <a:pt x="1644" y="905"/>
                  </a:lnTo>
                  <a:lnTo>
                    <a:pt x="1648" y="905"/>
                  </a:lnTo>
                  <a:lnTo>
                    <a:pt x="1650" y="904"/>
                  </a:lnTo>
                  <a:lnTo>
                    <a:pt x="1655" y="904"/>
                  </a:lnTo>
                  <a:lnTo>
                    <a:pt x="1657" y="903"/>
                  </a:lnTo>
                  <a:lnTo>
                    <a:pt x="1660" y="903"/>
                  </a:lnTo>
                  <a:lnTo>
                    <a:pt x="1663" y="902"/>
                  </a:lnTo>
                  <a:lnTo>
                    <a:pt x="1666" y="899"/>
                  </a:lnTo>
                  <a:lnTo>
                    <a:pt x="1670" y="898"/>
                  </a:lnTo>
                  <a:lnTo>
                    <a:pt x="1672" y="898"/>
                  </a:lnTo>
                  <a:lnTo>
                    <a:pt x="1675" y="898"/>
                  </a:lnTo>
                  <a:lnTo>
                    <a:pt x="1679" y="897"/>
                  </a:lnTo>
                  <a:lnTo>
                    <a:pt x="1683" y="897"/>
                  </a:lnTo>
                  <a:lnTo>
                    <a:pt x="1688" y="897"/>
                  </a:lnTo>
                  <a:lnTo>
                    <a:pt x="1692" y="896"/>
                  </a:lnTo>
                  <a:lnTo>
                    <a:pt x="1695" y="895"/>
                  </a:lnTo>
                  <a:lnTo>
                    <a:pt x="1698" y="891"/>
                  </a:lnTo>
                  <a:lnTo>
                    <a:pt x="1702" y="889"/>
                  </a:lnTo>
                  <a:lnTo>
                    <a:pt x="1706" y="889"/>
                  </a:lnTo>
                  <a:lnTo>
                    <a:pt x="1713" y="886"/>
                  </a:lnTo>
                  <a:lnTo>
                    <a:pt x="1714" y="884"/>
                  </a:lnTo>
                  <a:lnTo>
                    <a:pt x="1714" y="882"/>
                  </a:lnTo>
                  <a:lnTo>
                    <a:pt x="1714" y="880"/>
                  </a:lnTo>
                  <a:lnTo>
                    <a:pt x="1715" y="876"/>
                  </a:lnTo>
                  <a:lnTo>
                    <a:pt x="1716" y="874"/>
                  </a:lnTo>
                  <a:lnTo>
                    <a:pt x="1716" y="872"/>
                  </a:lnTo>
                  <a:lnTo>
                    <a:pt x="1715" y="868"/>
                  </a:lnTo>
                  <a:lnTo>
                    <a:pt x="1713" y="868"/>
                  </a:lnTo>
                  <a:lnTo>
                    <a:pt x="1711" y="868"/>
                  </a:lnTo>
                  <a:lnTo>
                    <a:pt x="1704" y="872"/>
                  </a:lnTo>
                  <a:lnTo>
                    <a:pt x="1694" y="879"/>
                  </a:lnTo>
                  <a:lnTo>
                    <a:pt x="1689" y="881"/>
                  </a:lnTo>
                  <a:lnTo>
                    <a:pt x="1687" y="882"/>
                  </a:lnTo>
                  <a:lnTo>
                    <a:pt x="1683" y="882"/>
                  </a:lnTo>
                  <a:lnTo>
                    <a:pt x="1680" y="882"/>
                  </a:lnTo>
                  <a:lnTo>
                    <a:pt x="1676" y="879"/>
                  </a:lnTo>
                  <a:lnTo>
                    <a:pt x="1673" y="878"/>
                  </a:lnTo>
                  <a:lnTo>
                    <a:pt x="1672" y="875"/>
                  </a:lnTo>
                  <a:lnTo>
                    <a:pt x="1671" y="873"/>
                  </a:lnTo>
                  <a:lnTo>
                    <a:pt x="1668" y="872"/>
                  </a:lnTo>
                  <a:lnTo>
                    <a:pt x="1665" y="873"/>
                  </a:lnTo>
                  <a:lnTo>
                    <a:pt x="1663" y="875"/>
                  </a:lnTo>
                  <a:lnTo>
                    <a:pt x="1660" y="875"/>
                  </a:lnTo>
                  <a:lnTo>
                    <a:pt x="1655" y="873"/>
                  </a:lnTo>
                  <a:lnTo>
                    <a:pt x="1651" y="875"/>
                  </a:lnTo>
                  <a:lnTo>
                    <a:pt x="1648" y="878"/>
                  </a:lnTo>
                  <a:lnTo>
                    <a:pt x="1644" y="879"/>
                  </a:lnTo>
                  <a:lnTo>
                    <a:pt x="1641" y="879"/>
                  </a:lnTo>
                  <a:lnTo>
                    <a:pt x="1638" y="878"/>
                  </a:lnTo>
                  <a:lnTo>
                    <a:pt x="1633" y="878"/>
                  </a:lnTo>
                  <a:lnTo>
                    <a:pt x="1630" y="880"/>
                  </a:lnTo>
                  <a:lnTo>
                    <a:pt x="1627" y="881"/>
                  </a:lnTo>
                  <a:lnTo>
                    <a:pt x="1624" y="882"/>
                  </a:lnTo>
                  <a:lnTo>
                    <a:pt x="1624" y="880"/>
                  </a:lnTo>
                  <a:lnTo>
                    <a:pt x="1620" y="880"/>
                  </a:lnTo>
                  <a:lnTo>
                    <a:pt x="1618" y="882"/>
                  </a:lnTo>
                  <a:lnTo>
                    <a:pt x="1617" y="884"/>
                  </a:lnTo>
                  <a:lnTo>
                    <a:pt x="1616" y="887"/>
                  </a:lnTo>
                  <a:lnTo>
                    <a:pt x="1614" y="887"/>
                  </a:lnTo>
                  <a:lnTo>
                    <a:pt x="1614" y="886"/>
                  </a:lnTo>
                  <a:lnTo>
                    <a:pt x="1611" y="884"/>
                  </a:lnTo>
                  <a:lnTo>
                    <a:pt x="1608" y="884"/>
                  </a:lnTo>
                  <a:lnTo>
                    <a:pt x="1604" y="886"/>
                  </a:lnTo>
                  <a:lnTo>
                    <a:pt x="1600" y="889"/>
                  </a:lnTo>
                  <a:lnTo>
                    <a:pt x="1595" y="892"/>
                  </a:lnTo>
                  <a:lnTo>
                    <a:pt x="1591" y="894"/>
                  </a:lnTo>
                  <a:lnTo>
                    <a:pt x="1587" y="891"/>
                  </a:lnTo>
                  <a:lnTo>
                    <a:pt x="1587" y="886"/>
                  </a:lnTo>
                  <a:lnTo>
                    <a:pt x="1584" y="878"/>
                  </a:lnTo>
                  <a:lnTo>
                    <a:pt x="1580" y="872"/>
                  </a:lnTo>
                  <a:lnTo>
                    <a:pt x="1575" y="865"/>
                  </a:lnTo>
                  <a:lnTo>
                    <a:pt x="1572" y="858"/>
                  </a:lnTo>
                  <a:lnTo>
                    <a:pt x="1572" y="856"/>
                  </a:lnTo>
                  <a:lnTo>
                    <a:pt x="1575" y="854"/>
                  </a:lnTo>
                  <a:lnTo>
                    <a:pt x="1577" y="854"/>
                  </a:lnTo>
                  <a:lnTo>
                    <a:pt x="1580" y="852"/>
                  </a:lnTo>
                  <a:lnTo>
                    <a:pt x="1585" y="852"/>
                  </a:lnTo>
                  <a:lnTo>
                    <a:pt x="1590" y="851"/>
                  </a:lnTo>
                  <a:lnTo>
                    <a:pt x="1595" y="851"/>
                  </a:lnTo>
                  <a:lnTo>
                    <a:pt x="1600" y="847"/>
                  </a:lnTo>
                  <a:lnTo>
                    <a:pt x="1600" y="843"/>
                  </a:lnTo>
                  <a:lnTo>
                    <a:pt x="1600" y="841"/>
                  </a:lnTo>
                  <a:lnTo>
                    <a:pt x="1599" y="838"/>
                  </a:lnTo>
                  <a:lnTo>
                    <a:pt x="1598" y="834"/>
                  </a:lnTo>
                  <a:lnTo>
                    <a:pt x="1594" y="831"/>
                  </a:lnTo>
                  <a:lnTo>
                    <a:pt x="1592" y="827"/>
                  </a:lnTo>
                  <a:lnTo>
                    <a:pt x="1588" y="824"/>
                  </a:lnTo>
                  <a:lnTo>
                    <a:pt x="1587" y="822"/>
                  </a:lnTo>
                  <a:lnTo>
                    <a:pt x="1582" y="815"/>
                  </a:lnTo>
                  <a:lnTo>
                    <a:pt x="1579" y="811"/>
                  </a:lnTo>
                  <a:lnTo>
                    <a:pt x="1576" y="808"/>
                  </a:lnTo>
                  <a:lnTo>
                    <a:pt x="1575" y="806"/>
                  </a:lnTo>
                  <a:lnTo>
                    <a:pt x="1575" y="801"/>
                  </a:lnTo>
                  <a:lnTo>
                    <a:pt x="1575" y="799"/>
                  </a:lnTo>
                  <a:lnTo>
                    <a:pt x="1576" y="798"/>
                  </a:lnTo>
                  <a:lnTo>
                    <a:pt x="1579" y="796"/>
                  </a:lnTo>
                  <a:lnTo>
                    <a:pt x="1582" y="796"/>
                  </a:lnTo>
                  <a:lnTo>
                    <a:pt x="1583" y="795"/>
                  </a:lnTo>
                  <a:lnTo>
                    <a:pt x="1585" y="795"/>
                  </a:lnTo>
                  <a:lnTo>
                    <a:pt x="1591" y="796"/>
                  </a:lnTo>
                  <a:lnTo>
                    <a:pt x="1601" y="796"/>
                  </a:lnTo>
                  <a:lnTo>
                    <a:pt x="1604" y="796"/>
                  </a:lnTo>
                  <a:lnTo>
                    <a:pt x="1609" y="796"/>
                  </a:lnTo>
                  <a:lnTo>
                    <a:pt x="1612" y="796"/>
                  </a:lnTo>
                  <a:lnTo>
                    <a:pt x="1618" y="793"/>
                  </a:lnTo>
                  <a:lnTo>
                    <a:pt x="1622" y="791"/>
                  </a:lnTo>
                  <a:lnTo>
                    <a:pt x="1624" y="788"/>
                  </a:lnTo>
                  <a:lnTo>
                    <a:pt x="1627" y="784"/>
                  </a:lnTo>
                  <a:lnTo>
                    <a:pt x="1630" y="780"/>
                  </a:lnTo>
                  <a:lnTo>
                    <a:pt x="1634" y="774"/>
                  </a:lnTo>
                  <a:lnTo>
                    <a:pt x="1638" y="770"/>
                  </a:lnTo>
                  <a:lnTo>
                    <a:pt x="1640" y="768"/>
                  </a:lnTo>
                  <a:lnTo>
                    <a:pt x="1643" y="767"/>
                  </a:lnTo>
                  <a:lnTo>
                    <a:pt x="1647" y="764"/>
                  </a:lnTo>
                  <a:lnTo>
                    <a:pt x="1650" y="762"/>
                  </a:lnTo>
                  <a:lnTo>
                    <a:pt x="1655" y="761"/>
                  </a:lnTo>
                  <a:lnTo>
                    <a:pt x="1659" y="761"/>
                  </a:lnTo>
                  <a:lnTo>
                    <a:pt x="1663" y="761"/>
                  </a:lnTo>
                  <a:lnTo>
                    <a:pt x="1665" y="763"/>
                  </a:lnTo>
                  <a:lnTo>
                    <a:pt x="1670" y="763"/>
                  </a:lnTo>
                  <a:lnTo>
                    <a:pt x="1670" y="760"/>
                  </a:lnTo>
                  <a:lnTo>
                    <a:pt x="1668" y="755"/>
                  </a:lnTo>
                  <a:lnTo>
                    <a:pt x="1667" y="752"/>
                  </a:lnTo>
                  <a:lnTo>
                    <a:pt x="1665" y="751"/>
                  </a:lnTo>
                  <a:lnTo>
                    <a:pt x="1663" y="750"/>
                  </a:lnTo>
                  <a:lnTo>
                    <a:pt x="1660" y="748"/>
                  </a:lnTo>
                  <a:lnTo>
                    <a:pt x="1660" y="746"/>
                  </a:lnTo>
                  <a:lnTo>
                    <a:pt x="1660" y="744"/>
                  </a:lnTo>
                  <a:lnTo>
                    <a:pt x="1666" y="740"/>
                  </a:lnTo>
                  <a:lnTo>
                    <a:pt x="1670" y="738"/>
                  </a:lnTo>
                  <a:lnTo>
                    <a:pt x="1672" y="738"/>
                  </a:lnTo>
                  <a:lnTo>
                    <a:pt x="1675" y="736"/>
                  </a:lnTo>
                  <a:lnTo>
                    <a:pt x="1676" y="734"/>
                  </a:lnTo>
                  <a:lnTo>
                    <a:pt x="1675" y="730"/>
                  </a:lnTo>
                  <a:lnTo>
                    <a:pt x="1673" y="729"/>
                  </a:lnTo>
                  <a:lnTo>
                    <a:pt x="1671" y="728"/>
                  </a:lnTo>
                  <a:lnTo>
                    <a:pt x="1668" y="726"/>
                  </a:lnTo>
                  <a:lnTo>
                    <a:pt x="1667" y="723"/>
                  </a:lnTo>
                  <a:lnTo>
                    <a:pt x="1666" y="719"/>
                  </a:lnTo>
                  <a:lnTo>
                    <a:pt x="1666" y="714"/>
                  </a:lnTo>
                  <a:lnTo>
                    <a:pt x="1665" y="711"/>
                  </a:lnTo>
                  <a:lnTo>
                    <a:pt x="1664" y="707"/>
                  </a:lnTo>
                  <a:lnTo>
                    <a:pt x="1659" y="703"/>
                  </a:lnTo>
                  <a:lnTo>
                    <a:pt x="1658" y="700"/>
                  </a:lnTo>
                  <a:lnTo>
                    <a:pt x="1657" y="697"/>
                  </a:lnTo>
                  <a:lnTo>
                    <a:pt x="1656" y="696"/>
                  </a:lnTo>
                  <a:lnTo>
                    <a:pt x="1654" y="694"/>
                  </a:lnTo>
                  <a:lnTo>
                    <a:pt x="1652" y="692"/>
                  </a:lnTo>
                  <a:lnTo>
                    <a:pt x="1651" y="689"/>
                  </a:lnTo>
                  <a:lnTo>
                    <a:pt x="1651" y="684"/>
                  </a:lnTo>
                  <a:lnTo>
                    <a:pt x="1649" y="681"/>
                  </a:lnTo>
                  <a:lnTo>
                    <a:pt x="1647" y="678"/>
                  </a:lnTo>
                  <a:lnTo>
                    <a:pt x="1644" y="675"/>
                  </a:lnTo>
                  <a:lnTo>
                    <a:pt x="1642" y="674"/>
                  </a:lnTo>
                  <a:lnTo>
                    <a:pt x="1641" y="671"/>
                  </a:lnTo>
                  <a:lnTo>
                    <a:pt x="1640" y="666"/>
                  </a:lnTo>
                  <a:lnTo>
                    <a:pt x="1636" y="663"/>
                  </a:lnTo>
                  <a:lnTo>
                    <a:pt x="1636" y="657"/>
                  </a:lnTo>
                  <a:lnTo>
                    <a:pt x="1636" y="654"/>
                  </a:lnTo>
                  <a:lnTo>
                    <a:pt x="1639" y="652"/>
                  </a:lnTo>
                  <a:lnTo>
                    <a:pt x="1640" y="650"/>
                  </a:lnTo>
                  <a:lnTo>
                    <a:pt x="1641" y="649"/>
                  </a:lnTo>
                  <a:lnTo>
                    <a:pt x="1642" y="648"/>
                  </a:lnTo>
                  <a:lnTo>
                    <a:pt x="1644" y="647"/>
                  </a:lnTo>
                  <a:lnTo>
                    <a:pt x="1647" y="647"/>
                  </a:lnTo>
                  <a:lnTo>
                    <a:pt x="1649" y="647"/>
                  </a:lnTo>
                  <a:lnTo>
                    <a:pt x="1651" y="648"/>
                  </a:lnTo>
                  <a:lnTo>
                    <a:pt x="1654" y="649"/>
                  </a:lnTo>
                  <a:lnTo>
                    <a:pt x="1657" y="650"/>
                  </a:lnTo>
                  <a:lnTo>
                    <a:pt x="1659" y="651"/>
                  </a:lnTo>
                  <a:lnTo>
                    <a:pt x="1665" y="656"/>
                  </a:lnTo>
                  <a:lnTo>
                    <a:pt x="1667" y="657"/>
                  </a:lnTo>
                  <a:lnTo>
                    <a:pt x="1672" y="660"/>
                  </a:lnTo>
                  <a:lnTo>
                    <a:pt x="1675" y="660"/>
                  </a:lnTo>
                  <a:lnTo>
                    <a:pt x="1679" y="659"/>
                  </a:lnTo>
                  <a:lnTo>
                    <a:pt x="1682" y="658"/>
                  </a:lnTo>
                  <a:lnTo>
                    <a:pt x="1684" y="655"/>
                  </a:lnTo>
                  <a:lnTo>
                    <a:pt x="1686" y="654"/>
                  </a:lnTo>
                  <a:lnTo>
                    <a:pt x="1687" y="651"/>
                  </a:lnTo>
                  <a:lnTo>
                    <a:pt x="1690" y="648"/>
                  </a:lnTo>
                  <a:lnTo>
                    <a:pt x="1695" y="647"/>
                  </a:lnTo>
                  <a:lnTo>
                    <a:pt x="1698" y="646"/>
                  </a:lnTo>
                  <a:lnTo>
                    <a:pt x="1702" y="646"/>
                  </a:lnTo>
                  <a:lnTo>
                    <a:pt x="1705" y="644"/>
                  </a:lnTo>
                  <a:lnTo>
                    <a:pt x="1708" y="644"/>
                  </a:lnTo>
                  <a:lnTo>
                    <a:pt x="1710" y="643"/>
                  </a:lnTo>
                  <a:lnTo>
                    <a:pt x="1713" y="641"/>
                  </a:lnTo>
                  <a:lnTo>
                    <a:pt x="1714" y="638"/>
                  </a:lnTo>
                  <a:lnTo>
                    <a:pt x="1712" y="635"/>
                  </a:lnTo>
                  <a:lnTo>
                    <a:pt x="1708" y="633"/>
                  </a:lnTo>
                  <a:lnTo>
                    <a:pt x="1705" y="633"/>
                  </a:lnTo>
                  <a:lnTo>
                    <a:pt x="1704" y="633"/>
                  </a:lnTo>
                  <a:lnTo>
                    <a:pt x="1702" y="633"/>
                  </a:lnTo>
                  <a:lnTo>
                    <a:pt x="1696" y="631"/>
                  </a:lnTo>
                  <a:lnTo>
                    <a:pt x="1695" y="628"/>
                  </a:lnTo>
                  <a:lnTo>
                    <a:pt x="1692" y="626"/>
                  </a:lnTo>
                  <a:lnTo>
                    <a:pt x="1691" y="626"/>
                  </a:lnTo>
                  <a:lnTo>
                    <a:pt x="1687" y="624"/>
                  </a:lnTo>
                  <a:lnTo>
                    <a:pt x="1686" y="622"/>
                  </a:lnTo>
                  <a:lnTo>
                    <a:pt x="1684" y="622"/>
                  </a:lnTo>
                  <a:lnTo>
                    <a:pt x="1682" y="623"/>
                  </a:lnTo>
                  <a:lnTo>
                    <a:pt x="1681" y="626"/>
                  </a:lnTo>
                  <a:lnTo>
                    <a:pt x="1681" y="627"/>
                  </a:lnTo>
                  <a:lnTo>
                    <a:pt x="1680" y="630"/>
                  </a:lnTo>
                  <a:lnTo>
                    <a:pt x="1678" y="630"/>
                  </a:lnTo>
                  <a:lnTo>
                    <a:pt x="1674" y="630"/>
                  </a:lnTo>
                  <a:lnTo>
                    <a:pt x="1672" y="630"/>
                  </a:lnTo>
                  <a:lnTo>
                    <a:pt x="1671" y="628"/>
                  </a:lnTo>
                  <a:lnTo>
                    <a:pt x="1670" y="627"/>
                  </a:lnTo>
                  <a:lnTo>
                    <a:pt x="1666" y="626"/>
                  </a:lnTo>
                  <a:lnTo>
                    <a:pt x="1664" y="624"/>
                  </a:lnTo>
                  <a:lnTo>
                    <a:pt x="1662" y="623"/>
                  </a:lnTo>
                  <a:lnTo>
                    <a:pt x="1659" y="620"/>
                  </a:lnTo>
                  <a:lnTo>
                    <a:pt x="1657" y="619"/>
                  </a:lnTo>
                  <a:lnTo>
                    <a:pt x="1656" y="617"/>
                  </a:lnTo>
                  <a:lnTo>
                    <a:pt x="1655" y="616"/>
                  </a:lnTo>
                  <a:lnTo>
                    <a:pt x="1652" y="614"/>
                  </a:lnTo>
                  <a:lnTo>
                    <a:pt x="1651" y="609"/>
                  </a:lnTo>
                  <a:lnTo>
                    <a:pt x="1650" y="606"/>
                  </a:lnTo>
                  <a:lnTo>
                    <a:pt x="1648" y="604"/>
                  </a:lnTo>
                  <a:lnTo>
                    <a:pt x="1647" y="602"/>
                  </a:lnTo>
                  <a:lnTo>
                    <a:pt x="1644" y="600"/>
                  </a:lnTo>
                  <a:lnTo>
                    <a:pt x="1643" y="595"/>
                  </a:lnTo>
                  <a:lnTo>
                    <a:pt x="1642" y="591"/>
                  </a:lnTo>
                  <a:lnTo>
                    <a:pt x="1644" y="586"/>
                  </a:lnTo>
                  <a:lnTo>
                    <a:pt x="1648" y="584"/>
                  </a:lnTo>
                  <a:lnTo>
                    <a:pt x="1650" y="583"/>
                  </a:lnTo>
                  <a:lnTo>
                    <a:pt x="1654" y="583"/>
                  </a:lnTo>
                  <a:lnTo>
                    <a:pt x="1656" y="583"/>
                  </a:lnTo>
                  <a:lnTo>
                    <a:pt x="1657" y="584"/>
                  </a:lnTo>
                  <a:lnTo>
                    <a:pt x="1659" y="584"/>
                  </a:lnTo>
                  <a:lnTo>
                    <a:pt x="1660" y="586"/>
                  </a:lnTo>
                  <a:lnTo>
                    <a:pt x="1662" y="590"/>
                  </a:lnTo>
                  <a:lnTo>
                    <a:pt x="1663" y="591"/>
                  </a:lnTo>
                  <a:lnTo>
                    <a:pt x="1666" y="593"/>
                  </a:lnTo>
                  <a:lnTo>
                    <a:pt x="1672" y="595"/>
                  </a:lnTo>
                  <a:lnTo>
                    <a:pt x="1675" y="599"/>
                  </a:lnTo>
                  <a:lnTo>
                    <a:pt x="1678" y="602"/>
                  </a:lnTo>
                  <a:lnTo>
                    <a:pt x="1680" y="603"/>
                  </a:lnTo>
                  <a:lnTo>
                    <a:pt x="1683" y="604"/>
                  </a:lnTo>
                  <a:lnTo>
                    <a:pt x="1687" y="603"/>
                  </a:lnTo>
                  <a:lnTo>
                    <a:pt x="1689" y="603"/>
                  </a:lnTo>
                  <a:lnTo>
                    <a:pt x="1691" y="601"/>
                  </a:lnTo>
                  <a:lnTo>
                    <a:pt x="1692" y="599"/>
                  </a:lnTo>
                  <a:lnTo>
                    <a:pt x="1695" y="595"/>
                  </a:lnTo>
                  <a:lnTo>
                    <a:pt x="1696" y="592"/>
                  </a:lnTo>
                  <a:lnTo>
                    <a:pt x="1698" y="588"/>
                  </a:lnTo>
                  <a:lnTo>
                    <a:pt x="1700" y="583"/>
                  </a:lnTo>
                  <a:lnTo>
                    <a:pt x="1702" y="580"/>
                  </a:lnTo>
                  <a:lnTo>
                    <a:pt x="1703" y="577"/>
                  </a:lnTo>
                  <a:lnTo>
                    <a:pt x="1706" y="576"/>
                  </a:lnTo>
                  <a:lnTo>
                    <a:pt x="1711" y="574"/>
                  </a:lnTo>
                  <a:lnTo>
                    <a:pt x="1714" y="572"/>
                  </a:lnTo>
                  <a:lnTo>
                    <a:pt x="1720" y="571"/>
                  </a:lnTo>
                  <a:lnTo>
                    <a:pt x="1723" y="572"/>
                  </a:lnTo>
                  <a:lnTo>
                    <a:pt x="1728" y="574"/>
                  </a:lnTo>
                  <a:lnTo>
                    <a:pt x="1730" y="574"/>
                  </a:lnTo>
                  <a:lnTo>
                    <a:pt x="1734" y="574"/>
                  </a:lnTo>
                  <a:lnTo>
                    <a:pt x="1736" y="574"/>
                  </a:lnTo>
                  <a:lnTo>
                    <a:pt x="1738" y="572"/>
                  </a:lnTo>
                  <a:lnTo>
                    <a:pt x="1739" y="569"/>
                  </a:lnTo>
                  <a:lnTo>
                    <a:pt x="1739" y="567"/>
                  </a:lnTo>
                  <a:lnTo>
                    <a:pt x="1740" y="562"/>
                  </a:lnTo>
                  <a:lnTo>
                    <a:pt x="1740" y="559"/>
                  </a:lnTo>
                  <a:lnTo>
                    <a:pt x="1742" y="554"/>
                  </a:lnTo>
                  <a:lnTo>
                    <a:pt x="1743" y="552"/>
                  </a:lnTo>
                  <a:lnTo>
                    <a:pt x="1744" y="548"/>
                  </a:lnTo>
                  <a:lnTo>
                    <a:pt x="1746" y="546"/>
                  </a:lnTo>
                  <a:lnTo>
                    <a:pt x="1747" y="543"/>
                  </a:lnTo>
                  <a:lnTo>
                    <a:pt x="1748" y="540"/>
                  </a:lnTo>
                  <a:lnTo>
                    <a:pt x="1751" y="538"/>
                  </a:lnTo>
                  <a:lnTo>
                    <a:pt x="1752" y="537"/>
                  </a:lnTo>
                  <a:lnTo>
                    <a:pt x="1754" y="536"/>
                  </a:lnTo>
                  <a:lnTo>
                    <a:pt x="1755" y="534"/>
                  </a:lnTo>
                  <a:lnTo>
                    <a:pt x="1755" y="531"/>
                  </a:lnTo>
                  <a:lnTo>
                    <a:pt x="1755" y="528"/>
                  </a:lnTo>
                  <a:lnTo>
                    <a:pt x="1755" y="526"/>
                  </a:lnTo>
                  <a:lnTo>
                    <a:pt x="1755" y="520"/>
                  </a:lnTo>
                  <a:lnTo>
                    <a:pt x="1755" y="518"/>
                  </a:lnTo>
                  <a:lnTo>
                    <a:pt x="1756" y="516"/>
                  </a:lnTo>
                  <a:lnTo>
                    <a:pt x="1759" y="514"/>
                  </a:lnTo>
                  <a:lnTo>
                    <a:pt x="1759" y="513"/>
                  </a:lnTo>
                  <a:lnTo>
                    <a:pt x="1760" y="511"/>
                  </a:lnTo>
                  <a:lnTo>
                    <a:pt x="1760" y="508"/>
                  </a:lnTo>
                  <a:lnTo>
                    <a:pt x="1759" y="507"/>
                  </a:lnTo>
                  <a:lnTo>
                    <a:pt x="1760" y="505"/>
                  </a:lnTo>
                  <a:lnTo>
                    <a:pt x="1759" y="503"/>
                  </a:lnTo>
                  <a:lnTo>
                    <a:pt x="1758" y="502"/>
                  </a:lnTo>
                  <a:lnTo>
                    <a:pt x="1754" y="500"/>
                  </a:lnTo>
                  <a:lnTo>
                    <a:pt x="1753" y="499"/>
                  </a:lnTo>
                  <a:lnTo>
                    <a:pt x="1753" y="498"/>
                  </a:lnTo>
                  <a:lnTo>
                    <a:pt x="1750" y="497"/>
                  </a:lnTo>
                  <a:lnTo>
                    <a:pt x="1747" y="497"/>
                  </a:lnTo>
                  <a:lnTo>
                    <a:pt x="1744" y="497"/>
                  </a:lnTo>
                  <a:lnTo>
                    <a:pt x="1739" y="498"/>
                  </a:lnTo>
                  <a:lnTo>
                    <a:pt x="1736" y="497"/>
                  </a:lnTo>
                  <a:lnTo>
                    <a:pt x="1734" y="496"/>
                  </a:lnTo>
                  <a:lnTo>
                    <a:pt x="1732" y="492"/>
                  </a:lnTo>
                  <a:lnTo>
                    <a:pt x="1730" y="490"/>
                  </a:lnTo>
                  <a:lnTo>
                    <a:pt x="1728" y="487"/>
                  </a:lnTo>
                  <a:lnTo>
                    <a:pt x="1727" y="483"/>
                  </a:lnTo>
                  <a:lnTo>
                    <a:pt x="1726" y="481"/>
                  </a:lnTo>
                  <a:lnTo>
                    <a:pt x="1724" y="478"/>
                  </a:lnTo>
                  <a:lnTo>
                    <a:pt x="1722" y="474"/>
                  </a:lnTo>
                  <a:lnTo>
                    <a:pt x="1721" y="471"/>
                  </a:lnTo>
                  <a:lnTo>
                    <a:pt x="1720" y="468"/>
                  </a:lnTo>
                  <a:lnTo>
                    <a:pt x="1720" y="465"/>
                  </a:lnTo>
                  <a:lnTo>
                    <a:pt x="1720" y="459"/>
                  </a:lnTo>
                  <a:lnTo>
                    <a:pt x="1722" y="454"/>
                  </a:lnTo>
                  <a:lnTo>
                    <a:pt x="1718" y="454"/>
                  </a:lnTo>
                  <a:lnTo>
                    <a:pt x="1715" y="452"/>
                  </a:lnTo>
                  <a:lnTo>
                    <a:pt x="1713" y="450"/>
                  </a:lnTo>
                  <a:lnTo>
                    <a:pt x="1710" y="449"/>
                  </a:lnTo>
                  <a:lnTo>
                    <a:pt x="1708" y="446"/>
                  </a:lnTo>
                  <a:lnTo>
                    <a:pt x="1707" y="443"/>
                  </a:lnTo>
                  <a:lnTo>
                    <a:pt x="1705" y="441"/>
                  </a:lnTo>
                  <a:lnTo>
                    <a:pt x="1704" y="436"/>
                  </a:lnTo>
                  <a:lnTo>
                    <a:pt x="1705" y="432"/>
                  </a:lnTo>
                  <a:lnTo>
                    <a:pt x="1705" y="428"/>
                  </a:lnTo>
                  <a:lnTo>
                    <a:pt x="1704" y="426"/>
                  </a:lnTo>
                  <a:lnTo>
                    <a:pt x="1702" y="425"/>
                  </a:lnTo>
                  <a:lnTo>
                    <a:pt x="1698" y="426"/>
                  </a:lnTo>
                  <a:lnTo>
                    <a:pt x="1696" y="431"/>
                  </a:lnTo>
                  <a:lnTo>
                    <a:pt x="1691" y="435"/>
                  </a:lnTo>
                  <a:lnTo>
                    <a:pt x="1687" y="435"/>
                  </a:lnTo>
                  <a:lnTo>
                    <a:pt x="1683" y="434"/>
                  </a:lnTo>
                  <a:lnTo>
                    <a:pt x="1680" y="433"/>
                  </a:lnTo>
                  <a:lnTo>
                    <a:pt x="1678" y="431"/>
                  </a:lnTo>
                  <a:lnTo>
                    <a:pt x="1672" y="427"/>
                  </a:lnTo>
                  <a:lnTo>
                    <a:pt x="1667" y="426"/>
                  </a:lnTo>
                  <a:lnTo>
                    <a:pt x="1665" y="423"/>
                  </a:lnTo>
                  <a:lnTo>
                    <a:pt x="1664" y="418"/>
                  </a:lnTo>
                  <a:lnTo>
                    <a:pt x="1667" y="412"/>
                  </a:lnTo>
                  <a:lnTo>
                    <a:pt x="1670" y="408"/>
                  </a:lnTo>
                  <a:lnTo>
                    <a:pt x="1668" y="404"/>
                  </a:lnTo>
                  <a:lnTo>
                    <a:pt x="1667" y="401"/>
                  </a:lnTo>
                  <a:lnTo>
                    <a:pt x="1665" y="399"/>
                  </a:lnTo>
                  <a:lnTo>
                    <a:pt x="1662" y="396"/>
                  </a:lnTo>
                  <a:lnTo>
                    <a:pt x="1659" y="394"/>
                  </a:lnTo>
                  <a:lnTo>
                    <a:pt x="1656" y="393"/>
                  </a:lnTo>
                  <a:lnTo>
                    <a:pt x="1651" y="392"/>
                  </a:lnTo>
                  <a:lnTo>
                    <a:pt x="1648" y="391"/>
                  </a:lnTo>
                  <a:lnTo>
                    <a:pt x="1646" y="386"/>
                  </a:lnTo>
                  <a:lnTo>
                    <a:pt x="1646" y="384"/>
                  </a:lnTo>
                  <a:lnTo>
                    <a:pt x="1646" y="380"/>
                  </a:lnTo>
                  <a:lnTo>
                    <a:pt x="1646" y="378"/>
                  </a:lnTo>
                  <a:lnTo>
                    <a:pt x="1643" y="376"/>
                  </a:lnTo>
                  <a:lnTo>
                    <a:pt x="1642" y="376"/>
                  </a:lnTo>
                  <a:lnTo>
                    <a:pt x="1640" y="376"/>
                  </a:lnTo>
                  <a:lnTo>
                    <a:pt x="1636" y="377"/>
                  </a:lnTo>
                  <a:lnTo>
                    <a:pt x="1632" y="377"/>
                  </a:lnTo>
                  <a:lnTo>
                    <a:pt x="1630" y="376"/>
                  </a:lnTo>
                  <a:lnTo>
                    <a:pt x="1630" y="374"/>
                  </a:lnTo>
                  <a:lnTo>
                    <a:pt x="1630" y="371"/>
                  </a:lnTo>
                  <a:lnTo>
                    <a:pt x="1631" y="367"/>
                  </a:lnTo>
                  <a:lnTo>
                    <a:pt x="1630" y="363"/>
                  </a:lnTo>
                  <a:lnTo>
                    <a:pt x="1630" y="361"/>
                  </a:lnTo>
                  <a:lnTo>
                    <a:pt x="1630" y="360"/>
                  </a:lnTo>
                  <a:lnTo>
                    <a:pt x="1627" y="358"/>
                  </a:lnTo>
                  <a:lnTo>
                    <a:pt x="1625" y="358"/>
                  </a:lnTo>
                  <a:lnTo>
                    <a:pt x="1624" y="360"/>
                  </a:lnTo>
                  <a:lnTo>
                    <a:pt x="1620" y="368"/>
                  </a:lnTo>
                  <a:lnTo>
                    <a:pt x="1619" y="374"/>
                  </a:lnTo>
                  <a:lnTo>
                    <a:pt x="1618" y="375"/>
                  </a:lnTo>
                  <a:lnTo>
                    <a:pt x="1617" y="376"/>
                  </a:lnTo>
                  <a:lnTo>
                    <a:pt x="1612" y="375"/>
                  </a:lnTo>
                  <a:lnTo>
                    <a:pt x="1609" y="375"/>
                  </a:lnTo>
                  <a:lnTo>
                    <a:pt x="1607" y="375"/>
                  </a:lnTo>
                  <a:lnTo>
                    <a:pt x="1603" y="375"/>
                  </a:lnTo>
                  <a:lnTo>
                    <a:pt x="1600" y="374"/>
                  </a:lnTo>
                  <a:lnTo>
                    <a:pt x="1598" y="371"/>
                  </a:lnTo>
                  <a:lnTo>
                    <a:pt x="1596" y="369"/>
                  </a:lnTo>
                  <a:lnTo>
                    <a:pt x="1593" y="364"/>
                  </a:lnTo>
                  <a:lnTo>
                    <a:pt x="1592" y="358"/>
                  </a:lnTo>
                  <a:lnTo>
                    <a:pt x="1592" y="354"/>
                  </a:lnTo>
                  <a:lnTo>
                    <a:pt x="1590" y="352"/>
                  </a:lnTo>
                  <a:lnTo>
                    <a:pt x="1586" y="352"/>
                  </a:lnTo>
                  <a:lnTo>
                    <a:pt x="1583" y="352"/>
                  </a:lnTo>
                  <a:lnTo>
                    <a:pt x="1582" y="352"/>
                  </a:lnTo>
                  <a:lnTo>
                    <a:pt x="1578" y="352"/>
                  </a:lnTo>
                  <a:lnTo>
                    <a:pt x="1575" y="353"/>
                  </a:lnTo>
                  <a:lnTo>
                    <a:pt x="1572" y="353"/>
                  </a:lnTo>
                  <a:lnTo>
                    <a:pt x="1569" y="352"/>
                  </a:lnTo>
                  <a:lnTo>
                    <a:pt x="1567" y="352"/>
                  </a:lnTo>
                  <a:lnTo>
                    <a:pt x="1564" y="352"/>
                  </a:lnTo>
                  <a:lnTo>
                    <a:pt x="1563" y="351"/>
                  </a:lnTo>
                  <a:lnTo>
                    <a:pt x="1561" y="353"/>
                  </a:lnTo>
                  <a:lnTo>
                    <a:pt x="1559" y="358"/>
                  </a:lnTo>
                  <a:lnTo>
                    <a:pt x="1556" y="358"/>
                  </a:lnTo>
                  <a:lnTo>
                    <a:pt x="1554" y="358"/>
                  </a:lnTo>
                  <a:lnTo>
                    <a:pt x="1552" y="355"/>
                  </a:lnTo>
                  <a:lnTo>
                    <a:pt x="1551" y="353"/>
                  </a:lnTo>
                  <a:lnTo>
                    <a:pt x="1547" y="352"/>
                  </a:lnTo>
                  <a:lnTo>
                    <a:pt x="1546" y="351"/>
                  </a:lnTo>
                  <a:lnTo>
                    <a:pt x="1543" y="351"/>
                  </a:lnTo>
                  <a:lnTo>
                    <a:pt x="1539" y="352"/>
                  </a:lnTo>
                  <a:lnTo>
                    <a:pt x="1535" y="352"/>
                  </a:lnTo>
                  <a:lnTo>
                    <a:pt x="1531" y="348"/>
                  </a:lnTo>
                  <a:lnTo>
                    <a:pt x="1530" y="346"/>
                  </a:lnTo>
                  <a:lnTo>
                    <a:pt x="1531" y="339"/>
                  </a:lnTo>
                  <a:lnTo>
                    <a:pt x="1532" y="338"/>
                  </a:lnTo>
                  <a:lnTo>
                    <a:pt x="1535" y="335"/>
                  </a:lnTo>
                  <a:lnTo>
                    <a:pt x="1537" y="331"/>
                  </a:lnTo>
                  <a:lnTo>
                    <a:pt x="1538" y="330"/>
                  </a:lnTo>
                  <a:lnTo>
                    <a:pt x="1539" y="328"/>
                  </a:lnTo>
                  <a:lnTo>
                    <a:pt x="1539" y="326"/>
                  </a:lnTo>
                  <a:lnTo>
                    <a:pt x="1538" y="323"/>
                  </a:lnTo>
                  <a:lnTo>
                    <a:pt x="1538" y="320"/>
                  </a:lnTo>
                  <a:lnTo>
                    <a:pt x="1539" y="316"/>
                  </a:lnTo>
                  <a:lnTo>
                    <a:pt x="1540" y="314"/>
                  </a:lnTo>
                  <a:lnTo>
                    <a:pt x="1542" y="312"/>
                  </a:lnTo>
                  <a:lnTo>
                    <a:pt x="1542" y="308"/>
                  </a:lnTo>
                  <a:lnTo>
                    <a:pt x="1539" y="305"/>
                  </a:lnTo>
                  <a:lnTo>
                    <a:pt x="1537" y="303"/>
                  </a:lnTo>
                  <a:lnTo>
                    <a:pt x="1534" y="300"/>
                  </a:lnTo>
                  <a:lnTo>
                    <a:pt x="1532" y="297"/>
                  </a:lnTo>
                  <a:lnTo>
                    <a:pt x="1529" y="296"/>
                  </a:lnTo>
                  <a:lnTo>
                    <a:pt x="1526" y="296"/>
                  </a:lnTo>
                  <a:lnTo>
                    <a:pt x="1523" y="297"/>
                  </a:lnTo>
                  <a:lnTo>
                    <a:pt x="1521" y="298"/>
                  </a:lnTo>
                  <a:lnTo>
                    <a:pt x="1518" y="299"/>
                  </a:lnTo>
                  <a:lnTo>
                    <a:pt x="1514" y="302"/>
                  </a:lnTo>
                  <a:lnTo>
                    <a:pt x="1512" y="304"/>
                  </a:lnTo>
                  <a:lnTo>
                    <a:pt x="1511" y="306"/>
                  </a:lnTo>
                  <a:lnTo>
                    <a:pt x="1508" y="310"/>
                  </a:lnTo>
                  <a:lnTo>
                    <a:pt x="1508" y="312"/>
                  </a:lnTo>
                  <a:lnTo>
                    <a:pt x="1506" y="314"/>
                  </a:lnTo>
                  <a:lnTo>
                    <a:pt x="1504" y="314"/>
                  </a:lnTo>
                  <a:lnTo>
                    <a:pt x="1504" y="311"/>
                  </a:lnTo>
                  <a:lnTo>
                    <a:pt x="1504" y="308"/>
                  </a:lnTo>
                  <a:lnTo>
                    <a:pt x="1504" y="305"/>
                  </a:lnTo>
                  <a:lnTo>
                    <a:pt x="1505" y="300"/>
                  </a:lnTo>
                  <a:lnTo>
                    <a:pt x="1505" y="295"/>
                  </a:lnTo>
                  <a:lnTo>
                    <a:pt x="1504" y="290"/>
                  </a:lnTo>
                  <a:lnTo>
                    <a:pt x="1503" y="287"/>
                  </a:lnTo>
                  <a:lnTo>
                    <a:pt x="1500" y="284"/>
                  </a:lnTo>
                  <a:lnTo>
                    <a:pt x="1492" y="281"/>
                  </a:lnTo>
                  <a:lnTo>
                    <a:pt x="1489" y="278"/>
                  </a:lnTo>
                  <a:lnTo>
                    <a:pt x="1487" y="275"/>
                  </a:lnTo>
                  <a:lnTo>
                    <a:pt x="1486" y="273"/>
                  </a:lnTo>
                  <a:lnTo>
                    <a:pt x="1483" y="270"/>
                  </a:lnTo>
                  <a:lnTo>
                    <a:pt x="1480" y="267"/>
                  </a:lnTo>
                  <a:lnTo>
                    <a:pt x="1478" y="266"/>
                  </a:lnTo>
                  <a:lnTo>
                    <a:pt x="1475" y="263"/>
                  </a:lnTo>
                  <a:lnTo>
                    <a:pt x="1474" y="262"/>
                  </a:lnTo>
                  <a:lnTo>
                    <a:pt x="1466" y="258"/>
                  </a:lnTo>
                  <a:lnTo>
                    <a:pt x="1464" y="255"/>
                  </a:lnTo>
                  <a:lnTo>
                    <a:pt x="1462" y="249"/>
                  </a:lnTo>
                  <a:lnTo>
                    <a:pt x="1462" y="244"/>
                  </a:lnTo>
                  <a:lnTo>
                    <a:pt x="1460" y="240"/>
                  </a:lnTo>
                  <a:lnTo>
                    <a:pt x="1462" y="235"/>
                  </a:lnTo>
                  <a:lnTo>
                    <a:pt x="1465" y="232"/>
                  </a:lnTo>
                  <a:lnTo>
                    <a:pt x="1468" y="228"/>
                  </a:lnTo>
                  <a:lnTo>
                    <a:pt x="1472" y="226"/>
                  </a:lnTo>
                  <a:lnTo>
                    <a:pt x="1475" y="223"/>
                  </a:lnTo>
                  <a:lnTo>
                    <a:pt x="1476" y="220"/>
                  </a:lnTo>
                  <a:lnTo>
                    <a:pt x="1478" y="217"/>
                  </a:lnTo>
                  <a:lnTo>
                    <a:pt x="1480" y="212"/>
                  </a:lnTo>
                  <a:lnTo>
                    <a:pt x="1480" y="210"/>
                  </a:lnTo>
                  <a:lnTo>
                    <a:pt x="1481" y="207"/>
                  </a:lnTo>
                  <a:lnTo>
                    <a:pt x="1481" y="203"/>
                  </a:lnTo>
                  <a:lnTo>
                    <a:pt x="1481" y="200"/>
                  </a:lnTo>
                  <a:lnTo>
                    <a:pt x="1480" y="195"/>
                  </a:lnTo>
                  <a:lnTo>
                    <a:pt x="1476" y="191"/>
                  </a:lnTo>
                  <a:lnTo>
                    <a:pt x="1472" y="186"/>
                  </a:lnTo>
                  <a:lnTo>
                    <a:pt x="1468" y="184"/>
                  </a:lnTo>
                  <a:lnTo>
                    <a:pt x="1465" y="180"/>
                  </a:lnTo>
                  <a:lnTo>
                    <a:pt x="1465" y="177"/>
                  </a:lnTo>
                  <a:lnTo>
                    <a:pt x="1464" y="174"/>
                  </a:lnTo>
                  <a:lnTo>
                    <a:pt x="1463" y="171"/>
                  </a:lnTo>
                  <a:lnTo>
                    <a:pt x="1460" y="172"/>
                  </a:lnTo>
                  <a:lnTo>
                    <a:pt x="1458" y="172"/>
                  </a:lnTo>
                  <a:lnTo>
                    <a:pt x="1457" y="175"/>
                  </a:lnTo>
                  <a:lnTo>
                    <a:pt x="1457" y="178"/>
                  </a:lnTo>
                  <a:lnTo>
                    <a:pt x="1456" y="180"/>
                  </a:lnTo>
                  <a:lnTo>
                    <a:pt x="1455" y="183"/>
                  </a:lnTo>
                  <a:lnTo>
                    <a:pt x="1454" y="186"/>
                  </a:lnTo>
                  <a:lnTo>
                    <a:pt x="1452" y="188"/>
                  </a:lnTo>
                  <a:lnTo>
                    <a:pt x="1449" y="191"/>
                  </a:lnTo>
                  <a:lnTo>
                    <a:pt x="1446" y="193"/>
                  </a:lnTo>
                  <a:lnTo>
                    <a:pt x="1444" y="194"/>
                  </a:lnTo>
                  <a:lnTo>
                    <a:pt x="1442" y="196"/>
                  </a:lnTo>
                  <a:lnTo>
                    <a:pt x="1441" y="199"/>
                  </a:lnTo>
                  <a:lnTo>
                    <a:pt x="1439" y="199"/>
                  </a:lnTo>
                  <a:lnTo>
                    <a:pt x="1435" y="198"/>
                  </a:lnTo>
                  <a:lnTo>
                    <a:pt x="1433" y="196"/>
                  </a:lnTo>
                  <a:lnTo>
                    <a:pt x="1428" y="196"/>
                  </a:lnTo>
                  <a:lnTo>
                    <a:pt x="1425" y="194"/>
                  </a:lnTo>
                  <a:lnTo>
                    <a:pt x="1424" y="191"/>
                  </a:lnTo>
                  <a:lnTo>
                    <a:pt x="1424" y="187"/>
                  </a:lnTo>
                  <a:lnTo>
                    <a:pt x="1424" y="183"/>
                  </a:lnTo>
                  <a:lnTo>
                    <a:pt x="1424" y="179"/>
                  </a:lnTo>
                  <a:lnTo>
                    <a:pt x="1423" y="177"/>
                  </a:lnTo>
                  <a:lnTo>
                    <a:pt x="1420" y="176"/>
                  </a:lnTo>
                  <a:lnTo>
                    <a:pt x="1418" y="175"/>
                  </a:lnTo>
                  <a:lnTo>
                    <a:pt x="1415" y="174"/>
                  </a:lnTo>
                  <a:lnTo>
                    <a:pt x="1410" y="170"/>
                  </a:lnTo>
                  <a:lnTo>
                    <a:pt x="1398" y="159"/>
                  </a:lnTo>
                  <a:lnTo>
                    <a:pt x="1391" y="153"/>
                  </a:lnTo>
                  <a:lnTo>
                    <a:pt x="1388" y="148"/>
                  </a:lnTo>
                  <a:lnTo>
                    <a:pt x="1387" y="144"/>
                  </a:lnTo>
                  <a:lnTo>
                    <a:pt x="1391" y="136"/>
                  </a:lnTo>
                  <a:lnTo>
                    <a:pt x="1393" y="132"/>
                  </a:lnTo>
                  <a:lnTo>
                    <a:pt x="1396" y="126"/>
                  </a:lnTo>
                  <a:lnTo>
                    <a:pt x="1399" y="121"/>
                  </a:lnTo>
                  <a:lnTo>
                    <a:pt x="1399" y="116"/>
                  </a:lnTo>
                  <a:lnTo>
                    <a:pt x="1400" y="114"/>
                  </a:lnTo>
                  <a:lnTo>
                    <a:pt x="1401" y="113"/>
                  </a:lnTo>
                  <a:lnTo>
                    <a:pt x="1402" y="113"/>
                  </a:lnTo>
                  <a:lnTo>
                    <a:pt x="1404" y="114"/>
                  </a:lnTo>
                  <a:lnTo>
                    <a:pt x="1409" y="114"/>
                  </a:lnTo>
                  <a:lnTo>
                    <a:pt x="1411" y="114"/>
                  </a:lnTo>
                  <a:lnTo>
                    <a:pt x="1414" y="113"/>
                  </a:lnTo>
                  <a:lnTo>
                    <a:pt x="1415" y="111"/>
                  </a:lnTo>
                  <a:lnTo>
                    <a:pt x="1416" y="107"/>
                  </a:lnTo>
                  <a:lnTo>
                    <a:pt x="1417" y="106"/>
                  </a:lnTo>
                  <a:lnTo>
                    <a:pt x="1418" y="103"/>
                  </a:lnTo>
                  <a:lnTo>
                    <a:pt x="1418" y="100"/>
                  </a:lnTo>
                  <a:lnTo>
                    <a:pt x="1416" y="98"/>
                  </a:lnTo>
                  <a:lnTo>
                    <a:pt x="1414" y="98"/>
                  </a:lnTo>
                  <a:lnTo>
                    <a:pt x="1412" y="98"/>
                  </a:lnTo>
                  <a:lnTo>
                    <a:pt x="1408" y="99"/>
                  </a:lnTo>
                  <a:lnTo>
                    <a:pt x="1404" y="100"/>
                  </a:lnTo>
                  <a:lnTo>
                    <a:pt x="1403" y="99"/>
                  </a:lnTo>
                  <a:lnTo>
                    <a:pt x="1401" y="99"/>
                  </a:lnTo>
                  <a:lnTo>
                    <a:pt x="1399" y="97"/>
                  </a:lnTo>
                  <a:lnTo>
                    <a:pt x="1396" y="97"/>
                  </a:lnTo>
                  <a:lnTo>
                    <a:pt x="1394" y="95"/>
                  </a:lnTo>
                  <a:lnTo>
                    <a:pt x="1392" y="95"/>
                  </a:lnTo>
                  <a:lnTo>
                    <a:pt x="1392" y="91"/>
                  </a:lnTo>
                  <a:lnTo>
                    <a:pt x="1391" y="89"/>
                  </a:lnTo>
                  <a:lnTo>
                    <a:pt x="1391" y="84"/>
                  </a:lnTo>
                  <a:lnTo>
                    <a:pt x="1392" y="80"/>
                  </a:lnTo>
                  <a:lnTo>
                    <a:pt x="1392" y="76"/>
                  </a:lnTo>
                  <a:lnTo>
                    <a:pt x="1392" y="73"/>
                  </a:lnTo>
                  <a:lnTo>
                    <a:pt x="1392" y="70"/>
                  </a:lnTo>
                  <a:lnTo>
                    <a:pt x="1391" y="66"/>
                  </a:lnTo>
                  <a:lnTo>
                    <a:pt x="1388" y="65"/>
                  </a:lnTo>
                  <a:lnTo>
                    <a:pt x="1385" y="65"/>
                  </a:lnTo>
                  <a:lnTo>
                    <a:pt x="1383" y="65"/>
                  </a:lnTo>
                  <a:lnTo>
                    <a:pt x="1380" y="67"/>
                  </a:lnTo>
                  <a:lnTo>
                    <a:pt x="1378" y="70"/>
                  </a:lnTo>
                  <a:lnTo>
                    <a:pt x="1372" y="72"/>
                  </a:lnTo>
                  <a:lnTo>
                    <a:pt x="1371" y="73"/>
                  </a:lnTo>
                  <a:lnTo>
                    <a:pt x="1369" y="74"/>
                  </a:lnTo>
                  <a:lnTo>
                    <a:pt x="1368" y="75"/>
                  </a:lnTo>
                  <a:lnTo>
                    <a:pt x="1362" y="78"/>
                  </a:lnTo>
                  <a:lnTo>
                    <a:pt x="1361" y="79"/>
                  </a:lnTo>
                  <a:lnTo>
                    <a:pt x="1360" y="81"/>
                  </a:lnTo>
                  <a:lnTo>
                    <a:pt x="1360" y="83"/>
                  </a:lnTo>
                  <a:lnTo>
                    <a:pt x="1358" y="84"/>
                  </a:lnTo>
                  <a:lnTo>
                    <a:pt x="1356" y="86"/>
                  </a:lnTo>
                  <a:lnTo>
                    <a:pt x="1354" y="87"/>
                  </a:lnTo>
                  <a:lnTo>
                    <a:pt x="1354" y="88"/>
                  </a:lnTo>
                  <a:lnTo>
                    <a:pt x="1354" y="92"/>
                  </a:lnTo>
                  <a:lnTo>
                    <a:pt x="1355" y="94"/>
                  </a:lnTo>
                  <a:lnTo>
                    <a:pt x="1359" y="95"/>
                  </a:lnTo>
                  <a:lnTo>
                    <a:pt x="1360" y="95"/>
                  </a:lnTo>
                  <a:lnTo>
                    <a:pt x="1361" y="95"/>
                  </a:lnTo>
                  <a:lnTo>
                    <a:pt x="1361" y="97"/>
                  </a:lnTo>
                  <a:lnTo>
                    <a:pt x="1361" y="98"/>
                  </a:lnTo>
                  <a:lnTo>
                    <a:pt x="1360" y="99"/>
                  </a:lnTo>
                  <a:lnTo>
                    <a:pt x="1358" y="102"/>
                  </a:lnTo>
                  <a:lnTo>
                    <a:pt x="1352" y="104"/>
                  </a:lnTo>
                  <a:lnTo>
                    <a:pt x="1347" y="106"/>
                  </a:lnTo>
                  <a:lnTo>
                    <a:pt x="1345" y="106"/>
                  </a:lnTo>
                  <a:lnTo>
                    <a:pt x="1342" y="106"/>
                  </a:lnTo>
                  <a:lnTo>
                    <a:pt x="1340" y="105"/>
                  </a:lnTo>
                  <a:lnTo>
                    <a:pt x="1339" y="104"/>
                  </a:lnTo>
                  <a:lnTo>
                    <a:pt x="1337" y="102"/>
                  </a:lnTo>
                  <a:lnTo>
                    <a:pt x="1336" y="99"/>
                  </a:lnTo>
                  <a:lnTo>
                    <a:pt x="1334" y="97"/>
                  </a:lnTo>
                  <a:lnTo>
                    <a:pt x="1331" y="96"/>
                  </a:lnTo>
                  <a:lnTo>
                    <a:pt x="1328" y="95"/>
                  </a:lnTo>
                  <a:lnTo>
                    <a:pt x="1324" y="96"/>
                  </a:lnTo>
                  <a:lnTo>
                    <a:pt x="1319" y="97"/>
                  </a:lnTo>
                  <a:lnTo>
                    <a:pt x="1315" y="98"/>
                  </a:lnTo>
                  <a:lnTo>
                    <a:pt x="1311" y="99"/>
                  </a:lnTo>
                  <a:lnTo>
                    <a:pt x="1306" y="99"/>
                  </a:lnTo>
                  <a:lnTo>
                    <a:pt x="1303" y="100"/>
                  </a:lnTo>
                  <a:lnTo>
                    <a:pt x="1299" y="100"/>
                  </a:lnTo>
                  <a:lnTo>
                    <a:pt x="1296" y="99"/>
                  </a:lnTo>
                  <a:lnTo>
                    <a:pt x="1294" y="98"/>
                  </a:lnTo>
                  <a:lnTo>
                    <a:pt x="1292" y="97"/>
                  </a:lnTo>
                  <a:lnTo>
                    <a:pt x="1291" y="95"/>
                  </a:lnTo>
                  <a:lnTo>
                    <a:pt x="1290" y="92"/>
                  </a:lnTo>
                  <a:lnTo>
                    <a:pt x="1289" y="90"/>
                  </a:lnTo>
                  <a:lnTo>
                    <a:pt x="1287" y="88"/>
                  </a:lnTo>
                  <a:lnTo>
                    <a:pt x="1283" y="86"/>
                  </a:lnTo>
                  <a:lnTo>
                    <a:pt x="1282" y="84"/>
                  </a:lnTo>
                  <a:lnTo>
                    <a:pt x="1281" y="83"/>
                  </a:lnTo>
                  <a:lnTo>
                    <a:pt x="1279" y="79"/>
                  </a:lnTo>
                  <a:lnTo>
                    <a:pt x="1279" y="76"/>
                  </a:lnTo>
                  <a:lnTo>
                    <a:pt x="1279" y="74"/>
                  </a:lnTo>
                  <a:lnTo>
                    <a:pt x="1276" y="72"/>
                  </a:lnTo>
                  <a:lnTo>
                    <a:pt x="1272" y="71"/>
                  </a:lnTo>
                  <a:lnTo>
                    <a:pt x="1270" y="71"/>
                  </a:lnTo>
                  <a:lnTo>
                    <a:pt x="1265" y="72"/>
                  </a:lnTo>
                  <a:lnTo>
                    <a:pt x="1263" y="72"/>
                  </a:lnTo>
                  <a:lnTo>
                    <a:pt x="1260" y="72"/>
                  </a:lnTo>
                  <a:lnTo>
                    <a:pt x="1258" y="70"/>
                  </a:lnTo>
                  <a:lnTo>
                    <a:pt x="1256" y="67"/>
                  </a:lnTo>
                  <a:lnTo>
                    <a:pt x="1255" y="66"/>
                  </a:lnTo>
                  <a:lnTo>
                    <a:pt x="1252" y="64"/>
                  </a:lnTo>
                  <a:lnTo>
                    <a:pt x="1249" y="62"/>
                  </a:lnTo>
                  <a:lnTo>
                    <a:pt x="1246" y="58"/>
                  </a:lnTo>
                  <a:lnTo>
                    <a:pt x="1243" y="56"/>
                  </a:lnTo>
                  <a:lnTo>
                    <a:pt x="1239" y="55"/>
                  </a:lnTo>
                  <a:lnTo>
                    <a:pt x="1235" y="55"/>
                  </a:lnTo>
                  <a:lnTo>
                    <a:pt x="1234" y="57"/>
                  </a:lnTo>
                  <a:lnTo>
                    <a:pt x="1233" y="60"/>
                  </a:lnTo>
                  <a:lnTo>
                    <a:pt x="1232" y="63"/>
                  </a:lnTo>
                  <a:lnTo>
                    <a:pt x="1230" y="65"/>
                  </a:lnTo>
                  <a:lnTo>
                    <a:pt x="1228" y="67"/>
                  </a:lnTo>
                  <a:lnTo>
                    <a:pt x="1228" y="70"/>
                  </a:lnTo>
                  <a:lnTo>
                    <a:pt x="1227" y="73"/>
                  </a:lnTo>
                  <a:lnTo>
                    <a:pt x="1226" y="75"/>
                  </a:lnTo>
                  <a:lnTo>
                    <a:pt x="1224" y="79"/>
                  </a:lnTo>
                  <a:lnTo>
                    <a:pt x="1219" y="79"/>
                  </a:lnTo>
                  <a:lnTo>
                    <a:pt x="1218" y="78"/>
                  </a:lnTo>
                  <a:lnTo>
                    <a:pt x="1217" y="76"/>
                  </a:lnTo>
                  <a:lnTo>
                    <a:pt x="1216" y="74"/>
                  </a:lnTo>
                  <a:lnTo>
                    <a:pt x="1216" y="71"/>
                  </a:lnTo>
                  <a:lnTo>
                    <a:pt x="1214" y="70"/>
                  </a:lnTo>
                  <a:lnTo>
                    <a:pt x="1211" y="68"/>
                  </a:lnTo>
                  <a:lnTo>
                    <a:pt x="1211" y="67"/>
                  </a:lnTo>
                  <a:lnTo>
                    <a:pt x="1211" y="62"/>
                  </a:lnTo>
                  <a:lnTo>
                    <a:pt x="1210" y="59"/>
                  </a:lnTo>
                  <a:lnTo>
                    <a:pt x="1207" y="58"/>
                  </a:lnTo>
                  <a:lnTo>
                    <a:pt x="1203" y="58"/>
                  </a:lnTo>
                  <a:lnTo>
                    <a:pt x="1201" y="56"/>
                  </a:lnTo>
                  <a:lnTo>
                    <a:pt x="1199" y="55"/>
                  </a:lnTo>
                  <a:lnTo>
                    <a:pt x="1195" y="55"/>
                  </a:lnTo>
                  <a:lnTo>
                    <a:pt x="1194" y="54"/>
                  </a:lnTo>
                  <a:lnTo>
                    <a:pt x="1194" y="52"/>
                  </a:lnTo>
                  <a:lnTo>
                    <a:pt x="1193" y="50"/>
                  </a:lnTo>
                  <a:lnTo>
                    <a:pt x="1192" y="49"/>
                  </a:lnTo>
                  <a:lnTo>
                    <a:pt x="1190" y="47"/>
                  </a:lnTo>
                  <a:lnTo>
                    <a:pt x="1188" y="46"/>
                  </a:lnTo>
                  <a:lnTo>
                    <a:pt x="1187" y="44"/>
                  </a:lnTo>
                  <a:lnTo>
                    <a:pt x="1185" y="43"/>
                  </a:lnTo>
                  <a:lnTo>
                    <a:pt x="1182" y="44"/>
                  </a:lnTo>
                  <a:lnTo>
                    <a:pt x="1176" y="44"/>
                  </a:lnTo>
                  <a:lnTo>
                    <a:pt x="1175" y="46"/>
                  </a:lnTo>
                  <a:lnTo>
                    <a:pt x="1171" y="47"/>
                  </a:lnTo>
                  <a:lnTo>
                    <a:pt x="1170" y="44"/>
                  </a:lnTo>
                  <a:lnTo>
                    <a:pt x="1168" y="43"/>
                  </a:lnTo>
                  <a:lnTo>
                    <a:pt x="1164" y="43"/>
                  </a:lnTo>
                  <a:lnTo>
                    <a:pt x="1162" y="42"/>
                  </a:lnTo>
                  <a:lnTo>
                    <a:pt x="1161" y="41"/>
                  </a:lnTo>
                  <a:lnTo>
                    <a:pt x="1161" y="36"/>
                  </a:lnTo>
                  <a:lnTo>
                    <a:pt x="1162" y="35"/>
                  </a:lnTo>
                  <a:lnTo>
                    <a:pt x="1163" y="33"/>
                  </a:lnTo>
                  <a:lnTo>
                    <a:pt x="1167" y="33"/>
                  </a:lnTo>
                  <a:lnTo>
                    <a:pt x="1170" y="33"/>
                  </a:lnTo>
                  <a:lnTo>
                    <a:pt x="1172" y="33"/>
                  </a:lnTo>
                  <a:lnTo>
                    <a:pt x="1176" y="34"/>
                  </a:lnTo>
                  <a:lnTo>
                    <a:pt x="1179" y="34"/>
                  </a:lnTo>
                  <a:lnTo>
                    <a:pt x="1182" y="34"/>
                  </a:lnTo>
                  <a:lnTo>
                    <a:pt x="1183" y="32"/>
                  </a:lnTo>
                  <a:lnTo>
                    <a:pt x="1184" y="31"/>
                  </a:lnTo>
                  <a:lnTo>
                    <a:pt x="1184" y="30"/>
                  </a:lnTo>
                  <a:lnTo>
                    <a:pt x="1180" y="27"/>
                  </a:lnTo>
                  <a:lnTo>
                    <a:pt x="1178" y="27"/>
                  </a:lnTo>
                  <a:lnTo>
                    <a:pt x="1176" y="27"/>
                  </a:lnTo>
                  <a:lnTo>
                    <a:pt x="1175" y="25"/>
                  </a:lnTo>
                  <a:lnTo>
                    <a:pt x="1176" y="23"/>
                  </a:lnTo>
                  <a:lnTo>
                    <a:pt x="1174" y="23"/>
                  </a:lnTo>
                  <a:lnTo>
                    <a:pt x="1172" y="23"/>
                  </a:lnTo>
                  <a:lnTo>
                    <a:pt x="1170" y="26"/>
                  </a:lnTo>
                  <a:lnTo>
                    <a:pt x="1167" y="26"/>
                  </a:lnTo>
                  <a:lnTo>
                    <a:pt x="1163" y="27"/>
                  </a:lnTo>
                  <a:lnTo>
                    <a:pt x="1162" y="27"/>
                  </a:lnTo>
                  <a:lnTo>
                    <a:pt x="1159" y="27"/>
                  </a:lnTo>
                  <a:lnTo>
                    <a:pt x="1158" y="25"/>
                  </a:lnTo>
                  <a:lnTo>
                    <a:pt x="1156" y="24"/>
                  </a:lnTo>
                  <a:lnTo>
                    <a:pt x="1153" y="24"/>
                  </a:lnTo>
                  <a:lnTo>
                    <a:pt x="1150" y="24"/>
                  </a:lnTo>
                  <a:lnTo>
                    <a:pt x="1146" y="26"/>
                  </a:lnTo>
                  <a:lnTo>
                    <a:pt x="1144" y="28"/>
                  </a:lnTo>
                  <a:lnTo>
                    <a:pt x="1142" y="30"/>
                  </a:lnTo>
                  <a:lnTo>
                    <a:pt x="1138" y="30"/>
                  </a:lnTo>
                  <a:lnTo>
                    <a:pt x="1136" y="26"/>
                  </a:lnTo>
                  <a:lnTo>
                    <a:pt x="1135" y="25"/>
                  </a:lnTo>
                  <a:lnTo>
                    <a:pt x="1131" y="24"/>
                  </a:lnTo>
                  <a:lnTo>
                    <a:pt x="1130" y="22"/>
                  </a:lnTo>
                  <a:lnTo>
                    <a:pt x="1126" y="20"/>
                  </a:lnTo>
                  <a:lnTo>
                    <a:pt x="1123" y="20"/>
                  </a:lnTo>
                  <a:lnTo>
                    <a:pt x="1119" y="20"/>
                  </a:lnTo>
                  <a:lnTo>
                    <a:pt x="1116" y="20"/>
                  </a:lnTo>
                  <a:lnTo>
                    <a:pt x="1113" y="19"/>
                  </a:lnTo>
                  <a:lnTo>
                    <a:pt x="1112" y="17"/>
                  </a:lnTo>
                  <a:lnTo>
                    <a:pt x="1111" y="15"/>
                  </a:lnTo>
                  <a:lnTo>
                    <a:pt x="1111" y="14"/>
                  </a:lnTo>
                  <a:lnTo>
                    <a:pt x="1110" y="11"/>
                  </a:lnTo>
                  <a:lnTo>
                    <a:pt x="1110" y="10"/>
                  </a:lnTo>
                  <a:lnTo>
                    <a:pt x="1108" y="9"/>
                  </a:lnTo>
                  <a:lnTo>
                    <a:pt x="1108" y="7"/>
                  </a:lnTo>
                  <a:lnTo>
                    <a:pt x="1108" y="4"/>
                  </a:lnTo>
                  <a:lnTo>
                    <a:pt x="1108" y="2"/>
                  </a:lnTo>
                  <a:lnTo>
                    <a:pt x="1106" y="0"/>
                  </a:lnTo>
                  <a:lnTo>
                    <a:pt x="1104" y="0"/>
                  </a:lnTo>
                  <a:lnTo>
                    <a:pt x="1102" y="1"/>
                  </a:lnTo>
                  <a:lnTo>
                    <a:pt x="1099" y="2"/>
                  </a:lnTo>
                  <a:lnTo>
                    <a:pt x="1097" y="3"/>
                  </a:lnTo>
                  <a:lnTo>
                    <a:pt x="1095" y="6"/>
                  </a:lnTo>
                  <a:lnTo>
                    <a:pt x="1091" y="7"/>
                  </a:lnTo>
                  <a:lnTo>
                    <a:pt x="1089" y="7"/>
                  </a:lnTo>
                  <a:lnTo>
                    <a:pt x="1086" y="9"/>
                  </a:lnTo>
                  <a:lnTo>
                    <a:pt x="1084" y="9"/>
                  </a:lnTo>
                  <a:lnTo>
                    <a:pt x="1083" y="9"/>
                  </a:lnTo>
                  <a:lnTo>
                    <a:pt x="1082" y="11"/>
                  </a:lnTo>
                  <a:lnTo>
                    <a:pt x="1081" y="14"/>
                  </a:lnTo>
                  <a:lnTo>
                    <a:pt x="1081" y="15"/>
                  </a:lnTo>
                  <a:lnTo>
                    <a:pt x="1081" y="16"/>
                  </a:lnTo>
                  <a:lnTo>
                    <a:pt x="1080" y="18"/>
                  </a:lnTo>
                  <a:lnTo>
                    <a:pt x="1079" y="20"/>
                  </a:lnTo>
                  <a:lnTo>
                    <a:pt x="1078" y="22"/>
                  </a:lnTo>
                  <a:lnTo>
                    <a:pt x="1076" y="23"/>
                  </a:lnTo>
                  <a:lnTo>
                    <a:pt x="1075" y="23"/>
                  </a:lnTo>
                  <a:lnTo>
                    <a:pt x="1073" y="23"/>
                  </a:lnTo>
                  <a:lnTo>
                    <a:pt x="1071" y="23"/>
                  </a:lnTo>
                  <a:lnTo>
                    <a:pt x="1070" y="24"/>
                  </a:lnTo>
                  <a:lnTo>
                    <a:pt x="1068" y="26"/>
                  </a:lnTo>
                  <a:lnTo>
                    <a:pt x="1066" y="26"/>
                  </a:lnTo>
                  <a:lnTo>
                    <a:pt x="1063" y="24"/>
                  </a:lnTo>
                  <a:lnTo>
                    <a:pt x="1063" y="23"/>
                  </a:lnTo>
                  <a:lnTo>
                    <a:pt x="1064" y="19"/>
                  </a:lnTo>
                  <a:lnTo>
                    <a:pt x="1064" y="17"/>
                  </a:lnTo>
                  <a:lnTo>
                    <a:pt x="1062" y="16"/>
                  </a:lnTo>
                  <a:lnTo>
                    <a:pt x="1059" y="15"/>
                  </a:lnTo>
                  <a:lnTo>
                    <a:pt x="1055" y="14"/>
                  </a:lnTo>
                  <a:lnTo>
                    <a:pt x="1051" y="12"/>
                  </a:lnTo>
                  <a:lnTo>
                    <a:pt x="1049" y="14"/>
                  </a:lnTo>
                  <a:lnTo>
                    <a:pt x="1047" y="16"/>
                  </a:lnTo>
                  <a:lnTo>
                    <a:pt x="1047" y="19"/>
                  </a:lnTo>
                  <a:lnTo>
                    <a:pt x="1047" y="23"/>
                  </a:lnTo>
                  <a:lnTo>
                    <a:pt x="1048" y="25"/>
                  </a:lnTo>
                  <a:lnTo>
                    <a:pt x="1048" y="27"/>
                  </a:lnTo>
                  <a:lnTo>
                    <a:pt x="1048" y="30"/>
                  </a:lnTo>
                  <a:lnTo>
                    <a:pt x="1047" y="32"/>
                  </a:lnTo>
                  <a:lnTo>
                    <a:pt x="1046" y="32"/>
                  </a:lnTo>
                  <a:lnTo>
                    <a:pt x="1043" y="32"/>
                  </a:lnTo>
                  <a:lnTo>
                    <a:pt x="1042" y="31"/>
                  </a:lnTo>
                  <a:lnTo>
                    <a:pt x="1041" y="30"/>
                  </a:lnTo>
                  <a:lnTo>
                    <a:pt x="1039" y="28"/>
                  </a:lnTo>
                  <a:lnTo>
                    <a:pt x="1038" y="30"/>
                  </a:lnTo>
                  <a:lnTo>
                    <a:pt x="1034" y="30"/>
                  </a:lnTo>
                  <a:lnTo>
                    <a:pt x="1032" y="27"/>
                  </a:lnTo>
                  <a:lnTo>
                    <a:pt x="1032" y="25"/>
                  </a:lnTo>
                  <a:lnTo>
                    <a:pt x="1032" y="23"/>
                  </a:lnTo>
                  <a:lnTo>
                    <a:pt x="1032" y="17"/>
                  </a:lnTo>
                  <a:lnTo>
                    <a:pt x="1031" y="16"/>
                  </a:lnTo>
                  <a:lnTo>
                    <a:pt x="1026" y="15"/>
                  </a:lnTo>
                  <a:lnTo>
                    <a:pt x="1023" y="15"/>
                  </a:lnTo>
                  <a:lnTo>
                    <a:pt x="1019" y="16"/>
                  </a:lnTo>
                  <a:lnTo>
                    <a:pt x="1017" y="17"/>
                  </a:lnTo>
                  <a:lnTo>
                    <a:pt x="1014" y="18"/>
                  </a:lnTo>
                  <a:lnTo>
                    <a:pt x="1011" y="18"/>
                  </a:lnTo>
                  <a:lnTo>
                    <a:pt x="1008" y="17"/>
                  </a:lnTo>
                  <a:lnTo>
                    <a:pt x="1004" y="19"/>
                  </a:lnTo>
                  <a:lnTo>
                    <a:pt x="1002" y="20"/>
                  </a:lnTo>
                  <a:lnTo>
                    <a:pt x="1000" y="23"/>
                  </a:lnTo>
                  <a:lnTo>
                    <a:pt x="995" y="23"/>
                  </a:lnTo>
                  <a:lnTo>
                    <a:pt x="992" y="23"/>
                  </a:lnTo>
                  <a:lnTo>
                    <a:pt x="990" y="20"/>
                  </a:lnTo>
                  <a:lnTo>
                    <a:pt x="987" y="19"/>
                  </a:lnTo>
                  <a:lnTo>
                    <a:pt x="985" y="18"/>
                  </a:lnTo>
                  <a:lnTo>
                    <a:pt x="983" y="17"/>
                  </a:lnTo>
                  <a:lnTo>
                    <a:pt x="980" y="16"/>
                  </a:lnTo>
                  <a:lnTo>
                    <a:pt x="978" y="16"/>
                  </a:lnTo>
                  <a:lnTo>
                    <a:pt x="976" y="17"/>
                  </a:lnTo>
                  <a:lnTo>
                    <a:pt x="974" y="17"/>
                  </a:lnTo>
                  <a:lnTo>
                    <a:pt x="971" y="17"/>
                  </a:lnTo>
                  <a:lnTo>
                    <a:pt x="969" y="15"/>
                  </a:lnTo>
                  <a:lnTo>
                    <a:pt x="968" y="14"/>
                  </a:lnTo>
                  <a:lnTo>
                    <a:pt x="967" y="12"/>
                  </a:lnTo>
                  <a:lnTo>
                    <a:pt x="964" y="11"/>
                  </a:lnTo>
                  <a:lnTo>
                    <a:pt x="963" y="12"/>
                  </a:lnTo>
                  <a:lnTo>
                    <a:pt x="962" y="12"/>
                  </a:lnTo>
                  <a:lnTo>
                    <a:pt x="960" y="14"/>
                  </a:lnTo>
                  <a:lnTo>
                    <a:pt x="958" y="14"/>
                  </a:lnTo>
                  <a:lnTo>
                    <a:pt x="955" y="15"/>
                  </a:lnTo>
                  <a:lnTo>
                    <a:pt x="952" y="14"/>
                  </a:lnTo>
                  <a:lnTo>
                    <a:pt x="948" y="14"/>
                  </a:lnTo>
                  <a:lnTo>
                    <a:pt x="947" y="12"/>
                  </a:lnTo>
                  <a:lnTo>
                    <a:pt x="946" y="12"/>
                  </a:lnTo>
                  <a:lnTo>
                    <a:pt x="943" y="12"/>
                  </a:lnTo>
                  <a:lnTo>
                    <a:pt x="940" y="14"/>
                  </a:lnTo>
                  <a:lnTo>
                    <a:pt x="940" y="15"/>
                  </a:lnTo>
                  <a:lnTo>
                    <a:pt x="938" y="16"/>
                  </a:lnTo>
                  <a:lnTo>
                    <a:pt x="937" y="17"/>
                  </a:lnTo>
                  <a:lnTo>
                    <a:pt x="936" y="17"/>
                  </a:lnTo>
                  <a:lnTo>
                    <a:pt x="931" y="18"/>
                  </a:lnTo>
                  <a:lnTo>
                    <a:pt x="924" y="19"/>
                  </a:lnTo>
                  <a:lnTo>
                    <a:pt x="922" y="20"/>
                  </a:lnTo>
                  <a:lnTo>
                    <a:pt x="920" y="20"/>
                  </a:lnTo>
                  <a:lnTo>
                    <a:pt x="918" y="20"/>
                  </a:lnTo>
                  <a:lnTo>
                    <a:pt x="916" y="22"/>
                  </a:lnTo>
                  <a:lnTo>
                    <a:pt x="914" y="23"/>
                  </a:lnTo>
                  <a:lnTo>
                    <a:pt x="912" y="22"/>
                  </a:lnTo>
                  <a:lnTo>
                    <a:pt x="911" y="20"/>
                  </a:lnTo>
                  <a:lnTo>
                    <a:pt x="908" y="18"/>
                  </a:lnTo>
                  <a:lnTo>
                    <a:pt x="906" y="17"/>
                  </a:lnTo>
                  <a:lnTo>
                    <a:pt x="903" y="17"/>
                  </a:lnTo>
                  <a:lnTo>
                    <a:pt x="899" y="18"/>
                  </a:lnTo>
                  <a:lnTo>
                    <a:pt x="897" y="19"/>
                  </a:lnTo>
                  <a:lnTo>
                    <a:pt x="896" y="20"/>
                  </a:lnTo>
                  <a:lnTo>
                    <a:pt x="894" y="23"/>
                  </a:lnTo>
                  <a:lnTo>
                    <a:pt x="892" y="25"/>
                  </a:lnTo>
                  <a:lnTo>
                    <a:pt x="890" y="26"/>
                  </a:lnTo>
                  <a:lnTo>
                    <a:pt x="888" y="28"/>
                  </a:lnTo>
                  <a:lnTo>
                    <a:pt x="887" y="30"/>
                  </a:lnTo>
                  <a:lnTo>
                    <a:pt x="886" y="31"/>
                  </a:lnTo>
                  <a:lnTo>
                    <a:pt x="884" y="32"/>
                  </a:lnTo>
                  <a:lnTo>
                    <a:pt x="879" y="30"/>
                  </a:lnTo>
                  <a:lnTo>
                    <a:pt x="876" y="28"/>
                  </a:lnTo>
                  <a:lnTo>
                    <a:pt x="875" y="27"/>
                  </a:lnTo>
                  <a:lnTo>
                    <a:pt x="871" y="27"/>
                  </a:lnTo>
                  <a:lnTo>
                    <a:pt x="865" y="25"/>
                  </a:lnTo>
                  <a:lnTo>
                    <a:pt x="859" y="23"/>
                  </a:lnTo>
                  <a:lnTo>
                    <a:pt x="857" y="23"/>
                  </a:lnTo>
                  <a:lnTo>
                    <a:pt x="854" y="22"/>
                  </a:lnTo>
                  <a:lnTo>
                    <a:pt x="850" y="19"/>
                  </a:lnTo>
                  <a:lnTo>
                    <a:pt x="848" y="18"/>
                  </a:lnTo>
                  <a:lnTo>
                    <a:pt x="833" y="12"/>
                  </a:lnTo>
                  <a:lnTo>
                    <a:pt x="833" y="15"/>
                  </a:lnTo>
                  <a:lnTo>
                    <a:pt x="830" y="18"/>
                  </a:lnTo>
                  <a:lnTo>
                    <a:pt x="826" y="20"/>
                  </a:lnTo>
                  <a:lnTo>
                    <a:pt x="820" y="22"/>
                  </a:lnTo>
                  <a:lnTo>
                    <a:pt x="814" y="23"/>
                  </a:lnTo>
                  <a:lnTo>
                    <a:pt x="809" y="23"/>
                  </a:lnTo>
                  <a:lnTo>
                    <a:pt x="804" y="26"/>
                  </a:lnTo>
                  <a:lnTo>
                    <a:pt x="802" y="33"/>
                  </a:lnTo>
                  <a:lnTo>
                    <a:pt x="802" y="40"/>
                  </a:lnTo>
                  <a:lnTo>
                    <a:pt x="803" y="55"/>
                  </a:lnTo>
                  <a:lnTo>
                    <a:pt x="803" y="59"/>
                  </a:lnTo>
                  <a:lnTo>
                    <a:pt x="803" y="65"/>
                  </a:lnTo>
                  <a:lnTo>
                    <a:pt x="803" y="70"/>
                  </a:lnTo>
                  <a:lnTo>
                    <a:pt x="804" y="74"/>
                  </a:lnTo>
                  <a:lnTo>
                    <a:pt x="806" y="76"/>
                  </a:lnTo>
                  <a:lnTo>
                    <a:pt x="809" y="79"/>
                  </a:lnTo>
                  <a:lnTo>
                    <a:pt x="812" y="80"/>
                  </a:lnTo>
                  <a:lnTo>
                    <a:pt x="817" y="81"/>
                  </a:lnTo>
                  <a:lnTo>
                    <a:pt x="824" y="80"/>
                  </a:lnTo>
                  <a:lnTo>
                    <a:pt x="831" y="80"/>
                  </a:lnTo>
                  <a:lnTo>
                    <a:pt x="835" y="81"/>
                  </a:lnTo>
                  <a:lnTo>
                    <a:pt x="839" y="82"/>
                  </a:lnTo>
                  <a:lnTo>
                    <a:pt x="840" y="84"/>
                  </a:lnTo>
                  <a:lnTo>
                    <a:pt x="840" y="89"/>
                  </a:lnTo>
                  <a:lnTo>
                    <a:pt x="834" y="92"/>
                  </a:lnTo>
                  <a:lnTo>
                    <a:pt x="827" y="95"/>
                  </a:lnTo>
                  <a:lnTo>
                    <a:pt x="819" y="98"/>
                  </a:lnTo>
                  <a:lnTo>
                    <a:pt x="816" y="99"/>
                  </a:lnTo>
                  <a:lnTo>
                    <a:pt x="812" y="102"/>
                  </a:lnTo>
                  <a:lnTo>
                    <a:pt x="809" y="103"/>
                  </a:lnTo>
                  <a:lnTo>
                    <a:pt x="803" y="104"/>
                  </a:lnTo>
                  <a:lnTo>
                    <a:pt x="798" y="104"/>
                  </a:lnTo>
                  <a:lnTo>
                    <a:pt x="786" y="108"/>
                  </a:lnTo>
                  <a:lnTo>
                    <a:pt x="782" y="110"/>
                  </a:lnTo>
                  <a:lnTo>
                    <a:pt x="779" y="112"/>
                  </a:lnTo>
                  <a:lnTo>
                    <a:pt x="776" y="114"/>
                  </a:lnTo>
                  <a:lnTo>
                    <a:pt x="771" y="118"/>
                  </a:lnTo>
                  <a:lnTo>
                    <a:pt x="770" y="122"/>
                  </a:lnTo>
                  <a:lnTo>
                    <a:pt x="770" y="127"/>
                  </a:lnTo>
                  <a:lnTo>
                    <a:pt x="768" y="130"/>
                  </a:lnTo>
                  <a:lnTo>
                    <a:pt x="761" y="139"/>
                  </a:lnTo>
                  <a:lnTo>
                    <a:pt x="755" y="140"/>
                  </a:lnTo>
                  <a:lnTo>
                    <a:pt x="748" y="140"/>
                  </a:lnTo>
                  <a:lnTo>
                    <a:pt x="745" y="142"/>
                  </a:lnTo>
                  <a:lnTo>
                    <a:pt x="735" y="142"/>
                  </a:lnTo>
                  <a:lnTo>
                    <a:pt x="728" y="142"/>
                  </a:lnTo>
                  <a:lnTo>
                    <a:pt x="721" y="142"/>
                  </a:lnTo>
                  <a:lnTo>
                    <a:pt x="714" y="140"/>
                  </a:lnTo>
                  <a:lnTo>
                    <a:pt x="710" y="140"/>
                  </a:lnTo>
                  <a:lnTo>
                    <a:pt x="705" y="139"/>
                  </a:lnTo>
                  <a:lnTo>
                    <a:pt x="698" y="138"/>
                  </a:lnTo>
                  <a:lnTo>
                    <a:pt x="695" y="138"/>
                  </a:lnTo>
                  <a:lnTo>
                    <a:pt x="689" y="135"/>
                  </a:lnTo>
                  <a:lnTo>
                    <a:pt x="687" y="134"/>
                  </a:lnTo>
                  <a:lnTo>
                    <a:pt x="686" y="131"/>
                  </a:lnTo>
                  <a:lnTo>
                    <a:pt x="686" y="128"/>
                  </a:lnTo>
                  <a:lnTo>
                    <a:pt x="687" y="123"/>
                  </a:lnTo>
                  <a:lnTo>
                    <a:pt x="689" y="121"/>
                  </a:lnTo>
                  <a:lnTo>
                    <a:pt x="688" y="119"/>
                  </a:lnTo>
                  <a:lnTo>
                    <a:pt x="687" y="114"/>
                  </a:lnTo>
                  <a:lnTo>
                    <a:pt x="684" y="110"/>
                  </a:lnTo>
                  <a:lnTo>
                    <a:pt x="683" y="106"/>
                  </a:lnTo>
                  <a:lnTo>
                    <a:pt x="683" y="102"/>
                  </a:lnTo>
                  <a:lnTo>
                    <a:pt x="687" y="98"/>
                  </a:lnTo>
                  <a:lnTo>
                    <a:pt x="690" y="96"/>
                  </a:lnTo>
                  <a:lnTo>
                    <a:pt x="691" y="92"/>
                  </a:lnTo>
                  <a:lnTo>
                    <a:pt x="691" y="90"/>
                  </a:lnTo>
                  <a:lnTo>
                    <a:pt x="689" y="88"/>
                  </a:lnTo>
                  <a:lnTo>
                    <a:pt x="691" y="87"/>
                  </a:lnTo>
                  <a:lnTo>
                    <a:pt x="688" y="87"/>
                  </a:lnTo>
                  <a:lnTo>
                    <a:pt x="682" y="87"/>
                  </a:lnTo>
                  <a:lnTo>
                    <a:pt x="676" y="88"/>
                  </a:lnTo>
                  <a:lnTo>
                    <a:pt x="670" y="89"/>
                  </a:lnTo>
                  <a:lnTo>
                    <a:pt x="664" y="92"/>
                  </a:lnTo>
                  <a:lnTo>
                    <a:pt x="659" y="95"/>
                  </a:lnTo>
                  <a:lnTo>
                    <a:pt x="652" y="97"/>
                  </a:lnTo>
                  <a:lnTo>
                    <a:pt x="646" y="98"/>
                  </a:lnTo>
                  <a:lnTo>
                    <a:pt x="641" y="100"/>
                  </a:lnTo>
                  <a:lnTo>
                    <a:pt x="634" y="103"/>
                  </a:lnTo>
                  <a:lnTo>
                    <a:pt x="628" y="103"/>
                  </a:lnTo>
                  <a:lnTo>
                    <a:pt x="622" y="105"/>
                  </a:lnTo>
                  <a:lnTo>
                    <a:pt x="599" y="112"/>
                  </a:lnTo>
                  <a:lnTo>
                    <a:pt x="594" y="114"/>
                  </a:lnTo>
                  <a:lnTo>
                    <a:pt x="588" y="116"/>
                  </a:lnTo>
                  <a:lnTo>
                    <a:pt x="584" y="118"/>
                  </a:lnTo>
                  <a:lnTo>
                    <a:pt x="579" y="118"/>
                  </a:lnTo>
                  <a:lnTo>
                    <a:pt x="568" y="119"/>
                  </a:lnTo>
                  <a:lnTo>
                    <a:pt x="564" y="121"/>
                  </a:lnTo>
                  <a:lnTo>
                    <a:pt x="558" y="124"/>
                  </a:lnTo>
                  <a:lnTo>
                    <a:pt x="555" y="124"/>
                  </a:lnTo>
                  <a:lnTo>
                    <a:pt x="552" y="129"/>
                  </a:lnTo>
                  <a:lnTo>
                    <a:pt x="551" y="134"/>
                  </a:lnTo>
                  <a:lnTo>
                    <a:pt x="547" y="142"/>
                  </a:lnTo>
                  <a:lnTo>
                    <a:pt x="543" y="150"/>
                  </a:lnTo>
                  <a:lnTo>
                    <a:pt x="538" y="152"/>
                  </a:lnTo>
                  <a:lnTo>
                    <a:pt x="534" y="154"/>
                  </a:lnTo>
                  <a:lnTo>
                    <a:pt x="528" y="155"/>
                  </a:lnTo>
                  <a:lnTo>
                    <a:pt x="519" y="156"/>
                  </a:lnTo>
                  <a:lnTo>
                    <a:pt x="506" y="155"/>
                  </a:lnTo>
                  <a:lnTo>
                    <a:pt x="499" y="155"/>
                  </a:lnTo>
                  <a:lnTo>
                    <a:pt x="494" y="155"/>
                  </a:lnTo>
                  <a:lnTo>
                    <a:pt x="484" y="156"/>
                  </a:lnTo>
                  <a:lnTo>
                    <a:pt x="478" y="156"/>
                  </a:lnTo>
                  <a:lnTo>
                    <a:pt x="471" y="156"/>
                  </a:lnTo>
                  <a:lnTo>
                    <a:pt x="456" y="159"/>
                  </a:lnTo>
                  <a:lnTo>
                    <a:pt x="450" y="160"/>
                  </a:lnTo>
                  <a:lnTo>
                    <a:pt x="449" y="158"/>
                  </a:lnTo>
                  <a:lnTo>
                    <a:pt x="443" y="153"/>
                  </a:lnTo>
                  <a:lnTo>
                    <a:pt x="440" y="150"/>
                  </a:lnTo>
                  <a:lnTo>
                    <a:pt x="436" y="144"/>
                  </a:lnTo>
                  <a:lnTo>
                    <a:pt x="432" y="140"/>
                  </a:lnTo>
                  <a:lnTo>
                    <a:pt x="427" y="136"/>
                  </a:lnTo>
                  <a:lnTo>
                    <a:pt x="423" y="134"/>
                  </a:lnTo>
                  <a:lnTo>
                    <a:pt x="417" y="129"/>
                  </a:lnTo>
                  <a:lnTo>
                    <a:pt x="412" y="127"/>
                  </a:lnTo>
                  <a:lnTo>
                    <a:pt x="406" y="128"/>
                  </a:lnTo>
                  <a:lnTo>
                    <a:pt x="396" y="131"/>
                  </a:lnTo>
                  <a:lnTo>
                    <a:pt x="393" y="132"/>
                  </a:lnTo>
                  <a:lnTo>
                    <a:pt x="385" y="131"/>
                  </a:lnTo>
                  <a:lnTo>
                    <a:pt x="377" y="129"/>
                  </a:lnTo>
                  <a:lnTo>
                    <a:pt x="374" y="129"/>
                  </a:lnTo>
                  <a:lnTo>
                    <a:pt x="369" y="129"/>
                  </a:lnTo>
                  <a:lnTo>
                    <a:pt x="363" y="130"/>
                  </a:lnTo>
                  <a:lnTo>
                    <a:pt x="359" y="131"/>
                  </a:lnTo>
                  <a:lnTo>
                    <a:pt x="356" y="132"/>
                  </a:lnTo>
                  <a:lnTo>
                    <a:pt x="354" y="132"/>
                  </a:lnTo>
                  <a:lnTo>
                    <a:pt x="350" y="132"/>
                  </a:lnTo>
                  <a:lnTo>
                    <a:pt x="343" y="130"/>
                  </a:lnTo>
                  <a:lnTo>
                    <a:pt x="338" y="130"/>
                  </a:lnTo>
                  <a:lnTo>
                    <a:pt x="334" y="129"/>
                  </a:lnTo>
                  <a:lnTo>
                    <a:pt x="329" y="129"/>
                  </a:lnTo>
                  <a:lnTo>
                    <a:pt x="327" y="131"/>
                  </a:lnTo>
                  <a:lnTo>
                    <a:pt x="322" y="134"/>
                  </a:lnTo>
                  <a:lnTo>
                    <a:pt x="320" y="136"/>
                  </a:lnTo>
                  <a:lnTo>
                    <a:pt x="313" y="137"/>
                  </a:lnTo>
                  <a:lnTo>
                    <a:pt x="307" y="138"/>
                  </a:lnTo>
                  <a:lnTo>
                    <a:pt x="303" y="139"/>
                  </a:lnTo>
                  <a:lnTo>
                    <a:pt x="299" y="140"/>
                  </a:lnTo>
                  <a:lnTo>
                    <a:pt x="294" y="138"/>
                  </a:lnTo>
                  <a:lnTo>
                    <a:pt x="281" y="138"/>
                  </a:lnTo>
                  <a:lnTo>
                    <a:pt x="272" y="132"/>
                  </a:lnTo>
                  <a:lnTo>
                    <a:pt x="268" y="135"/>
                  </a:lnTo>
                  <a:lnTo>
                    <a:pt x="265" y="138"/>
                  </a:lnTo>
                  <a:lnTo>
                    <a:pt x="259" y="140"/>
                  </a:lnTo>
                  <a:lnTo>
                    <a:pt x="256" y="142"/>
                  </a:lnTo>
                  <a:lnTo>
                    <a:pt x="250" y="143"/>
                  </a:lnTo>
                  <a:lnTo>
                    <a:pt x="244" y="145"/>
                  </a:lnTo>
                  <a:lnTo>
                    <a:pt x="242" y="146"/>
                  </a:lnTo>
                  <a:lnTo>
                    <a:pt x="239" y="144"/>
                  </a:lnTo>
                  <a:lnTo>
                    <a:pt x="236" y="142"/>
                  </a:lnTo>
                  <a:lnTo>
                    <a:pt x="235" y="137"/>
                  </a:lnTo>
                  <a:lnTo>
                    <a:pt x="235" y="131"/>
                  </a:lnTo>
                  <a:lnTo>
                    <a:pt x="232" y="128"/>
                  </a:lnTo>
                  <a:lnTo>
                    <a:pt x="226" y="126"/>
                  </a:lnTo>
                  <a:lnTo>
                    <a:pt x="224" y="126"/>
                  </a:lnTo>
                  <a:lnTo>
                    <a:pt x="219" y="127"/>
                  </a:lnTo>
                  <a:lnTo>
                    <a:pt x="216" y="130"/>
                  </a:lnTo>
                  <a:lnTo>
                    <a:pt x="214" y="134"/>
                  </a:lnTo>
                  <a:lnTo>
                    <a:pt x="211" y="140"/>
                  </a:lnTo>
                  <a:lnTo>
                    <a:pt x="209" y="144"/>
                  </a:lnTo>
                  <a:lnTo>
                    <a:pt x="208" y="146"/>
                  </a:lnTo>
                  <a:lnTo>
                    <a:pt x="203" y="146"/>
                  </a:lnTo>
                  <a:lnTo>
                    <a:pt x="202" y="144"/>
                  </a:lnTo>
                  <a:lnTo>
                    <a:pt x="202" y="137"/>
                  </a:lnTo>
                  <a:lnTo>
                    <a:pt x="200" y="128"/>
                  </a:lnTo>
                  <a:lnTo>
                    <a:pt x="198" y="121"/>
                  </a:lnTo>
                  <a:lnTo>
                    <a:pt x="196" y="121"/>
                  </a:lnTo>
                  <a:lnTo>
                    <a:pt x="192" y="122"/>
                  </a:lnTo>
                  <a:lnTo>
                    <a:pt x="187" y="123"/>
                  </a:lnTo>
                  <a:lnTo>
                    <a:pt x="183" y="126"/>
                  </a:lnTo>
                  <a:lnTo>
                    <a:pt x="177" y="132"/>
                  </a:lnTo>
                  <a:lnTo>
                    <a:pt x="176" y="136"/>
                  </a:lnTo>
                  <a:lnTo>
                    <a:pt x="175" y="140"/>
                  </a:lnTo>
                  <a:lnTo>
                    <a:pt x="175" y="147"/>
                  </a:lnTo>
                  <a:lnTo>
                    <a:pt x="176" y="154"/>
                  </a:lnTo>
                  <a:lnTo>
                    <a:pt x="175" y="160"/>
                  </a:lnTo>
                  <a:lnTo>
                    <a:pt x="177" y="211"/>
                  </a:lnTo>
                  <a:lnTo>
                    <a:pt x="177" y="218"/>
                  </a:lnTo>
                  <a:lnTo>
                    <a:pt x="123" y="219"/>
                  </a:lnTo>
                  <a:lnTo>
                    <a:pt x="95" y="219"/>
                  </a:lnTo>
                  <a:lnTo>
                    <a:pt x="84" y="220"/>
                  </a:lnTo>
                  <a:lnTo>
                    <a:pt x="78" y="222"/>
                  </a:lnTo>
                  <a:lnTo>
                    <a:pt x="75" y="224"/>
                  </a:lnTo>
                  <a:lnTo>
                    <a:pt x="74" y="226"/>
                  </a:lnTo>
                  <a:lnTo>
                    <a:pt x="71" y="228"/>
                  </a:lnTo>
                  <a:lnTo>
                    <a:pt x="67" y="230"/>
                  </a:lnTo>
                  <a:lnTo>
                    <a:pt x="65" y="226"/>
                  </a:lnTo>
                  <a:lnTo>
                    <a:pt x="65" y="223"/>
                  </a:lnTo>
                  <a:lnTo>
                    <a:pt x="66" y="220"/>
                  </a:lnTo>
                  <a:lnTo>
                    <a:pt x="65" y="217"/>
                  </a:lnTo>
                  <a:lnTo>
                    <a:pt x="63" y="215"/>
                  </a:lnTo>
                  <a:lnTo>
                    <a:pt x="59" y="214"/>
                  </a:lnTo>
                  <a:lnTo>
                    <a:pt x="57" y="215"/>
                  </a:lnTo>
                  <a:lnTo>
                    <a:pt x="55" y="218"/>
                  </a:lnTo>
                  <a:lnTo>
                    <a:pt x="55" y="222"/>
                  </a:lnTo>
                  <a:lnTo>
                    <a:pt x="56" y="223"/>
                  </a:lnTo>
                  <a:lnTo>
                    <a:pt x="57" y="226"/>
                  </a:lnTo>
                  <a:lnTo>
                    <a:pt x="58" y="228"/>
                  </a:lnTo>
                  <a:lnTo>
                    <a:pt x="59" y="232"/>
                  </a:lnTo>
                  <a:lnTo>
                    <a:pt x="60" y="233"/>
                  </a:lnTo>
                  <a:lnTo>
                    <a:pt x="59" y="235"/>
                  </a:lnTo>
                  <a:lnTo>
                    <a:pt x="57" y="235"/>
                  </a:lnTo>
                  <a:lnTo>
                    <a:pt x="56" y="233"/>
                  </a:lnTo>
                  <a:lnTo>
                    <a:pt x="55" y="233"/>
                  </a:lnTo>
                  <a:lnTo>
                    <a:pt x="52" y="235"/>
                  </a:lnTo>
                  <a:lnTo>
                    <a:pt x="51" y="236"/>
                  </a:lnTo>
                  <a:lnTo>
                    <a:pt x="49" y="235"/>
                  </a:lnTo>
                  <a:lnTo>
                    <a:pt x="48" y="232"/>
                  </a:lnTo>
                  <a:lnTo>
                    <a:pt x="47" y="227"/>
                  </a:lnTo>
                  <a:lnTo>
                    <a:pt x="47" y="225"/>
                  </a:lnTo>
                  <a:lnTo>
                    <a:pt x="46" y="224"/>
                  </a:lnTo>
                  <a:lnTo>
                    <a:pt x="42" y="224"/>
                  </a:lnTo>
                  <a:lnTo>
                    <a:pt x="39" y="226"/>
                  </a:lnTo>
                  <a:lnTo>
                    <a:pt x="35" y="228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4" y="235"/>
                  </a:lnTo>
                  <a:lnTo>
                    <a:pt x="36" y="239"/>
                  </a:lnTo>
                  <a:lnTo>
                    <a:pt x="40" y="240"/>
                  </a:lnTo>
                  <a:lnTo>
                    <a:pt x="43" y="242"/>
                  </a:lnTo>
                  <a:lnTo>
                    <a:pt x="44" y="244"/>
                  </a:lnTo>
                  <a:lnTo>
                    <a:pt x="40" y="244"/>
                  </a:lnTo>
                  <a:lnTo>
                    <a:pt x="38" y="242"/>
                  </a:lnTo>
                  <a:lnTo>
                    <a:pt x="35" y="241"/>
                  </a:lnTo>
                  <a:lnTo>
                    <a:pt x="31" y="242"/>
                  </a:lnTo>
                  <a:lnTo>
                    <a:pt x="27" y="244"/>
                  </a:lnTo>
                  <a:lnTo>
                    <a:pt x="24" y="246"/>
                  </a:lnTo>
                  <a:lnTo>
                    <a:pt x="20" y="247"/>
                  </a:lnTo>
                  <a:lnTo>
                    <a:pt x="18" y="250"/>
                  </a:lnTo>
                  <a:lnTo>
                    <a:pt x="16" y="254"/>
                  </a:lnTo>
                  <a:lnTo>
                    <a:pt x="16" y="259"/>
                  </a:lnTo>
                  <a:lnTo>
                    <a:pt x="17" y="263"/>
                  </a:lnTo>
                  <a:lnTo>
                    <a:pt x="19" y="265"/>
                  </a:lnTo>
                  <a:lnTo>
                    <a:pt x="24" y="264"/>
                  </a:lnTo>
                  <a:lnTo>
                    <a:pt x="26" y="264"/>
                  </a:lnTo>
                  <a:lnTo>
                    <a:pt x="25" y="268"/>
                  </a:lnTo>
                  <a:lnTo>
                    <a:pt x="23" y="272"/>
                  </a:lnTo>
                  <a:lnTo>
                    <a:pt x="16" y="279"/>
                  </a:lnTo>
                  <a:lnTo>
                    <a:pt x="17" y="288"/>
                  </a:lnTo>
                  <a:lnTo>
                    <a:pt x="19" y="294"/>
                  </a:lnTo>
                  <a:lnTo>
                    <a:pt x="19" y="296"/>
                  </a:lnTo>
                  <a:lnTo>
                    <a:pt x="22" y="298"/>
                  </a:lnTo>
                  <a:lnTo>
                    <a:pt x="25" y="299"/>
                  </a:lnTo>
                  <a:lnTo>
                    <a:pt x="27" y="300"/>
                  </a:lnTo>
                  <a:lnTo>
                    <a:pt x="31" y="302"/>
                  </a:lnTo>
                  <a:lnTo>
                    <a:pt x="34" y="302"/>
                  </a:lnTo>
                  <a:lnTo>
                    <a:pt x="38" y="300"/>
                  </a:lnTo>
                  <a:lnTo>
                    <a:pt x="40" y="297"/>
                  </a:lnTo>
                  <a:lnTo>
                    <a:pt x="43" y="296"/>
                  </a:lnTo>
                  <a:lnTo>
                    <a:pt x="44" y="296"/>
                  </a:lnTo>
                  <a:lnTo>
                    <a:pt x="47" y="296"/>
                  </a:lnTo>
                  <a:lnTo>
                    <a:pt x="44" y="299"/>
                  </a:lnTo>
                  <a:lnTo>
                    <a:pt x="40" y="302"/>
                  </a:lnTo>
                  <a:lnTo>
                    <a:pt x="38" y="304"/>
                  </a:lnTo>
                  <a:lnTo>
                    <a:pt x="34" y="305"/>
                  </a:lnTo>
                  <a:lnTo>
                    <a:pt x="32" y="307"/>
                  </a:lnTo>
                  <a:lnTo>
                    <a:pt x="27" y="307"/>
                  </a:lnTo>
                  <a:lnTo>
                    <a:pt x="23" y="304"/>
                  </a:lnTo>
                  <a:lnTo>
                    <a:pt x="19" y="304"/>
                  </a:lnTo>
                  <a:lnTo>
                    <a:pt x="18" y="305"/>
                  </a:lnTo>
                  <a:lnTo>
                    <a:pt x="16" y="307"/>
                  </a:lnTo>
                  <a:lnTo>
                    <a:pt x="12" y="311"/>
                  </a:lnTo>
                  <a:lnTo>
                    <a:pt x="8" y="314"/>
                  </a:lnTo>
                  <a:lnTo>
                    <a:pt x="3" y="315"/>
                  </a:lnTo>
                  <a:lnTo>
                    <a:pt x="1" y="315"/>
                  </a:lnTo>
                  <a:lnTo>
                    <a:pt x="0" y="316"/>
                  </a:lnTo>
                  <a:lnTo>
                    <a:pt x="1" y="320"/>
                  </a:lnTo>
                  <a:lnTo>
                    <a:pt x="4" y="321"/>
                  </a:lnTo>
                  <a:lnTo>
                    <a:pt x="9" y="322"/>
                  </a:lnTo>
                  <a:lnTo>
                    <a:pt x="12" y="322"/>
                  </a:lnTo>
                  <a:lnTo>
                    <a:pt x="16" y="323"/>
                  </a:lnTo>
                  <a:lnTo>
                    <a:pt x="18" y="324"/>
                  </a:lnTo>
                  <a:lnTo>
                    <a:pt x="22" y="324"/>
                  </a:lnTo>
                  <a:lnTo>
                    <a:pt x="27" y="323"/>
                  </a:lnTo>
                  <a:lnTo>
                    <a:pt x="31" y="322"/>
                  </a:lnTo>
                  <a:lnTo>
                    <a:pt x="33" y="323"/>
                  </a:lnTo>
                  <a:lnTo>
                    <a:pt x="36" y="324"/>
                  </a:lnTo>
                  <a:lnTo>
                    <a:pt x="38" y="324"/>
                  </a:lnTo>
                  <a:lnTo>
                    <a:pt x="40" y="324"/>
                  </a:lnTo>
                  <a:lnTo>
                    <a:pt x="43" y="324"/>
                  </a:lnTo>
                  <a:lnTo>
                    <a:pt x="46" y="322"/>
                  </a:lnTo>
                  <a:lnTo>
                    <a:pt x="51" y="323"/>
                  </a:lnTo>
                  <a:lnTo>
                    <a:pt x="52" y="324"/>
                  </a:lnTo>
                  <a:lnTo>
                    <a:pt x="55" y="327"/>
                  </a:lnTo>
                  <a:lnTo>
                    <a:pt x="55" y="328"/>
                  </a:lnTo>
                  <a:lnTo>
                    <a:pt x="57" y="328"/>
                  </a:lnTo>
                  <a:lnTo>
                    <a:pt x="59" y="328"/>
                  </a:lnTo>
                  <a:lnTo>
                    <a:pt x="62" y="327"/>
                  </a:lnTo>
                  <a:lnTo>
                    <a:pt x="63" y="324"/>
                  </a:lnTo>
                  <a:lnTo>
                    <a:pt x="63" y="322"/>
                  </a:lnTo>
                  <a:lnTo>
                    <a:pt x="63" y="319"/>
                  </a:lnTo>
                  <a:lnTo>
                    <a:pt x="63" y="316"/>
                  </a:lnTo>
                  <a:lnTo>
                    <a:pt x="62" y="315"/>
                  </a:lnTo>
                  <a:lnTo>
                    <a:pt x="60" y="312"/>
                  </a:lnTo>
                  <a:lnTo>
                    <a:pt x="62" y="311"/>
                  </a:lnTo>
                  <a:lnTo>
                    <a:pt x="63" y="310"/>
                  </a:lnTo>
                  <a:lnTo>
                    <a:pt x="66" y="311"/>
                  </a:lnTo>
                  <a:lnTo>
                    <a:pt x="67" y="311"/>
                  </a:lnTo>
                  <a:lnTo>
                    <a:pt x="71" y="310"/>
                  </a:lnTo>
                  <a:lnTo>
                    <a:pt x="72" y="306"/>
                  </a:lnTo>
                  <a:lnTo>
                    <a:pt x="73" y="304"/>
                  </a:lnTo>
                  <a:lnTo>
                    <a:pt x="74" y="302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4"/>
                  </a:lnTo>
                  <a:lnTo>
                    <a:pt x="82" y="291"/>
                  </a:lnTo>
                  <a:lnTo>
                    <a:pt x="83" y="290"/>
                  </a:lnTo>
                  <a:lnTo>
                    <a:pt x="84" y="286"/>
                  </a:lnTo>
                  <a:lnTo>
                    <a:pt x="86" y="284"/>
                  </a:lnTo>
                  <a:lnTo>
                    <a:pt x="88" y="284"/>
                  </a:lnTo>
                  <a:lnTo>
                    <a:pt x="89" y="283"/>
                  </a:lnTo>
                  <a:lnTo>
                    <a:pt x="91" y="283"/>
                  </a:lnTo>
                  <a:lnTo>
                    <a:pt x="92" y="284"/>
                  </a:lnTo>
                  <a:lnTo>
                    <a:pt x="95" y="286"/>
                  </a:lnTo>
                  <a:lnTo>
                    <a:pt x="98" y="286"/>
                  </a:lnTo>
                  <a:lnTo>
                    <a:pt x="102" y="284"/>
                  </a:lnTo>
                  <a:lnTo>
                    <a:pt x="104" y="284"/>
                  </a:lnTo>
                  <a:lnTo>
                    <a:pt x="107" y="282"/>
                  </a:lnTo>
                  <a:lnTo>
                    <a:pt x="110" y="281"/>
                  </a:lnTo>
                  <a:lnTo>
                    <a:pt x="112" y="280"/>
                  </a:lnTo>
                  <a:lnTo>
                    <a:pt x="114" y="278"/>
                  </a:lnTo>
                  <a:lnTo>
                    <a:pt x="116" y="276"/>
                  </a:lnTo>
                  <a:lnTo>
                    <a:pt x="120" y="276"/>
                  </a:lnTo>
                  <a:lnTo>
                    <a:pt x="123" y="276"/>
                  </a:lnTo>
                  <a:lnTo>
                    <a:pt x="127" y="275"/>
                  </a:lnTo>
                  <a:lnTo>
                    <a:pt x="129" y="273"/>
                  </a:lnTo>
                  <a:lnTo>
                    <a:pt x="130" y="272"/>
                  </a:lnTo>
                  <a:lnTo>
                    <a:pt x="131" y="268"/>
                  </a:lnTo>
                  <a:lnTo>
                    <a:pt x="131" y="266"/>
                  </a:lnTo>
                  <a:lnTo>
                    <a:pt x="132" y="264"/>
                  </a:lnTo>
                  <a:lnTo>
                    <a:pt x="134" y="263"/>
                  </a:lnTo>
                  <a:lnTo>
                    <a:pt x="136" y="260"/>
                  </a:lnTo>
                  <a:lnTo>
                    <a:pt x="140" y="256"/>
                  </a:lnTo>
                  <a:lnTo>
                    <a:pt x="145" y="256"/>
                  </a:lnTo>
                  <a:lnTo>
                    <a:pt x="147" y="256"/>
                  </a:lnTo>
                  <a:lnTo>
                    <a:pt x="150" y="255"/>
                  </a:lnTo>
                  <a:lnTo>
                    <a:pt x="152" y="255"/>
                  </a:lnTo>
                  <a:lnTo>
                    <a:pt x="154" y="254"/>
                  </a:lnTo>
                  <a:lnTo>
                    <a:pt x="158" y="254"/>
                  </a:lnTo>
                  <a:lnTo>
                    <a:pt x="159" y="254"/>
                  </a:lnTo>
                  <a:lnTo>
                    <a:pt x="161" y="254"/>
                  </a:lnTo>
                  <a:lnTo>
                    <a:pt x="163" y="254"/>
                  </a:lnTo>
                  <a:lnTo>
                    <a:pt x="167" y="252"/>
                  </a:lnTo>
                  <a:lnTo>
                    <a:pt x="168" y="251"/>
                  </a:lnTo>
                  <a:lnTo>
                    <a:pt x="169" y="249"/>
                  </a:lnTo>
                  <a:lnTo>
                    <a:pt x="171" y="248"/>
                  </a:lnTo>
                  <a:lnTo>
                    <a:pt x="172" y="248"/>
                  </a:lnTo>
                  <a:lnTo>
                    <a:pt x="175" y="244"/>
                  </a:lnTo>
                  <a:lnTo>
                    <a:pt x="176" y="244"/>
                  </a:lnTo>
                  <a:lnTo>
                    <a:pt x="177" y="244"/>
                  </a:lnTo>
                  <a:lnTo>
                    <a:pt x="179" y="244"/>
                  </a:lnTo>
                  <a:lnTo>
                    <a:pt x="182" y="244"/>
                  </a:lnTo>
                  <a:lnTo>
                    <a:pt x="185" y="243"/>
                  </a:lnTo>
                  <a:lnTo>
                    <a:pt x="187" y="242"/>
                  </a:lnTo>
                  <a:lnTo>
                    <a:pt x="192" y="243"/>
                  </a:lnTo>
                  <a:lnTo>
                    <a:pt x="195" y="242"/>
                  </a:lnTo>
                  <a:lnTo>
                    <a:pt x="196" y="242"/>
                  </a:lnTo>
                  <a:lnTo>
                    <a:pt x="195" y="243"/>
                  </a:lnTo>
                  <a:lnTo>
                    <a:pt x="192" y="244"/>
                  </a:lnTo>
                  <a:lnTo>
                    <a:pt x="191" y="246"/>
                  </a:lnTo>
                  <a:lnTo>
                    <a:pt x="187" y="246"/>
                  </a:lnTo>
                  <a:lnTo>
                    <a:pt x="185" y="247"/>
                  </a:lnTo>
                  <a:lnTo>
                    <a:pt x="183" y="247"/>
                  </a:lnTo>
                  <a:lnTo>
                    <a:pt x="180" y="249"/>
                  </a:lnTo>
                  <a:lnTo>
                    <a:pt x="179" y="251"/>
                  </a:lnTo>
                  <a:lnTo>
                    <a:pt x="178" y="252"/>
                  </a:lnTo>
                  <a:lnTo>
                    <a:pt x="176" y="254"/>
                  </a:lnTo>
                  <a:lnTo>
                    <a:pt x="174" y="254"/>
                  </a:lnTo>
                  <a:lnTo>
                    <a:pt x="171" y="255"/>
                  </a:lnTo>
                  <a:lnTo>
                    <a:pt x="169" y="256"/>
                  </a:lnTo>
                  <a:lnTo>
                    <a:pt x="167" y="258"/>
                  </a:lnTo>
                  <a:lnTo>
                    <a:pt x="166" y="259"/>
                  </a:lnTo>
                  <a:lnTo>
                    <a:pt x="163" y="260"/>
                  </a:lnTo>
                  <a:lnTo>
                    <a:pt x="158" y="262"/>
                  </a:lnTo>
                  <a:lnTo>
                    <a:pt x="154" y="262"/>
                  </a:lnTo>
                  <a:lnTo>
                    <a:pt x="151" y="262"/>
                  </a:lnTo>
                  <a:lnTo>
                    <a:pt x="148" y="264"/>
                  </a:lnTo>
                  <a:lnTo>
                    <a:pt x="146" y="267"/>
                  </a:lnTo>
                  <a:lnTo>
                    <a:pt x="144" y="270"/>
                  </a:lnTo>
                  <a:lnTo>
                    <a:pt x="143" y="274"/>
                  </a:lnTo>
                  <a:lnTo>
                    <a:pt x="140" y="278"/>
                  </a:lnTo>
                  <a:lnTo>
                    <a:pt x="139" y="279"/>
                  </a:lnTo>
                  <a:lnTo>
                    <a:pt x="137" y="279"/>
                  </a:lnTo>
                  <a:lnTo>
                    <a:pt x="135" y="279"/>
                  </a:lnTo>
                  <a:lnTo>
                    <a:pt x="132" y="280"/>
                  </a:lnTo>
                  <a:lnTo>
                    <a:pt x="130" y="283"/>
                  </a:lnTo>
                  <a:lnTo>
                    <a:pt x="129" y="286"/>
                  </a:lnTo>
                  <a:lnTo>
                    <a:pt x="128" y="286"/>
                  </a:lnTo>
                  <a:lnTo>
                    <a:pt x="127" y="286"/>
                  </a:lnTo>
                  <a:lnTo>
                    <a:pt x="127" y="288"/>
                  </a:lnTo>
                  <a:lnTo>
                    <a:pt x="128" y="289"/>
                  </a:lnTo>
                  <a:lnTo>
                    <a:pt x="127" y="290"/>
                  </a:lnTo>
                  <a:lnTo>
                    <a:pt x="126" y="292"/>
                  </a:lnTo>
                  <a:lnTo>
                    <a:pt x="123" y="292"/>
                  </a:lnTo>
                  <a:lnTo>
                    <a:pt x="121" y="295"/>
                  </a:lnTo>
                  <a:lnTo>
                    <a:pt x="120" y="296"/>
                  </a:lnTo>
                  <a:lnTo>
                    <a:pt x="119" y="297"/>
                  </a:lnTo>
                  <a:lnTo>
                    <a:pt x="118" y="298"/>
                  </a:lnTo>
                  <a:lnTo>
                    <a:pt x="114" y="298"/>
                  </a:lnTo>
                  <a:lnTo>
                    <a:pt x="113" y="298"/>
                  </a:lnTo>
                  <a:lnTo>
                    <a:pt x="110" y="299"/>
                  </a:lnTo>
                  <a:lnTo>
                    <a:pt x="108" y="300"/>
                  </a:lnTo>
                  <a:lnTo>
                    <a:pt x="104" y="302"/>
                  </a:lnTo>
                  <a:lnTo>
                    <a:pt x="102" y="302"/>
                  </a:lnTo>
                  <a:lnTo>
                    <a:pt x="97" y="304"/>
                  </a:lnTo>
                  <a:lnTo>
                    <a:pt x="95" y="305"/>
                  </a:lnTo>
                  <a:lnTo>
                    <a:pt x="92" y="307"/>
                  </a:lnTo>
                  <a:lnTo>
                    <a:pt x="91" y="308"/>
                  </a:lnTo>
                  <a:lnTo>
                    <a:pt x="94" y="311"/>
                  </a:lnTo>
                  <a:lnTo>
                    <a:pt x="96" y="312"/>
                  </a:lnTo>
                  <a:lnTo>
                    <a:pt x="99" y="312"/>
                  </a:lnTo>
                  <a:lnTo>
                    <a:pt x="100" y="311"/>
                  </a:lnTo>
                  <a:lnTo>
                    <a:pt x="103" y="310"/>
                  </a:lnTo>
                  <a:lnTo>
                    <a:pt x="104" y="311"/>
                  </a:lnTo>
                  <a:lnTo>
                    <a:pt x="103" y="313"/>
                  </a:lnTo>
                  <a:lnTo>
                    <a:pt x="103" y="315"/>
                  </a:lnTo>
                  <a:lnTo>
                    <a:pt x="103" y="318"/>
                  </a:lnTo>
                  <a:lnTo>
                    <a:pt x="99" y="319"/>
                  </a:lnTo>
                  <a:lnTo>
                    <a:pt x="97" y="318"/>
                  </a:lnTo>
                  <a:lnTo>
                    <a:pt x="95" y="315"/>
                  </a:lnTo>
                  <a:lnTo>
                    <a:pt x="92" y="314"/>
                  </a:lnTo>
                  <a:lnTo>
                    <a:pt x="90" y="313"/>
                  </a:lnTo>
                  <a:lnTo>
                    <a:pt x="88" y="312"/>
                  </a:lnTo>
                  <a:lnTo>
                    <a:pt x="88" y="310"/>
                  </a:lnTo>
                  <a:lnTo>
                    <a:pt x="86" y="310"/>
                  </a:lnTo>
                  <a:lnTo>
                    <a:pt x="84" y="311"/>
                  </a:lnTo>
                  <a:lnTo>
                    <a:pt x="82" y="313"/>
                  </a:lnTo>
                  <a:lnTo>
                    <a:pt x="81" y="315"/>
                  </a:lnTo>
                  <a:lnTo>
                    <a:pt x="80" y="318"/>
                  </a:lnTo>
                  <a:lnTo>
                    <a:pt x="80" y="320"/>
                  </a:lnTo>
                  <a:lnTo>
                    <a:pt x="81" y="322"/>
                  </a:lnTo>
                  <a:lnTo>
                    <a:pt x="82" y="327"/>
                  </a:lnTo>
                  <a:lnTo>
                    <a:pt x="82" y="329"/>
                  </a:lnTo>
                  <a:lnTo>
                    <a:pt x="81" y="332"/>
                  </a:lnTo>
                  <a:lnTo>
                    <a:pt x="80" y="336"/>
                  </a:lnTo>
                  <a:lnTo>
                    <a:pt x="80" y="338"/>
                  </a:lnTo>
                  <a:lnTo>
                    <a:pt x="81" y="342"/>
                  </a:lnTo>
                  <a:lnTo>
                    <a:pt x="81" y="344"/>
                  </a:lnTo>
                  <a:lnTo>
                    <a:pt x="79" y="347"/>
                  </a:lnTo>
                  <a:lnTo>
                    <a:pt x="78" y="350"/>
                  </a:lnTo>
                  <a:lnTo>
                    <a:pt x="79" y="352"/>
                  </a:lnTo>
                  <a:lnTo>
                    <a:pt x="80" y="352"/>
                  </a:lnTo>
                  <a:lnTo>
                    <a:pt x="82" y="352"/>
                  </a:lnTo>
                  <a:lnTo>
                    <a:pt x="84" y="351"/>
                  </a:lnTo>
                  <a:lnTo>
                    <a:pt x="86" y="348"/>
                  </a:lnTo>
                  <a:lnTo>
                    <a:pt x="87" y="346"/>
                  </a:lnTo>
                  <a:lnTo>
                    <a:pt x="87" y="344"/>
                  </a:lnTo>
                  <a:lnTo>
                    <a:pt x="87" y="340"/>
                  </a:lnTo>
                  <a:lnTo>
                    <a:pt x="88" y="339"/>
                  </a:lnTo>
                  <a:lnTo>
                    <a:pt x="87" y="337"/>
                  </a:lnTo>
                  <a:lnTo>
                    <a:pt x="86" y="335"/>
                  </a:lnTo>
                  <a:lnTo>
                    <a:pt x="86" y="331"/>
                  </a:lnTo>
                  <a:lnTo>
                    <a:pt x="86" y="330"/>
                  </a:lnTo>
                  <a:lnTo>
                    <a:pt x="88" y="330"/>
                  </a:lnTo>
                  <a:lnTo>
                    <a:pt x="90" y="329"/>
                  </a:lnTo>
                  <a:lnTo>
                    <a:pt x="90" y="332"/>
                  </a:lnTo>
                  <a:lnTo>
                    <a:pt x="90" y="334"/>
                  </a:lnTo>
                  <a:lnTo>
                    <a:pt x="90" y="336"/>
                  </a:lnTo>
                  <a:lnTo>
                    <a:pt x="91" y="338"/>
                  </a:lnTo>
                  <a:lnTo>
                    <a:pt x="92" y="342"/>
                  </a:lnTo>
                  <a:lnTo>
                    <a:pt x="94" y="344"/>
                  </a:lnTo>
                  <a:lnTo>
                    <a:pt x="95" y="344"/>
                  </a:lnTo>
                  <a:lnTo>
                    <a:pt x="97" y="344"/>
                  </a:lnTo>
                  <a:lnTo>
                    <a:pt x="99" y="343"/>
                  </a:lnTo>
                  <a:lnTo>
                    <a:pt x="102" y="342"/>
                  </a:lnTo>
                  <a:lnTo>
                    <a:pt x="103" y="342"/>
                  </a:lnTo>
                  <a:lnTo>
                    <a:pt x="104" y="344"/>
                  </a:lnTo>
                  <a:lnTo>
                    <a:pt x="103" y="345"/>
                  </a:lnTo>
                  <a:lnTo>
                    <a:pt x="102" y="346"/>
                  </a:lnTo>
                  <a:lnTo>
                    <a:pt x="98" y="347"/>
                  </a:lnTo>
                  <a:lnTo>
                    <a:pt x="94" y="350"/>
                  </a:lnTo>
                  <a:lnTo>
                    <a:pt x="91" y="351"/>
                  </a:lnTo>
                  <a:lnTo>
                    <a:pt x="89" y="352"/>
                  </a:lnTo>
                  <a:lnTo>
                    <a:pt x="87" y="353"/>
                  </a:lnTo>
                  <a:lnTo>
                    <a:pt x="87" y="354"/>
                  </a:lnTo>
                  <a:lnTo>
                    <a:pt x="89" y="354"/>
                  </a:lnTo>
                  <a:lnTo>
                    <a:pt x="90" y="354"/>
                  </a:lnTo>
                  <a:lnTo>
                    <a:pt x="91" y="354"/>
                  </a:lnTo>
                  <a:lnTo>
                    <a:pt x="91" y="356"/>
                  </a:lnTo>
                  <a:lnTo>
                    <a:pt x="91" y="359"/>
                  </a:lnTo>
                  <a:lnTo>
                    <a:pt x="88" y="360"/>
                  </a:lnTo>
                  <a:lnTo>
                    <a:pt x="84" y="360"/>
                  </a:lnTo>
                  <a:lnTo>
                    <a:pt x="83" y="360"/>
                  </a:lnTo>
                  <a:lnTo>
                    <a:pt x="83" y="361"/>
                  </a:lnTo>
                  <a:lnTo>
                    <a:pt x="86" y="362"/>
                  </a:lnTo>
                  <a:lnTo>
                    <a:pt x="86" y="364"/>
                  </a:lnTo>
                  <a:lnTo>
                    <a:pt x="82" y="366"/>
                  </a:lnTo>
                  <a:lnTo>
                    <a:pt x="82" y="367"/>
                  </a:lnTo>
                  <a:lnTo>
                    <a:pt x="83" y="368"/>
                  </a:lnTo>
                  <a:lnTo>
                    <a:pt x="86" y="368"/>
                  </a:lnTo>
                  <a:lnTo>
                    <a:pt x="89" y="368"/>
                  </a:lnTo>
                  <a:lnTo>
                    <a:pt x="91" y="367"/>
                  </a:lnTo>
                  <a:lnTo>
                    <a:pt x="92" y="364"/>
                  </a:lnTo>
                  <a:lnTo>
                    <a:pt x="92" y="363"/>
                  </a:lnTo>
                  <a:lnTo>
                    <a:pt x="95" y="362"/>
                  </a:lnTo>
                  <a:lnTo>
                    <a:pt x="96" y="363"/>
                  </a:lnTo>
                  <a:lnTo>
                    <a:pt x="95" y="367"/>
                  </a:lnTo>
                  <a:lnTo>
                    <a:pt x="94" y="368"/>
                  </a:lnTo>
                  <a:lnTo>
                    <a:pt x="94" y="370"/>
                  </a:lnTo>
                  <a:lnTo>
                    <a:pt x="95" y="372"/>
                  </a:lnTo>
                  <a:lnTo>
                    <a:pt x="96" y="375"/>
                  </a:lnTo>
                  <a:lnTo>
                    <a:pt x="97" y="375"/>
                  </a:lnTo>
                  <a:lnTo>
                    <a:pt x="99" y="375"/>
                  </a:lnTo>
                  <a:lnTo>
                    <a:pt x="100" y="376"/>
                  </a:lnTo>
                  <a:lnTo>
                    <a:pt x="102" y="376"/>
                  </a:lnTo>
                  <a:lnTo>
                    <a:pt x="104" y="375"/>
                  </a:lnTo>
                  <a:lnTo>
                    <a:pt x="104" y="371"/>
                  </a:lnTo>
                  <a:lnTo>
                    <a:pt x="105" y="369"/>
                  </a:lnTo>
                  <a:lnTo>
                    <a:pt x="107" y="369"/>
                  </a:lnTo>
                  <a:lnTo>
                    <a:pt x="108" y="370"/>
                  </a:lnTo>
                  <a:lnTo>
                    <a:pt x="111" y="370"/>
                  </a:lnTo>
                  <a:lnTo>
                    <a:pt x="113" y="369"/>
                  </a:lnTo>
                  <a:lnTo>
                    <a:pt x="114" y="368"/>
                  </a:lnTo>
                  <a:lnTo>
                    <a:pt x="118" y="368"/>
                  </a:lnTo>
                  <a:lnTo>
                    <a:pt x="119" y="371"/>
                  </a:lnTo>
                  <a:lnTo>
                    <a:pt x="119" y="372"/>
                  </a:lnTo>
                  <a:lnTo>
                    <a:pt x="116" y="374"/>
                  </a:lnTo>
                  <a:lnTo>
                    <a:pt x="115" y="375"/>
                  </a:lnTo>
                  <a:lnTo>
                    <a:pt x="112" y="376"/>
                  </a:lnTo>
                  <a:lnTo>
                    <a:pt x="111" y="377"/>
                  </a:lnTo>
                  <a:lnTo>
                    <a:pt x="110" y="379"/>
                  </a:lnTo>
                  <a:lnTo>
                    <a:pt x="108" y="382"/>
                  </a:lnTo>
                  <a:lnTo>
                    <a:pt x="110" y="383"/>
                  </a:lnTo>
                  <a:lnTo>
                    <a:pt x="110" y="384"/>
                  </a:lnTo>
                  <a:lnTo>
                    <a:pt x="111" y="384"/>
                  </a:lnTo>
                  <a:lnTo>
                    <a:pt x="112" y="384"/>
                  </a:lnTo>
                  <a:lnTo>
                    <a:pt x="113" y="384"/>
                  </a:lnTo>
                  <a:lnTo>
                    <a:pt x="114" y="384"/>
                  </a:lnTo>
                  <a:lnTo>
                    <a:pt x="115" y="384"/>
                  </a:lnTo>
                  <a:lnTo>
                    <a:pt x="116" y="385"/>
                  </a:lnTo>
                  <a:lnTo>
                    <a:pt x="119" y="385"/>
                  </a:lnTo>
                  <a:lnTo>
                    <a:pt x="120" y="386"/>
                  </a:lnTo>
                  <a:lnTo>
                    <a:pt x="121" y="387"/>
                  </a:lnTo>
                  <a:lnTo>
                    <a:pt x="123" y="387"/>
                  </a:lnTo>
                  <a:lnTo>
                    <a:pt x="124" y="387"/>
                  </a:lnTo>
                  <a:lnTo>
                    <a:pt x="126" y="387"/>
                  </a:lnTo>
                  <a:lnTo>
                    <a:pt x="127" y="388"/>
                  </a:lnTo>
                  <a:lnTo>
                    <a:pt x="127" y="390"/>
                  </a:lnTo>
                  <a:lnTo>
                    <a:pt x="127" y="391"/>
                  </a:lnTo>
                  <a:lnTo>
                    <a:pt x="128" y="392"/>
                  </a:lnTo>
                  <a:lnTo>
                    <a:pt x="128" y="393"/>
                  </a:lnTo>
                  <a:lnTo>
                    <a:pt x="129" y="393"/>
                  </a:lnTo>
                  <a:lnTo>
                    <a:pt x="130" y="393"/>
                  </a:lnTo>
                  <a:lnTo>
                    <a:pt x="131" y="392"/>
                  </a:lnTo>
                  <a:lnTo>
                    <a:pt x="132" y="393"/>
                  </a:lnTo>
                  <a:lnTo>
                    <a:pt x="134" y="394"/>
                  </a:lnTo>
                  <a:lnTo>
                    <a:pt x="135" y="394"/>
                  </a:lnTo>
                  <a:lnTo>
                    <a:pt x="137" y="394"/>
                  </a:lnTo>
                  <a:lnTo>
                    <a:pt x="139" y="394"/>
                  </a:lnTo>
                  <a:lnTo>
                    <a:pt x="140" y="394"/>
                  </a:lnTo>
                  <a:lnTo>
                    <a:pt x="142" y="395"/>
                  </a:lnTo>
                  <a:lnTo>
                    <a:pt x="140" y="395"/>
                  </a:lnTo>
                  <a:lnTo>
                    <a:pt x="138" y="396"/>
                  </a:lnTo>
                  <a:lnTo>
                    <a:pt x="136" y="395"/>
                  </a:lnTo>
                  <a:lnTo>
                    <a:pt x="135" y="395"/>
                  </a:lnTo>
                  <a:lnTo>
                    <a:pt x="132" y="396"/>
                  </a:lnTo>
                  <a:lnTo>
                    <a:pt x="131" y="398"/>
                  </a:lnTo>
                  <a:lnTo>
                    <a:pt x="131" y="399"/>
                  </a:lnTo>
                  <a:lnTo>
                    <a:pt x="131" y="400"/>
                  </a:lnTo>
                  <a:lnTo>
                    <a:pt x="130" y="400"/>
                  </a:lnTo>
                  <a:lnTo>
                    <a:pt x="129" y="399"/>
                  </a:lnTo>
                  <a:lnTo>
                    <a:pt x="129" y="398"/>
                  </a:lnTo>
                  <a:lnTo>
                    <a:pt x="128" y="396"/>
                  </a:lnTo>
                  <a:lnTo>
                    <a:pt x="127" y="396"/>
                  </a:lnTo>
                  <a:lnTo>
                    <a:pt x="127" y="398"/>
                  </a:lnTo>
                  <a:lnTo>
                    <a:pt x="126" y="399"/>
                  </a:lnTo>
                  <a:lnTo>
                    <a:pt x="124" y="400"/>
                  </a:lnTo>
                  <a:lnTo>
                    <a:pt x="123" y="401"/>
                  </a:lnTo>
                  <a:lnTo>
                    <a:pt x="122" y="401"/>
                  </a:lnTo>
                  <a:lnTo>
                    <a:pt x="121" y="401"/>
                  </a:lnTo>
                  <a:lnTo>
                    <a:pt x="120" y="403"/>
                  </a:lnTo>
                  <a:lnTo>
                    <a:pt x="119" y="407"/>
                  </a:lnTo>
                  <a:lnTo>
                    <a:pt x="118" y="407"/>
                  </a:lnTo>
                  <a:lnTo>
                    <a:pt x="116" y="408"/>
                  </a:lnTo>
                  <a:lnTo>
                    <a:pt x="116" y="409"/>
                  </a:lnTo>
                  <a:lnTo>
                    <a:pt x="118" y="410"/>
                  </a:lnTo>
                  <a:lnTo>
                    <a:pt x="119" y="410"/>
                  </a:lnTo>
                  <a:lnTo>
                    <a:pt x="121" y="410"/>
                  </a:lnTo>
                  <a:lnTo>
                    <a:pt x="126" y="410"/>
                  </a:lnTo>
                  <a:lnTo>
                    <a:pt x="127" y="410"/>
                  </a:lnTo>
                  <a:lnTo>
                    <a:pt x="128" y="410"/>
                  </a:lnTo>
                  <a:lnTo>
                    <a:pt x="130" y="411"/>
                  </a:lnTo>
                  <a:lnTo>
                    <a:pt x="131" y="412"/>
                  </a:lnTo>
                  <a:lnTo>
                    <a:pt x="131" y="414"/>
                  </a:lnTo>
                  <a:lnTo>
                    <a:pt x="131" y="415"/>
                  </a:lnTo>
                  <a:lnTo>
                    <a:pt x="132" y="415"/>
                  </a:lnTo>
                  <a:lnTo>
                    <a:pt x="134" y="416"/>
                  </a:lnTo>
                  <a:lnTo>
                    <a:pt x="135" y="416"/>
                  </a:lnTo>
                  <a:lnTo>
                    <a:pt x="136" y="417"/>
                  </a:lnTo>
                  <a:lnTo>
                    <a:pt x="137" y="418"/>
                  </a:lnTo>
                  <a:lnTo>
                    <a:pt x="138" y="418"/>
                  </a:lnTo>
                  <a:lnTo>
                    <a:pt x="139" y="420"/>
                  </a:lnTo>
                  <a:lnTo>
                    <a:pt x="138" y="420"/>
                  </a:lnTo>
                  <a:lnTo>
                    <a:pt x="136" y="420"/>
                  </a:lnTo>
                  <a:lnTo>
                    <a:pt x="135" y="419"/>
                  </a:lnTo>
                  <a:lnTo>
                    <a:pt x="131" y="418"/>
                  </a:lnTo>
                  <a:lnTo>
                    <a:pt x="128" y="416"/>
                  </a:lnTo>
                  <a:lnTo>
                    <a:pt x="127" y="415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3" y="414"/>
                  </a:lnTo>
                  <a:lnTo>
                    <a:pt x="122" y="414"/>
                  </a:lnTo>
                  <a:lnTo>
                    <a:pt x="121" y="414"/>
                  </a:lnTo>
                  <a:lnTo>
                    <a:pt x="120" y="415"/>
                  </a:lnTo>
                  <a:lnTo>
                    <a:pt x="121" y="417"/>
                  </a:lnTo>
                  <a:lnTo>
                    <a:pt x="121" y="418"/>
                  </a:lnTo>
                  <a:lnTo>
                    <a:pt x="122" y="419"/>
                  </a:lnTo>
                  <a:lnTo>
                    <a:pt x="123" y="422"/>
                  </a:lnTo>
                  <a:lnTo>
                    <a:pt x="124" y="422"/>
                  </a:lnTo>
                  <a:lnTo>
                    <a:pt x="127" y="422"/>
                  </a:lnTo>
                  <a:lnTo>
                    <a:pt x="129" y="422"/>
                  </a:lnTo>
                  <a:lnTo>
                    <a:pt x="130" y="424"/>
                  </a:lnTo>
                  <a:lnTo>
                    <a:pt x="130" y="425"/>
                  </a:lnTo>
                  <a:lnTo>
                    <a:pt x="131" y="426"/>
                  </a:lnTo>
                  <a:lnTo>
                    <a:pt x="134" y="426"/>
                  </a:lnTo>
                  <a:lnTo>
                    <a:pt x="136" y="427"/>
                  </a:lnTo>
                  <a:lnTo>
                    <a:pt x="138" y="427"/>
                  </a:lnTo>
                  <a:lnTo>
                    <a:pt x="140" y="427"/>
                  </a:lnTo>
                  <a:lnTo>
                    <a:pt x="142" y="427"/>
                  </a:lnTo>
                  <a:lnTo>
                    <a:pt x="142" y="430"/>
                  </a:lnTo>
                  <a:lnTo>
                    <a:pt x="140" y="431"/>
                  </a:lnTo>
                  <a:lnTo>
                    <a:pt x="137" y="431"/>
                  </a:lnTo>
                  <a:lnTo>
                    <a:pt x="135" y="432"/>
                  </a:lnTo>
                  <a:lnTo>
                    <a:pt x="136" y="433"/>
                  </a:lnTo>
                  <a:lnTo>
                    <a:pt x="137" y="433"/>
                  </a:lnTo>
                  <a:lnTo>
                    <a:pt x="138" y="433"/>
                  </a:lnTo>
                  <a:lnTo>
                    <a:pt x="138" y="434"/>
                  </a:lnTo>
                  <a:lnTo>
                    <a:pt x="139" y="436"/>
                  </a:lnTo>
                  <a:lnTo>
                    <a:pt x="140" y="436"/>
                  </a:lnTo>
                  <a:lnTo>
                    <a:pt x="142" y="438"/>
                  </a:lnTo>
                  <a:lnTo>
                    <a:pt x="144" y="439"/>
                  </a:lnTo>
                  <a:lnTo>
                    <a:pt x="147" y="440"/>
                  </a:lnTo>
                  <a:lnTo>
                    <a:pt x="147" y="442"/>
                  </a:lnTo>
                  <a:lnTo>
                    <a:pt x="147" y="443"/>
                  </a:lnTo>
                  <a:lnTo>
                    <a:pt x="147" y="444"/>
                  </a:lnTo>
                  <a:lnTo>
                    <a:pt x="148" y="446"/>
                  </a:lnTo>
                  <a:lnTo>
                    <a:pt x="151" y="447"/>
                  </a:lnTo>
                  <a:lnTo>
                    <a:pt x="152" y="447"/>
                  </a:lnTo>
                  <a:lnTo>
                    <a:pt x="153" y="448"/>
                  </a:lnTo>
                  <a:lnTo>
                    <a:pt x="154" y="451"/>
                  </a:lnTo>
                  <a:lnTo>
                    <a:pt x="154" y="452"/>
                  </a:lnTo>
                  <a:lnTo>
                    <a:pt x="155" y="455"/>
                  </a:lnTo>
                  <a:lnTo>
                    <a:pt x="158" y="457"/>
                  </a:lnTo>
                  <a:lnTo>
                    <a:pt x="160" y="458"/>
                  </a:lnTo>
                  <a:lnTo>
                    <a:pt x="162" y="459"/>
                  </a:lnTo>
                  <a:lnTo>
                    <a:pt x="166" y="458"/>
                  </a:lnTo>
                  <a:lnTo>
                    <a:pt x="168" y="458"/>
                  </a:lnTo>
                  <a:lnTo>
                    <a:pt x="170" y="458"/>
                  </a:lnTo>
                  <a:lnTo>
                    <a:pt x="172" y="458"/>
                  </a:lnTo>
                  <a:lnTo>
                    <a:pt x="176" y="459"/>
                  </a:lnTo>
                  <a:lnTo>
                    <a:pt x="178" y="459"/>
                  </a:lnTo>
                  <a:lnTo>
                    <a:pt x="182" y="462"/>
                  </a:lnTo>
                  <a:lnTo>
                    <a:pt x="184" y="463"/>
                  </a:lnTo>
                  <a:lnTo>
                    <a:pt x="185" y="463"/>
                  </a:lnTo>
                  <a:lnTo>
                    <a:pt x="187" y="464"/>
                  </a:lnTo>
                  <a:lnTo>
                    <a:pt x="192" y="467"/>
                  </a:lnTo>
                  <a:lnTo>
                    <a:pt x="194" y="468"/>
                  </a:lnTo>
                  <a:lnTo>
                    <a:pt x="198" y="471"/>
                  </a:lnTo>
                  <a:lnTo>
                    <a:pt x="201" y="472"/>
                  </a:lnTo>
                  <a:lnTo>
                    <a:pt x="204" y="474"/>
                  </a:lnTo>
                  <a:lnTo>
                    <a:pt x="208" y="476"/>
                  </a:lnTo>
                  <a:lnTo>
                    <a:pt x="214" y="479"/>
                  </a:lnTo>
                  <a:lnTo>
                    <a:pt x="216" y="480"/>
                  </a:lnTo>
                  <a:lnTo>
                    <a:pt x="220" y="482"/>
                  </a:lnTo>
                  <a:lnTo>
                    <a:pt x="223" y="484"/>
                  </a:lnTo>
                  <a:lnTo>
                    <a:pt x="226" y="487"/>
                  </a:lnTo>
                  <a:lnTo>
                    <a:pt x="230" y="488"/>
                  </a:lnTo>
                  <a:lnTo>
                    <a:pt x="232" y="489"/>
                  </a:lnTo>
                  <a:lnTo>
                    <a:pt x="235" y="490"/>
                  </a:lnTo>
                  <a:lnTo>
                    <a:pt x="238" y="491"/>
                  </a:lnTo>
                  <a:lnTo>
                    <a:pt x="239" y="491"/>
                  </a:lnTo>
                  <a:lnTo>
                    <a:pt x="243" y="492"/>
                  </a:lnTo>
                  <a:lnTo>
                    <a:pt x="244" y="494"/>
                  </a:lnTo>
                  <a:lnTo>
                    <a:pt x="247" y="495"/>
                  </a:lnTo>
                  <a:lnTo>
                    <a:pt x="248" y="496"/>
                  </a:lnTo>
                  <a:lnTo>
                    <a:pt x="250" y="497"/>
                  </a:lnTo>
                  <a:lnTo>
                    <a:pt x="251" y="498"/>
                  </a:lnTo>
                  <a:lnTo>
                    <a:pt x="252" y="499"/>
                  </a:lnTo>
                  <a:lnTo>
                    <a:pt x="255" y="499"/>
                  </a:lnTo>
                  <a:lnTo>
                    <a:pt x="256" y="500"/>
                  </a:lnTo>
                  <a:lnTo>
                    <a:pt x="257" y="500"/>
                  </a:lnTo>
                  <a:lnTo>
                    <a:pt x="258" y="500"/>
                  </a:lnTo>
                  <a:lnTo>
                    <a:pt x="258" y="502"/>
                  </a:lnTo>
                  <a:lnTo>
                    <a:pt x="259" y="500"/>
                  </a:lnTo>
                  <a:lnTo>
                    <a:pt x="260" y="500"/>
                  </a:lnTo>
                  <a:lnTo>
                    <a:pt x="262" y="502"/>
                  </a:lnTo>
                  <a:lnTo>
                    <a:pt x="262" y="503"/>
                  </a:lnTo>
                  <a:lnTo>
                    <a:pt x="263" y="503"/>
                  </a:lnTo>
                  <a:lnTo>
                    <a:pt x="264" y="504"/>
                  </a:lnTo>
                  <a:lnTo>
                    <a:pt x="265" y="505"/>
                  </a:lnTo>
                  <a:lnTo>
                    <a:pt x="266" y="506"/>
                  </a:lnTo>
                  <a:lnTo>
                    <a:pt x="267" y="507"/>
                  </a:lnTo>
                  <a:lnTo>
                    <a:pt x="270" y="507"/>
                  </a:lnTo>
                  <a:lnTo>
                    <a:pt x="270" y="508"/>
                  </a:lnTo>
                  <a:lnTo>
                    <a:pt x="271" y="508"/>
                  </a:lnTo>
                  <a:lnTo>
                    <a:pt x="272" y="507"/>
                  </a:lnTo>
                  <a:lnTo>
                    <a:pt x="274" y="508"/>
                  </a:lnTo>
                  <a:lnTo>
                    <a:pt x="274" y="510"/>
                  </a:lnTo>
                  <a:lnTo>
                    <a:pt x="275" y="511"/>
                  </a:lnTo>
                  <a:lnTo>
                    <a:pt x="276" y="512"/>
                  </a:lnTo>
                  <a:lnTo>
                    <a:pt x="278" y="513"/>
                  </a:lnTo>
                  <a:lnTo>
                    <a:pt x="279" y="515"/>
                  </a:lnTo>
                  <a:lnTo>
                    <a:pt x="280" y="515"/>
                  </a:lnTo>
                  <a:lnTo>
                    <a:pt x="281" y="516"/>
                  </a:lnTo>
                  <a:lnTo>
                    <a:pt x="282" y="516"/>
                  </a:lnTo>
                  <a:lnTo>
                    <a:pt x="284" y="518"/>
                  </a:lnTo>
                  <a:lnTo>
                    <a:pt x="286" y="518"/>
                  </a:lnTo>
                  <a:lnTo>
                    <a:pt x="287" y="519"/>
                  </a:lnTo>
                  <a:lnTo>
                    <a:pt x="289" y="519"/>
                  </a:lnTo>
                  <a:lnTo>
                    <a:pt x="290" y="519"/>
                  </a:lnTo>
                  <a:lnTo>
                    <a:pt x="292" y="520"/>
                  </a:lnTo>
                  <a:lnTo>
                    <a:pt x="294" y="521"/>
                  </a:lnTo>
                  <a:lnTo>
                    <a:pt x="294" y="522"/>
                  </a:lnTo>
                  <a:lnTo>
                    <a:pt x="295" y="523"/>
                  </a:lnTo>
                  <a:lnTo>
                    <a:pt x="297" y="524"/>
                  </a:lnTo>
                  <a:lnTo>
                    <a:pt x="299" y="524"/>
                  </a:lnTo>
                  <a:lnTo>
                    <a:pt x="302" y="524"/>
                  </a:lnTo>
                  <a:lnTo>
                    <a:pt x="303" y="524"/>
                  </a:lnTo>
                  <a:lnTo>
                    <a:pt x="305" y="523"/>
                  </a:lnTo>
                  <a:lnTo>
                    <a:pt x="306" y="523"/>
                  </a:lnTo>
                  <a:lnTo>
                    <a:pt x="307" y="522"/>
                  </a:lnTo>
                  <a:lnTo>
                    <a:pt x="307" y="524"/>
                  </a:lnTo>
                  <a:lnTo>
                    <a:pt x="308" y="526"/>
                  </a:lnTo>
                  <a:lnTo>
                    <a:pt x="310" y="526"/>
                  </a:lnTo>
                  <a:lnTo>
                    <a:pt x="313" y="527"/>
                  </a:lnTo>
                  <a:lnTo>
                    <a:pt x="315" y="527"/>
                  </a:lnTo>
                  <a:lnTo>
                    <a:pt x="318" y="527"/>
                  </a:lnTo>
                  <a:lnTo>
                    <a:pt x="320" y="527"/>
                  </a:lnTo>
                  <a:lnTo>
                    <a:pt x="323" y="526"/>
                  </a:lnTo>
                  <a:lnTo>
                    <a:pt x="327" y="524"/>
                  </a:lnTo>
                  <a:lnTo>
                    <a:pt x="329" y="524"/>
                  </a:lnTo>
                  <a:lnTo>
                    <a:pt x="331" y="524"/>
                  </a:lnTo>
                  <a:lnTo>
                    <a:pt x="335" y="526"/>
                  </a:lnTo>
                  <a:lnTo>
                    <a:pt x="337" y="526"/>
                  </a:lnTo>
                  <a:lnTo>
                    <a:pt x="338" y="526"/>
                  </a:lnTo>
                  <a:lnTo>
                    <a:pt x="340" y="527"/>
                  </a:lnTo>
                  <a:lnTo>
                    <a:pt x="342" y="529"/>
                  </a:lnTo>
                  <a:lnTo>
                    <a:pt x="343" y="530"/>
                  </a:lnTo>
                  <a:lnTo>
                    <a:pt x="345" y="530"/>
                  </a:lnTo>
                  <a:lnTo>
                    <a:pt x="347" y="531"/>
                  </a:lnTo>
                  <a:lnTo>
                    <a:pt x="348" y="530"/>
                  </a:lnTo>
                  <a:lnTo>
                    <a:pt x="350" y="530"/>
                  </a:lnTo>
                  <a:lnTo>
                    <a:pt x="353" y="530"/>
                  </a:lnTo>
                  <a:lnTo>
                    <a:pt x="354" y="532"/>
                  </a:lnTo>
                  <a:lnTo>
                    <a:pt x="356" y="534"/>
                  </a:lnTo>
                  <a:lnTo>
                    <a:pt x="359" y="535"/>
                  </a:lnTo>
                  <a:lnTo>
                    <a:pt x="361" y="537"/>
                  </a:lnTo>
                  <a:lnTo>
                    <a:pt x="364" y="538"/>
                  </a:lnTo>
                  <a:lnTo>
                    <a:pt x="366" y="538"/>
                  </a:lnTo>
                  <a:lnTo>
                    <a:pt x="367" y="539"/>
                  </a:lnTo>
                  <a:lnTo>
                    <a:pt x="368" y="540"/>
                  </a:lnTo>
                  <a:lnTo>
                    <a:pt x="370" y="542"/>
                  </a:lnTo>
                  <a:lnTo>
                    <a:pt x="371" y="540"/>
                  </a:lnTo>
                  <a:lnTo>
                    <a:pt x="372" y="540"/>
                  </a:lnTo>
                  <a:lnTo>
                    <a:pt x="375" y="540"/>
                  </a:lnTo>
                  <a:lnTo>
                    <a:pt x="376" y="539"/>
                  </a:lnTo>
                  <a:lnTo>
                    <a:pt x="376" y="538"/>
                  </a:lnTo>
                  <a:lnTo>
                    <a:pt x="375" y="537"/>
                  </a:lnTo>
                  <a:lnTo>
                    <a:pt x="371" y="536"/>
                  </a:lnTo>
                  <a:lnTo>
                    <a:pt x="368" y="534"/>
                  </a:lnTo>
                  <a:lnTo>
                    <a:pt x="367" y="532"/>
                  </a:lnTo>
                  <a:lnTo>
                    <a:pt x="368" y="531"/>
                  </a:lnTo>
                  <a:lnTo>
                    <a:pt x="369" y="531"/>
                  </a:lnTo>
                  <a:lnTo>
                    <a:pt x="372" y="532"/>
                  </a:lnTo>
                  <a:lnTo>
                    <a:pt x="374" y="534"/>
                  </a:lnTo>
                  <a:lnTo>
                    <a:pt x="375" y="534"/>
                  </a:lnTo>
                  <a:lnTo>
                    <a:pt x="378" y="532"/>
                  </a:lnTo>
                  <a:lnTo>
                    <a:pt x="379" y="532"/>
                  </a:lnTo>
                  <a:lnTo>
                    <a:pt x="380" y="531"/>
                  </a:lnTo>
                  <a:lnTo>
                    <a:pt x="382" y="531"/>
                  </a:lnTo>
                  <a:lnTo>
                    <a:pt x="384" y="532"/>
                  </a:lnTo>
                  <a:lnTo>
                    <a:pt x="386" y="532"/>
                  </a:lnTo>
                  <a:lnTo>
                    <a:pt x="390" y="532"/>
                  </a:lnTo>
                  <a:lnTo>
                    <a:pt x="392" y="532"/>
                  </a:lnTo>
                  <a:lnTo>
                    <a:pt x="393" y="531"/>
                  </a:lnTo>
                  <a:lnTo>
                    <a:pt x="396" y="530"/>
                  </a:lnTo>
                  <a:lnTo>
                    <a:pt x="399" y="530"/>
                  </a:lnTo>
                  <a:lnTo>
                    <a:pt x="401" y="530"/>
                  </a:lnTo>
                  <a:lnTo>
                    <a:pt x="403" y="529"/>
                  </a:lnTo>
                  <a:lnTo>
                    <a:pt x="406" y="531"/>
                  </a:lnTo>
                  <a:lnTo>
                    <a:pt x="407" y="532"/>
                  </a:lnTo>
                  <a:lnTo>
                    <a:pt x="407" y="534"/>
                  </a:lnTo>
                  <a:lnTo>
                    <a:pt x="407" y="536"/>
                  </a:lnTo>
                  <a:lnTo>
                    <a:pt x="408" y="537"/>
                  </a:lnTo>
                  <a:lnTo>
                    <a:pt x="410" y="538"/>
                  </a:lnTo>
                  <a:lnTo>
                    <a:pt x="411" y="538"/>
                  </a:lnTo>
                  <a:lnTo>
                    <a:pt x="415" y="538"/>
                  </a:lnTo>
                  <a:lnTo>
                    <a:pt x="417" y="537"/>
                  </a:lnTo>
                  <a:lnTo>
                    <a:pt x="418" y="536"/>
                  </a:lnTo>
                  <a:lnTo>
                    <a:pt x="416" y="535"/>
                  </a:lnTo>
                  <a:lnTo>
                    <a:pt x="415" y="534"/>
                  </a:lnTo>
                  <a:lnTo>
                    <a:pt x="412" y="531"/>
                  </a:lnTo>
                  <a:lnTo>
                    <a:pt x="414" y="530"/>
                  </a:lnTo>
                  <a:lnTo>
                    <a:pt x="415" y="530"/>
                  </a:lnTo>
                  <a:lnTo>
                    <a:pt x="417" y="531"/>
                  </a:lnTo>
                  <a:lnTo>
                    <a:pt x="419" y="532"/>
                  </a:lnTo>
                  <a:lnTo>
                    <a:pt x="420" y="535"/>
                  </a:lnTo>
                  <a:lnTo>
                    <a:pt x="423" y="536"/>
                  </a:lnTo>
                  <a:lnTo>
                    <a:pt x="426" y="535"/>
                  </a:lnTo>
                  <a:lnTo>
                    <a:pt x="427" y="535"/>
                  </a:lnTo>
                  <a:lnTo>
                    <a:pt x="431" y="536"/>
                  </a:lnTo>
                  <a:lnTo>
                    <a:pt x="432" y="537"/>
                  </a:lnTo>
                  <a:lnTo>
                    <a:pt x="434" y="538"/>
                  </a:lnTo>
                  <a:lnTo>
                    <a:pt x="436" y="539"/>
                  </a:lnTo>
                  <a:lnTo>
                    <a:pt x="439" y="538"/>
                  </a:lnTo>
                  <a:lnTo>
                    <a:pt x="442" y="535"/>
                  </a:lnTo>
                  <a:lnTo>
                    <a:pt x="443" y="534"/>
                  </a:lnTo>
                  <a:lnTo>
                    <a:pt x="446" y="532"/>
                  </a:lnTo>
                  <a:lnTo>
                    <a:pt x="448" y="530"/>
                  </a:lnTo>
                  <a:lnTo>
                    <a:pt x="450" y="529"/>
                  </a:lnTo>
                  <a:lnTo>
                    <a:pt x="452" y="528"/>
                  </a:lnTo>
                  <a:lnTo>
                    <a:pt x="455" y="527"/>
                  </a:lnTo>
                  <a:lnTo>
                    <a:pt x="457" y="526"/>
                  </a:lnTo>
                  <a:lnTo>
                    <a:pt x="458" y="524"/>
                  </a:lnTo>
                  <a:lnTo>
                    <a:pt x="459" y="523"/>
                  </a:lnTo>
                  <a:lnTo>
                    <a:pt x="462" y="522"/>
                  </a:lnTo>
                  <a:lnTo>
                    <a:pt x="463" y="521"/>
                  </a:lnTo>
                  <a:lnTo>
                    <a:pt x="465" y="520"/>
                  </a:lnTo>
                  <a:lnTo>
                    <a:pt x="467" y="519"/>
                  </a:lnTo>
                  <a:lnTo>
                    <a:pt x="473" y="518"/>
                  </a:lnTo>
                  <a:lnTo>
                    <a:pt x="474" y="516"/>
                  </a:lnTo>
                  <a:lnTo>
                    <a:pt x="478" y="514"/>
                  </a:lnTo>
                  <a:lnTo>
                    <a:pt x="479" y="514"/>
                  </a:lnTo>
                  <a:lnTo>
                    <a:pt x="482" y="513"/>
                  </a:lnTo>
                  <a:lnTo>
                    <a:pt x="487" y="513"/>
                  </a:lnTo>
                  <a:lnTo>
                    <a:pt x="489" y="512"/>
                  </a:lnTo>
                  <a:lnTo>
                    <a:pt x="491" y="512"/>
                  </a:lnTo>
                  <a:lnTo>
                    <a:pt x="494" y="512"/>
                  </a:lnTo>
                  <a:lnTo>
                    <a:pt x="497" y="510"/>
                  </a:lnTo>
                  <a:lnTo>
                    <a:pt x="499" y="508"/>
                  </a:lnTo>
                  <a:lnTo>
                    <a:pt x="502" y="507"/>
                  </a:lnTo>
                  <a:lnTo>
                    <a:pt x="504" y="507"/>
                  </a:lnTo>
                  <a:lnTo>
                    <a:pt x="507" y="506"/>
                  </a:lnTo>
                  <a:lnTo>
                    <a:pt x="512" y="505"/>
                  </a:lnTo>
                  <a:lnTo>
                    <a:pt x="515" y="505"/>
                  </a:lnTo>
                  <a:lnTo>
                    <a:pt x="521" y="505"/>
                  </a:lnTo>
                  <a:lnTo>
                    <a:pt x="524" y="504"/>
                  </a:lnTo>
                  <a:lnTo>
                    <a:pt x="529" y="503"/>
                  </a:lnTo>
                  <a:lnTo>
                    <a:pt x="530" y="502"/>
                  </a:lnTo>
                  <a:lnTo>
                    <a:pt x="536" y="500"/>
                  </a:lnTo>
                  <a:lnTo>
                    <a:pt x="537" y="500"/>
                  </a:lnTo>
                  <a:lnTo>
                    <a:pt x="540" y="500"/>
                  </a:lnTo>
                  <a:lnTo>
                    <a:pt x="543" y="499"/>
                  </a:lnTo>
                  <a:lnTo>
                    <a:pt x="544" y="499"/>
                  </a:lnTo>
                  <a:lnTo>
                    <a:pt x="546" y="499"/>
                  </a:lnTo>
                  <a:lnTo>
                    <a:pt x="548" y="500"/>
                  </a:lnTo>
                  <a:lnTo>
                    <a:pt x="550" y="499"/>
                  </a:lnTo>
                  <a:lnTo>
                    <a:pt x="553" y="497"/>
                  </a:lnTo>
                  <a:lnTo>
                    <a:pt x="554" y="496"/>
                  </a:lnTo>
                  <a:lnTo>
                    <a:pt x="550" y="495"/>
                  </a:lnTo>
                  <a:lnTo>
                    <a:pt x="548" y="496"/>
                  </a:lnTo>
                  <a:lnTo>
                    <a:pt x="547" y="495"/>
                  </a:lnTo>
                  <a:lnTo>
                    <a:pt x="546" y="492"/>
                  </a:lnTo>
                  <a:lnTo>
                    <a:pt x="544" y="492"/>
                  </a:lnTo>
                  <a:lnTo>
                    <a:pt x="542" y="492"/>
                  </a:lnTo>
                  <a:lnTo>
                    <a:pt x="540" y="494"/>
                  </a:lnTo>
                  <a:lnTo>
                    <a:pt x="539" y="492"/>
                  </a:lnTo>
                  <a:lnTo>
                    <a:pt x="538" y="490"/>
                  </a:lnTo>
                  <a:lnTo>
                    <a:pt x="539" y="489"/>
                  </a:lnTo>
                  <a:lnTo>
                    <a:pt x="540" y="489"/>
                  </a:lnTo>
                  <a:lnTo>
                    <a:pt x="543" y="488"/>
                  </a:lnTo>
                  <a:lnTo>
                    <a:pt x="544" y="488"/>
                  </a:lnTo>
                  <a:lnTo>
                    <a:pt x="546" y="488"/>
                  </a:lnTo>
                  <a:lnTo>
                    <a:pt x="547" y="488"/>
                  </a:lnTo>
                  <a:lnTo>
                    <a:pt x="548" y="487"/>
                  </a:lnTo>
                  <a:lnTo>
                    <a:pt x="550" y="486"/>
                  </a:lnTo>
                  <a:lnTo>
                    <a:pt x="552" y="484"/>
                  </a:lnTo>
                  <a:lnTo>
                    <a:pt x="553" y="483"/>
                  </a:lnTo>
                  <a:lnTo>
                    <a:pt x="554" y="481"/>
                  </a:lnTo>
                  <a:lnTo>
                    <a:pt x="555" y="479"/>
                  </a:lnTo>
                  <a:lnTo>
                    <a:pt x="558" y="478"/>
                  </a:lnTo>
                  <a:lnTo>
                    <a:pt x="556" y="475"/>
                  </a:lnTo>
                  <a:lnTo>
                    <a:pt x="558" y="474"/>
                  </a:lnTo>
                  <a:lnTo>
                    <a:pt x="558" y="473"/>
                  </a:lnTo>
                  <a:lnTo>
                    <a:pt x="559" y="472"/>
                  </a:lnTo>
                  <a:lnTo>
                    <a:pt x="559" y="470"/>
                  </a:lnTo>
                  <a:lnTo>
                    <a:pt x="561" y="468"/>
                  </a:lnTo>
                  <a:lnTo>
                    <a:pt x="562" y="470"/>
                  </a:lnTo>
                  <a:lnTo>
                    <a:pt x="564" y="471"/>
                  </a:lnTo>
                  <a:lnTo>
                    <a:pt x="564" y="472"/>
                  </a:lnTo>
                  <a:lnTo>
                    <a:pt x="564" y="473"/>
                  </a:lnTo>
                  <a:lnTo>
                    <a:pt x="563" y="474"/>
                  </a:lnTo>
                  <a:lnTo>
                    <a:pt x="563" y="476"/>
                  </a:lnTo>
                  <a:lnTo>
                    <a:pt x="563" y="478"/>
                  </a:lnTo>
                  <a:lnTo>
                    <a:pt x="561" y="478"/>
                  </a:lnTo>
                  <a:lnTo>
                    <a:pt x="559" y="479"/>
                  </a:lnTo>
                  <a:lnTo>
                    <a:pt x="558" y="480"/>
                  </a:lnTo>
                  <a:lnTo>
                    <a:pt x="559" y="482"/>
                  </a:lnTo>
                  <a:lnTo>
                    <a:pt x="561" y="483"/>
                  </a:lnTo>
                  <a:lnTo>
                    <a:pt x="560" y="484"/>
                  </a:lnTo>
                  <a:lnTo>
                    <a:pt x="559" y="486"/>
                  </a:lnTo>
                  <a:lnTo>
                    <a:pt x="558" y="488"/>
                  </a:lnTo>
                  <a:lnTo>
                    <a:pt x="559" y="489"/>
                  </a:lnTo>
                  <a:lnTo>
                    <a:pt x="560" y="489"/>
                  </a:lnTo>
                  <a:lnTo>
                    <a:pt x="561" y="489"/>
                  </a:lnTo>
                  <a:lnTo>
                    <a:pt x="562" y="489"/>
                  </a:lnTo>
                  <a:lnTo>
                    <a:pt x="563" y="491"/>
                  </a:lnTo>
                  <a:lnTo>
                    <a:pt x="564" y="491"/>
                  </a:lnTo>
                  <a:lnTo>
                    <a:pt x="568" y="490"/>
                  </a:lnTo>
                  <a:lnTo>
                    <a:pt x="568" y="489"/>
                  </a:lnTo>
                  <a:lnTo>
                    <a:pt x="569" y="488"/>
                  </a:lnTo>
                  <a:lnTo>
                    <a:pt x="570" y="488"/>
                  </a:lnTo>
                  <a:lnTo>
                    <a:pt x="571" y="488"/>
                  </a:lnTo>
                  <a:lnTo>
                    <a:pt x="572" y="489"/>
                  </a:lnTo>
                  <a:lnTo>
                    <a:pt x="574" y="489"/>
                  </a:lnTo>
                  <a:lnTo>
                    <a:pt x="575" y="489"/>
                  </a:lnTo>
                  <a:lnTo>
                    <a:pt x="576" y="489"/>
                  </a:lnTo>
                  <a:lnTo>
                    <a:pt x="577" y="489"/>
                  </a:lnTo>
                  <a:lnTo>
                    <a:pt x="579" y="489"/>
                  </a:lnTo>
                  <a:lnTo>
                    <a:pt x="579" y="487"/>
                  </a:lnTo>
                  <a:lnTo>
                    <a:pt x="579" y="484"/>
                  </a:lnTo>
                  <a:lnTo>
                    <a:pt x="578" y="483"/>
                  </a:lnTo>
                  <a:lnTo>
                    <a:pt x="579" y="481"/>
                  </a:lnTo>
                  <a:lnTo>
                    <a:pt x="578" y="480"/>
                  </a:lnTo>
                  <a:lnTo>
                    <a:pt x="575" y="480"/>
                  </a:lnTo>
                  <a:lnTo>
                    <a:pt x="572" y="480"/>
                  </a:lnTo>
                  <a:lnTo>
                    <a:pt x="571" y="479"/>
                  </a:lnTo>
                  <a:lnTo>
                    <a:pt x="572" y="476"/>
                  </a:lnTo>
                  <a:lnTo>
                    <a:pt x="574" y="475"/>
                  </a:lnTo>
                  <a:lnTo>
                    <a:pt x="576" y="474"/>
                  </a:lnTo>
                  <a:lnTo>
                    <a:pt x="579" y="475"/>
                  </a:lnTo>
                  <a:lnTo>
                    <a:pt x="580" y="478"/>
                  </a:lnTo>
                  <a:lnTo>
                    <a:pt x="583" y="478"/>
                  </a:lnTo>
                  <a:lnTo>
                    <a:pt x="585" y="478"/>
                  </a:lnTo>
                  <a:lnTo>
                    <a:pt x="585" y="479"/>
                  </a:lnTo>
                  <a:lnTo>
                    <a:pt x="587" y="480"/>
                  </a:lnTo>
                  <a:lnTo>
                    <a:pt x="592" y="480"/>
                  </a:lnTo>
                  <a:lnTo>
                    <a:pt x="592" y="479"/>
                  </a:lnTo>
                  <a:lnTo>
                    <a:pt x="590" y="478"/>
                  </a:lnTo>
                  <a:lnTo>
                    <a:pt x="588" y="478"/>
                  </a:lnTo>
                  <a:lnTo>
                    <a:pt x="586" y="476"/>
                  </a:lnTo>
                  <a:lnTo>
                    <a:pt x="584" y="473"/>
                  </a:lnTo>
                  <a:lnTo>
                    <a:pt x="584" y="472"/>
                  </a:lnTo>
                  <a:lnTo>
                    <a:pt x="582" y="470"/>
                  </a:lnTo>
                  <a:lnTo>
                    <a:pt x="582" y="468"/>
                  </a:lnTo>
                  <a:lnTo>
                    <a:pt x="584" y="466"/>
                  </a:lnTo>
                  <a:lnTo>
                    <a:pt x="584" y="463"/>
                  </a:lnTo>
                  <a:lnTo>
                    <a:pt x="580" y="459"/>
                  </a:lnTo>
                  <a:lnTo>
                    <a:pt x="580" y="458"/>
                  </a:lnTo>
                  <a:lnTo>
                    <a:pt x="582" y="455"/>
                  </a:lnTo>
                  <a:lnTo>
                    <a:pt x="579" y="454"/>
                  </a:lnTo>
                  <a:lnTo>
                    <a:pt x="576" y="455"/>
                  </a:lnTo>
                  <a:lnTo>
                    <a:pt x="572" y="456"/>
                  </a:lnTo>
                  <a:lnTo>
                    <a:pt x="570" y="458"/>
                  </a:lnTo>
                  <a:lnTo>
                    <a:pt x="568" y="463"/>
                  </a:lnTo>
                  <a:lnTo>
                    <a:pt x="566" y="464"/>
                  </a:lnTo>
                  <a:lnTo>
                    <a:pt x="566" y="462"/>
                  </a:lnTo>
                  <a:lnTo>
                    <a:pt x="567" y="459"/>
                  </a:lnTo>
                  <a:lnTo>
                    <a:pt x="568" y="458"/>
                  </a:lnTo>
                  <a:lnTo>
                    <a:pt x="570" y="455"/>
                  </a:lnTo>
                  <a:lnTo>
                    <a:pt x="570" y="454"/>
                  </a:lnTo>
                  <a:lnTo>
                    <a:pt x="575" y="451"/>
                  </a:lnTo>
                  <a:lnTo>
                    <a:pt x="576" y="449"/>
                  </a:lnTo>
                  <a:lnTo>
                    <a:pt x="577" y="447"/>
                  </a:lnTo>
                  <a:lnTo>
                    <a:pt x="579" y="444"/>
                  </a:lnTo>
                  <a:lnTo>
                    <a:pt x="585" y="439"/>
                  </a:lnTo>
                  <a:lnTo>
                    <a:pt x="586" y="435"/>
                  </a:lnTo>
                  <a:lnTo>
                    <a:pt x="587" y="432"/>
                  </a:lnTo>
                  <a:lnTo>
                    <a:pt x="591" y="430"/>
                  </a:lnTo>
                  <a:lnTo>
                    <a:pt x="593" y="428"/>
                  </a:lnTo>
                  <a:lnTo>
                    <a:pt x="596" y="425"/>
                  </a:lnTo>
                  <a:lnTo>
                    <a:pt x="599" y="424"/>
                  </a:lnTo>
                  <a:lnTo>
                    <a:pt x="601" y="422"/>
                  </a:lnTo>
                  <a:lnTo>
                    <a:pt x="603" y="420"/>
                  </a:lnTo>
                  <a:lnTo>
                    <a:pt x="606" y="418"/>
                  </a:lnTo>
                  <a:lnTo>
                    <a:pt x="609" y="418"/>
                  </a:lnTo>
                  <a:lnTo>
                    <a:pt x="612" y="417"/>
                  </a:lnTo>
                  <a:lnTo>
                    <a:pt x="616" y="417"/>
                  </a:lnTo>
                  <a:lnTo>
                    <a:pt x="619" y="416"/>
                  </a:lnTo>
                  <a:lnTo>
                    <a:pt x="623" y="416"/>
                  </a:lnTo>
                  <a:lnTo>
                    <a:pt x="628" y="417"/>
                  </a:lnTo>
                  <a:lnTo>
                    <a:pt x="634" y="417"/>
                  </a:lnTo>
                  <a:lnTo>
                    <a:pt x="639" y="418"/>
                  </a:lnTo>
                  <a:lnTo>
                    <a:pt x="642" y="419"/>
                  </a:lnTo>
                  <a:lnTo>
                    <a:pt x="644" y="422"/>
                  </a:lnTo>
                  <a:lnTo>
                    <a:pt x="648" y="423"/>
                  </a:lnTo>
                  <a:lnTo>
                    <a:pt x="652" y="423"/>
                  </a:lnTo>
                  <a:lnTo>
                    <a:pt x="656" y="424"/>
                  </a:lnTo>
                  <a:lnTo>
                    <a:pt x="657" y="425"/>
                  </a:lnTo>
                  <a:lnTo>
                    <a:pt x="659" y="427"/>
                  </a:lnTo>
                  <a:lnTo>
                    <a:pt x="663" y="427"/>
                  </a:lnTo>
                  <a:lnTo>
                    <a:pt x="666" y="428"/>
                  </a:lnTo>
                  <a:lnTo>
                    <a:pt x="671" y="428"/>
                  </a:lnTo>
                  <a:lnTo>
                    <a:pt x="681" y="427"/>
                  </a:lnTo>
                  <a:lnTo>
                    <a:pt x="683" y="427"/>
                  </a:lnTo>
                  <a:lnTo>
                    <a:pt x="688" y="427"/>
                  </a:lnTo>
                  <a:lnTo>
                    <a:pt x="690" y="427"/>
                  </a:lnTo>
                  <a:lnTo>
                    <a:pt x="695" y="427"/>
                  </a:lnTo>
                  <a:lnTo>
                    <a:pt x="698" y="426"/>
                  </a:lnTo>
                  <a:lnTo>
                    <a:pt x="699" y="425"/>
                  </a:lnTo>
                  <a:lnTo>
                    <a:pt x="702" y="424"/>
                  </a:lnTo>
                  <a:lnTo>
                    <a:pt x="703" y="422"/>
                  </a:lnTo>
                  <a:lnTo>
                    <a:pt x="703" y="419"/>
                  </a:lnTo>
                  <a:lnTo>
                    <a:pt x="704" y="416"/>
                  </a:lnTo>
                  <a:lnTo>
                    <a:pt x="706" y="415"/>
                  </a:lnTo>
                  <a:lnTo>
                    <a:pt x="708" y="414"/>
                  </a:lnTo>
                  <a:lnTo>
                    <a:pt x="710" y="416"/>
                  </a:lnTo>
                  <a:lnTo>
                    <a:pt x="712" y="418"/>
                  </a:lnTo>
                  <a:lnTo>
                    <a:pt x="714" y="418"/>
                  </a:lnTo>
                  <a:lnTo>
                    <a:pt x="718" y="417"/>
                  </a:lnTo>
                  <a:lnTo>
                    <a:pt x="722" y="417"/>
                  </a:lnTo>
                  <a:lnTo>
                    <a:pt x="724" y="417"/>
                  </a:lnTo>
                  <a:lnTo>
                    <a:pt x="727" y="416"/>
                  </a:lnTo>
                  <a:lnTo>
                    <a:pt x="729" y="415"/>
                  </a:lnTo>
                  <a:lnTo>
                    <a:pt x="730" y="417"/>
                  </a:lnTo>
                  <a:lnTo>
                    <a:pt x="730" y="418"/>
                  </a:lnTo>
                  <a:lnTo>
                    <a:pt x="729" y="419"/>
                  </a:lnTo>
                  <a:lnTo>
                    <a:pt x="729" y="420"/>
                  </a:lnTo>
                  <a:lnTo>
                    <a:pt x="728" y="424"/>
                  </a:lnTo>
                  <a:lnTo>
                    <a:pt x="727" y="424"/>
                  </a:lnTo>
                  <a:lnTo>
                    <a:pt x="724" y="424"/>
                  </a:lnTo>
                  <a:lnTo>
                    <a:pt x="722" y="425"/>
                  </a:lnTo>
                  <a:lnTo>
                    <a:pt x="722" y="427"/>
                  </a:lnTo>
                  <a:lnTo>
                    <a:pt x="724" y="428"/>
                  </a:lnTo>
                  <a:lnTo>
                    <a:pt x="726" y="431"/>
                  </a:lnTo>
                  <a:lnTo>
                    <a:pt x="724" y="432"/>
                  </a:lnTo>
                  <a:lnTo>
                    <a:pt x="722" y="434"/>
                  </a:lnTo>
                  <a:lnTo>
                    <a:pt x="718" y="436"/>
                  </a:lnTo>
                  <a:lnTo>
                    <a:pt x="715" y="438"/>
                  </a:lnTo>
                  <a:lnTo>
                    <a:pt x="714" y="440"/>
                  </a:lnTo>
                  <a:lnTo>
                    <a:pt x="714" y="442"/>
                  </a:lnTo>
                  <a:lnTo>
                    <a:pt x="713" y="446"/>
                  </a:lnTo>
                  <a:lnTo>
                    <a:pt x="712" y="447"/>
                  </a:lnTo>
                  <a:lnTo>
                    <a:pt x="705" y="450"/>
                  </a:lnTo>
                  <a:lnTo>
                    <a:pt x="700" y="452"/>
                  </a:lnTo>
                  <a:lnTo>
                    <a:pt x="696" y="455"/>
                  </a:lnTo>
                  <a:lnTo>
                    <a:pt x="695" y="456"/>
                  </a:lnTo>
                  <a:lnTo>
                    <a:pt x="691" y="458"/>
                  </a:lnTo>
                  <a:lnTo>
                    <a:pt x="687" y="460"/>
                  </a:lnTo>
                  <a:lnTo>
                    <a:pt x="684" y="463"/>
                  </a:lnTo>
                  <a:lnTo>
                    <a:pt x="682" y="465"/>
                  </a:lnTo>
                  <a:lnTo>
                    <a:pt x="680" y="466"/>
                  </a:lnTo>
                  <a:lnTo>
                    <a:pt x="678" y="467"/>
                  </a:lnTo>
                  <a:lnTo>
                    <a:pt x="675" y="470"/>
                  </a:lnTo>
                  <a:lnTo>
                    <a:pt x="674" y="479"/>
                  </a:lnTo>
                  <a:lnTo>
                    <a:pt x="674" y="480"/>
                  </a:lnTo>
                  <a:lnTo>
                    <a:pt x="673" y="483"/>
                  </a:lnTo>
                  <a:lnTo>
                    <a:pt x="671" y="484"/>
                  </a:lnTo>
                  <a:lnTo>
                    <a:pt x="668" y="484"/>
                  </a:lnTo>
                  <a:lnTo>
                    <a:pt x="665" y="486"/>
                  </a:lnTo>
                  <a:lnTo>
                    <a:pt x="660" y="488"/>
                  </a:lnTo>
                  <a:lnTo>
                    <a:pt x="659" y="488"/>
                  </a:lnTo>
                  <a:lnTo>
                    <a:pt x="655" y="487"/>
                  </a:lnTo>
                  <a:lnTo>
                    <a:pt x="651" y="486"/>
                  </a:lnTo>
                  <a:lnTo>
                    <a:pt x="649" y="486"/>
                  </a:lnTo>
                  <a:lnTo>
                    <a:pt x="647" y="486"/>
                  </a:lnTo>
                  <a:lnTo>
                    <a:pt x="644" y="488"/>
                  </a:lnTo>
                  <a:lnTo>
                    <a:pt x="646" y="489"/>
                  </a:lnTo>
                  <a:lnTo>
                    <a:pt x="647" y="490"/>
                  </a:lnTo>
                  <a:lnTo>
                    <a:pt x="649" y="492"/>
                  </a:lnTo>
                  <a:lnTo>
                    <a:pt x="650" y="492"/>
                  </a:lnTo>
                  <a:lnTo>
                    <a:pt x="652" y="492"/>
                  </a:lnTo>
                  <a:lnTo>
                    <a:pt x="655" y="492"/>
                  </a:lnTo>
                  <a:lnTo>
                    <a:pt x="658" y="491"/>
                  </a:lnTo>
                  <a:lnTo>
                    <a:pt x="662" y="490"/>
                  </a:lnTo>
                  <a:lnTo>
                    <a:pt x="664" y="489"/>
                  </a:lnTo>
                  <a:lnTo>
                    <a:pt x="666" y="489"/>
                  </a:lnTo>
                  <a:lnTo>
                    <a:pt x="667" y="489"/>
                  </a:lnTo>
                  <a:lnTo>
                    <a:pt x="670" y="489"/>
                  </a:lnTo>
                  <a:lnTo>
                    <a:pt x="670" y="490"/>
                  </a:lnTo>
                  <a:lnTo>
                    <a:pt x="671" y="492"/>
                  </a:lnTo>
                  <a:lnTo>
                    <a:pt x="671" y="494"/>
                  </a:lnTo>
                  <a:lnTo>
                    <a:pt x="673" y="495"/>
                  </a:lnTo>
                  <a:lnTo>
                    <a:pt x="674" y="496"/>
                  </a:lnTo>
                  <a:lnTo>
                    <a:pt x="675" y="496"/>
                  </a:lnTo>
                  <a:lnTo>
                    <a:pt x="676" y="497"/>
                  </a:lnTo>
                  <a:lnTo>
                    <a:pt x="678" y="497"/>
                  </a:lnTo>
                  <a:lnTo>
                    <a:pt x="678" y="498"/>
                  </a:lnTo>
                  <a:lnTo>
                    <a:pt x="676" y="499"/>
                  </a:lnTo>
                  <a:lnTo>
                    <a:pt x="674" y="500"/>
                  </a:lnTo>
                  <a:lnTo>
                    <a:pt x="673" y="500"/>
                  </a:lnTo>
                  <a:lnTo>
                    <a:pt x="672" y="500"/>
                  </a:lnTo>
                  <a:lnTo>
                    <a:pt x="671" y="502"/>
                  </a:lnTo>
                  <a:lnTo>
                    <a:pt x="670" y="502"/>
                  </a:lnTo>
                  <a:lnTo>
                    <a:pt x="666" y="503"/>
                  </a:lnTo>
                  <a:lnTo>
                    <a:pt x="664" y="503"/>
                  </a:lnTo>
                  <a:lnTo>
                    <a:pt x="662" y="504"/>
                  </a:lnTo>
                  <a:lnTo>
                    <a:pt x="662" y="505"/>
                  </a:lnTo>
                  <a:lnTo>
                    <a:pt x="662" y="507"/>
                  </a:lnTo>
                  <a:lnTo>
                    <a:pt x="660" y="508"/>
                  </a:lnTo>
                  <a:lnTo>
                    <a:pt x="659" y="511"/>
                  </a:lnTo>
                  <a:lnTo>
                    <a:pt x="659" y="512"/>
                  </a:lnTo>
                  <a:lnTo>
                    <a:pt x="657" y="514"/>
                  </a:lnTo>
                  <a:lnTo>
                    <a:pt x="654" y="514"/>
                  </a:lnTo>
                  <a:lnTo>
                    <a:pt x="652" y="518"/>
                  </a:lnTo>
                  <a:lnTo>
                    <a:pt x="651" y="519"/>
                  </a:lnTo>
                  <a:lnTo>
                    <a:pt x="650" y="521"/>
                  </a:lnTo>
                  <a:lnTo>
                    <a:pt x="649" y="522"/>
                  </a:lnTo>
                  <a:lnTo>
                    <a:pt x="648" y="523"/>
                  </a:lnTo>
                  <a:lnTo>
                    <a:pt x="647" y="523"/>
                  </a:lnTo>
                  <a:lnTo>
                    <a:pt x="646" y="523"/>
                  </a:lnTo>
                  <a:lnTo>
                    <a:pt x="642" y="524"/>
                  </a:lnTo>
                  <a:lnTo>
                    <a:pt x="641" y="524"/>
                  </a:lnTo>
                  <a:lnTo>
                    <a:pt x="636" y="527"/>
                  </a:lnTo>
                  <a:lnTo>
                    <a:pt x="635" y="528"/>
                  </a:lnTo>
                  <a:lnTo>
                    <a:pt x="635" y="529"/>
                  </a:lnTo>
                  <a:lnTo>
                    <a:pt x="634" y="531"/>
                  </a:lnTo>
                  <a:lnTo>
                    <a:pt x="633" y="532"/>
                  </a:lnTo>
                  <a:lnTo>
                    <a:pt x="631" y="534"/>
                  </a:lnTo>
                  <a:lnTo>
                    <a:pt x="630" y="534"/>
                  </a:lnTo>
                  <a:lnTo>
                    <a:pt x="630" y="532"/>
                  </a:lnTo>
                  <a:lnTo>
                    <a:pt x="630" y="531"/>
                  </a:lnTo>
                  <a:lnTo>
                    <a:pt x="630" y="530"/>
                  </a:lnTo>
                  <a:lnTo>
                    <a:pt x="630" y="527"/>
                  </a:lnTo>
                  <a:lnTo>
                    <a:pt x="631" y="526"/>
                  </a:lnTo>
                  <a:lnTo>
                    <a:pt x="631" y="524"/>
                  </a:lnTo>
                  <a:lnTo>
                    <a:pt x="630" y="522"/>
                  </a:lnTo>
                  <a:lnTo>
                    <a:pt x="630" y="521"/>
                  </a:lnTo>
                  <a:lnTo>
                    <a:pt x="630" y="520"/>
                  </a:lnTo>
                  <a:lnTo>
                    <a:pt x="631" y="518"/>
                  </a:lnTo>
                  <a:lnTo>
                    <a:pt x="631" y="515"/>
                  </a:lnTo>
                  <a:lnTo>
                    <a:pt x="630" y="514"/>
                  </a:lnTo>
                  <a:lnTo>
                    <a:pt x="630" y="513"/>
                  </a:lnTo>
                  <a:lnTo>
                    <a:pt x="630" y="512"/>
                  </a:lnTo>
                  <a:lnTo>
                    <a:pt x="630" y="511"/>
                  </a:lnTo>
                  <a:lnTo>
                    <a:pt x="631" y="508"/>
                  </a:lnTo>
                  <a:lnTo>
                    <a:pt x="631" y="507"/>
                  </a:lnTo>
                  <a:lnTo>
                    <a:pt x="630" y="506"/>
                  </a:lnTo>
                  <a:lnTo>
                    <a:pt x="631" y="504"/>
                  </a:lnTo>
                  <a:lnTo>
                    <a:pt x="631" y="500"/>
                  </a:lnTo>
                  <a:lnTo>
                    <a:pt x="630" y="499"/>
                  </a:lnTo>
                  <a:lnTo>
                    <a:pt x="630" y="498"/>
                  </a:lnTo>
                  <a:lnTo>
                    <a:pt x="631" y="496"/>
                  </a:lnTo>
                  <a:lnTo>
                    <a:pt x="630" y="496"/>
                  </a:lnTo>
                  <a:lnTo>
                    <a:pt x="628" y="498"/>
                  </a:lnTo>
                  <a:lnTo>
                    <a:pt x="626" y="499"/>
                  </a:lnTo>
                  <a:lnTo>
                    <a:pt x="625" y="502"/>
                  </a:lnTo>
                  <a:lnTo>
                    <a:pt x="623" y="503"/>
                  </a:lnTo>
                  <a:lnTo>
                    <a:pt x="622" y="504"/>
                  </a:lnTo>
                  <a:lnTo>
                    <a:pt x="620" y="504"/>
                  </a:lnTo>
                  <a:lnTo>
                    <a:pt x="620" y="506"/>
                  </a:lnTo>
                  <a:lnTo>
                    <a:pt x="622" y="508"/>
                  </a:lnTo>
                  <a:lnTo>
                    <a:pt x="622" y="511"/>
                  </a:lnTo>
                  <a:lnTo>
                    <a:pt x="622" y="512"/>
                  </a:lnTo>
                  <a:lnTo>
                    <a:pt x="620" y="514"/>
                  </a:lnTo>
                  <a:lnTo>
                    <a:pt x="619" y="516"/>
                  </a:lnTo>
                  <a:lnTo>
                    <a:pt x="618" y="518"/>
                  </a:lnTo>
                  <a:lnTo>
                    <a:pt x="617" y="520"/>
                  </a:lnTo>
                  <a:lnTo>
                    <a:pt x="616" y="521"/>
                  </a:lnTo>
                  <a:lnTo>
                    <a:pt x="615" y="523"/>
                  </a:lnTo>
                  <a:lnTo>
                    <a:pt x="614" y="524"/>
                  </a:lnTo>
                  <a:lnTo>
                    <a:pt x="614" y="527"/>
                  </a:lnTo>
                  <a:lnTo>
                    <a:pt x="612" y="528"/>
                  </a:lnTo>
                  <a:lnTo>
                    <a:pt x="612" y="530"/>
                  </a:lnTo>
                  <a:lnTo>
                    <a:pt x="611" y="531"/>
                  </a:lnTo>
                  <a:lnTo>
                    <a:pt x="611" y="534"/>
                  </a:lnTo>
                  <a:lnTo>
                    <a:pt x="611" y="535"/>
                  </a:lnTo>
                  <a:lnTo>
                    <a:pt x="611" y="536"/>
                  </a:lnTo>
                  <a:lnTo>
                    <a:pt x="611" y="538"/>
                  </a:lnTo>
                  <a:lnTo>
                    <a:pt x="610" y="539"/>
                  </a:lnTo>
                  <a:lnTo>
                    <a:pt x="610" y="542"/>
                  </a:lnTo>
                  <a:lnTo>
                    <a:pt x="610" y="543"/>
                  </a:lnTo>
                  <a:lnTo>
                    <a:pt x="609" y="543"/>
                  </a:lnTo>
                  <a:lnTo>
                    <a:pt x="609" y="544"/>
                  </a:lnTo>
                  <a:lnTo>
                    <a:pt x="608" y="546"/>
                  </a:lnTo>
                  <a:lnTo>
                    <a:pt x="607" y="547"/>
                  </a:lnTo>
                  <a:lnTo>
                    <a:pt x="606" y="548"/>
                  </a:lnTo>
                  <a:lnTo>
                    <a:pt x="604" y="548"/>
                  </a:lnTo>
                  <a:lnTo>
                    <a:pt x="603" y="550"/>
                  </a:lnTo>
                  <a:lnTo>
                    <a:pt x="601" y="550"/>
                  </a:lnTo>
                  <a:lnTo>
                    <a:pt x="600" y="550"/>
                  </a:lnTo>
                  <a:lnTo>
                    <a:pt x="599" y="550"/>
                  </a:lnTo>
                  <a:lnTo>
                    <a:pt x="596" y="551"/>
                  </a:lnTo>
                  <a:lnTo>
                    <a:pt x="596" y="552"/>
                  </a:lnTo>
                  <a:lnTo>
                    <a:pt x="596" y="553"/>
                  </a:lnTo>
                  <a:lnTo>
                    <a:pt x="596" y="554"/>
                  </a:lnTo>
                  <a:lnTo>
                    <a:pt x="596" y="555"/>
                  </a:lnTo>
                  <a:lnTo>
                    <a:pt x="598" y="558"/>
                  </a:lnTo>
                  <a:lnTo>
                    <a:pt x="596" y="559"/>
                  </a:lnTo>
                  <a:lnTo>
                    <a:pt x="598" y="559"/>
                  </a:lnTo>
                  <a:lnTo>
                    <a:pt x="598" y="560"/>
                  </a:lnTo>
                  <a:lnTo>
                    <a:pt x="598" y="561"/>
                  </a:lnTo>
                  <a:lnTo>
                    <a:pt x="596" y="561"/>
                  </a:lnTo>
                  <a:lnTo>
                    <a:pt x="595" y="562"/>
                  </a:lnTo>
                  <a:lnTo>
                    <a:pt x="594" y="562"/>
                  </a:lnTo>
                  <a:lnTo>
                    <a:pt x="593" y="563"/>
                  </a:lnTo>
                  <a:lnTo>
                    <a:pt x="593" y="564"/>
                  </a:lnTo>
                  <a:lnTo>
                    <a:pt x="593" y="566"/>
                  </a:lnTo>
                  <a:lnTo>
                    <a:pt x="593" y="568"/>
                  </a:lnTo>
                  <a:lnTo>
                    <a:pt x="593" y="569"/>
                  </a:lnTo>
                  <a:lnTo>
                    <a:pt x="592" y="570"/>
                  </a:lnTo>
                  <a:lnTo>
                    <a:pt x="590" y="571"/>
                  </a:lnTo>
                  <a:lnTo>
                    <a:pt x="590" y="572"/>
                  </a:lnTo>
                  <a:lnTo>
                    <a:pt x="588" y="575"/>
                  </a:lnTo>
                  <a:lnTo>
                    <a:pt x="587" y="577"/>
                  </a:lnTo>
                  <a:lnTo>
                    <a:pt x="587" y="579"/>
                  </a:lnTo>
                  <a:lnTo>
                    <a:pt x="586" y="579"/>
                  </a:lnTo>
                  <a:lnTo>
                    <a:pt x="584" y="582"/>
                  </a:lnTo>
                  <a:lnTo>
                    <a:pt x="583" y="583"/>
                  </a:lnTo>
                  <a:lnTo>
                    <a:pt x="580" y="584"/>
                  </a:lnTo>
                  <a:lnTo>
                    <a:pt x="578" y="585"/>
                  </a:lnTo>
                  <a:lnTo>
                    <a:pt x="577" y="586"/>
                  </a:lnTo>
                  <a:lnTo>
                    <a:pt x="577" y="587"/>
                  </a:lnTo>
                  <a:lnTo>
                    <a:pt x="577" y="588"/>
                  </a:lnTo>
                  <a:lnTo>
                    <a:pt x="578" y="590"/>
                  </a:lnTo>
                  <a:lnTo>
                    <a:pt x="578" y="591"/>
                  </a:lnTo>
                  <a:lnTo>
                    <a:pt x="578" y="592"/>
                  </a:lnTo>
                  <a:lnTo>
                    <a:pt x="576" y="593"/>
                  </a:lnTo>
                  <a:lnTo>
                    <a:pt x="575" y="594"/>
                  </a:lnTo>
                  <a:lnTo>
                    <a:pt x="572" y="595"/>
                  </a:lnTo>
                  <a:lnTo>
                    <a:pt x="572" y="598"/>
                  </a:lnTo>
                  <a:lnTo>
                    <a:pt x="571" y="599"/>
                  </a:lnTo>
                  <a:lnTo>
                    <a:pt x="571" y="600"/>
                  </a:lnTo>
                  <a:lnTo>
                    <a:pt x="570" y="602"/>
                  </a:lnTo>
                  <a:lnTo>
                    <a:pt x="569" y="602"/>
                  </a:lnTo>
                  <a:lnTo>
                    <a:pt x="569" y="601"/>
                  </a:lnTo>
                  <a:lnTo>
                    <a:pt x="569" y="600"/>
                  </a:lnTo>
                  <a:lnTo>
                    <a:pt x="570" y="599"/>
                  </a:lnTo>
                  <a:lnTo>
                    <a:pt x="569" y="598"/>
                  </a:lnTo>
                  <a:lnTo>
                    <a:pt x="568" y="598"/>
                  </a:lnTo>
                  <a:lnTo>
                    <a:pt x="566" y="600"/>
                  </a:lnTo>
                  <a:lnTo>
                    <a:pt x="564" y="601"/>
                  </a:lnTo>
                  <a:lnTo>
                    <a:pt x="563" y="603"/>
                  </a:lnTo>
                  <a:lnTo>
                    <a:pt x="562" y="604"/>
                  </a:lnTo>
                  <a:lnTo>
                    <a:pt x="561" y="604"/>
                  </a:lnTo>
                  <a:lnTo>
                    <a:pt x="558" y="607"/>
                  </a:lnTo>
                  <a:lnTo>
                    <a:pt x="556" y="608"/>
                  </a:lnTo>
                  <a:lnTo>
                    <a:pt x="554" y="609"/>
                  </a:lnTo>
                  <a:lnTo>
                    <a:pt x="553" y="610"/>
                  </a:lnTo>
                  <a:lnTo>
                    <a:pt x="552" y="610"/>
                  </a:lnTo>
                  <a:lnTo>
                    <a:pt x="552" y="609"/>
                  </a:lnTo>
                  <a:lnTo>
                    <a:pt x="552" y="608"/>
                  </a:lnTo>
                  <a:lnTo>
                    <a:pt x="553" y="606"/>
                  </a:lnTo>
                  <a:lnTo>
                    <a:pt x="554" y="604"/>
                  </a:lnTo>
                  <a:lnTo>
                    <a:pt x="553" y="603"/>
                  </a:lnTo>
                  <a:lnTo>
                    <a:pt x="551" y="603"/>
                  </a:lnTo>
                  <a:lnTo>
                    <a:pt x="550" y="604"/>
                  </a:lnTo>
                  <a:lnTo>
                    <a:pt x="546" y="606"/>
                  </a:lnTo>
                  <a:lnTo>
                    <a:pt x="544" y="606"/>
                  </a:lnTo>
                  <a:lnTo>
                    <a:pt x="543" y="607"/>
                  </a:lnTo>
                  <a:lnTo>
                    <a:pt x="542" y="607"/>
                  </a:lnTo>
                  <a:lnTo>
                    <a:pt x="542" y="608"/>
                  </a:lnTo>
                  <a:lnTo>
                    <a:pt x="540" y="608"/>
                  </a:lnTo>
                  <a:lnTo>
                    <a:pt x="539" y="610"/>
                  </a:lnTo>
                  <a:lnTo>
                    <a:pt x="538" y="611"/>
                  </a:lnTo>
                  <a:lnTo>
                    <a:pt x="536" y="612"/>
                  </a:lnTo>
                  <a:lnTo>
                    <a:pt x="535" y="611"/>
                  </a:lnTo>
                  <a:lnTo>
                    <a:pt x="534" y="610"/>
                  </a:lnTo>
                  <a:lnTo>
                    <a:pt x="532" y="609"/>
                  </a:lnTo>
                  <a:lnTo>
                    <a:pt x="532" y="608"/>
                  </a:lnTo>
                  <a:lnTo>
                    <a:pt x="532" y="606"/>
                  </a:lnTo>
                  <a:lnTo>
                    <a:pt x="531" y="606"/>
                  </a:lnTo>
                  <a:lnTo>
                    <a:pt x="531" y="604"/>
                  </a:lnTo>
                  <a:lnTo>
                    <a:pt x="531" y="603"/>
                  </a:lnTo>
                  <a:lnTo>
                    <a:pt x="531" y="602"/>
                  </a:lnTo>
                  <a:lnTo>
                    <a:pt x="530" y="601"/>
                  </a:lnTo>
                  <a:lnTo>
                    <a:pt x="529" y="601"/>
                  </a:lnTo>
                  <a:lnTo>
                    <a:pt x="528" y="600"/>
                  </a:lnTo>
                  <a:lnTo>
                    <a:pt x="526" y="601"/>
                  </a:lnTo>
                  <a:lnTo>
                    <a:pt x="524" y="601"/>
                  </a:lnTo>
                  <a:lnTo>
                    <a:pt x="522" y="602"/>
                  </a:lnTo>
                  <a:lnTo>
                    <a:pt x="521" y="602"/>
                  </a:lnTo>
                  <a:lnTo>
                    <a:pt x="519" y="604"/>
                  </a:lnTo>
                  <a:lnTo>
                    <a:pt x="518" y="603"/>
                  </a:lnTo>
                  <a:lnTo>
                    <a:pt x="516" y="603"/>
                  </a:lnTo>
                  <a:lnTo>
                    <a:pt x="518" y="602"/>
                  </a:lnTo>
                  <a:lnTo>
                    <a:pt x="518" y="601"/>
                  </a:lnTo>
                  <a:lnTo>
                    <a:pt x="519" y="601"/>
                  </a:lnTo>
                  <a:lnTo>
                    <a:pt x="520" y="600"/>
                  </a:lnTo>
                  <a:lnTo>
                    <a:pt x="521" y="600"/>
                  </a:lnTo>
                  <a:lnTo>
                    <a:pt x="522" y="599"/>
                  </a:lnTo>
                  <a:lnTo>
                    <a:pt x="523" y="599"/>
                  </a:lnTo>
                  <a:lnTo>
                    <a:pt x="524" y="599"/>
                  </a:lnTo>
                  <a:lnTo>
                    <a:pt x="526" y="598"/>
                  </a:lnTo>
                  <a:lnTo>
                    <a:pt x="527" y="598"/>
                  </a:lnTo>
                  <a:lnTo>
                    <a:pt x="529" y="595"/>
                  </a:lnTo>
                  <a:lnTo>
                    <a:pt x="530" y="593"/>
                  </a:lnTo>
                  <a:lnTo>
                    <a:pt x="531" y="591"/>
                  </a:lnTo>
                  <a:lnTo>
                    <a:pt x="530" y="590"/>
                  </a:lnTo>
                  <a:lnTo>
                    <a:pt x="530" y="588"/>
                  </a:lnTo>
                  <a:lnTo>
                    <a:pt x="529" y="587"/>
                  </a:lnTo>
                  <a:lnTo>
                    <a:pt x="528" y="587"/>
                  </a:lnTo>
                  <a:lnTo>
                    <a:pt x="527" y="587"/>
                  </a:lnTo>
                  <a:lnTo>
                    <a:pt x="524" y="588"/>
                  </a:lnTo>
                  <a:lnTo>
                    <a:pt x="523" y="588"/>
                  </a:lnTo>
                  <a:lnTo>
                    <a:pt x="522" y="588"/>
                  </a:lnTo>
                  <a:lnTo>
                    <a:pt x="520" y="590"/>
                  </a:lnTo>
                  <a:lnTo>
                    <a:pt x="518" y="591"/>
                  </a:lnTo>
                  <a:lnTo>
                    <a:pt x="516" y="592"/>
                  </a:lnTo>
                  <a:lnTo>
                    <a:pt x="515" y="593"/>
                  </a:lnTo>
                  <a:lnTo>
                    <a:pt x="513" y="594"/>
                  </a:lnTo>
                  <a:lnTo>
                    <a:pt x="512" y="594"/>
                  </a:lnTo>
                  <a:lnTo>
                    <a:pt x="510" y="598"/>
                  </a:lnTo>
                  <a:lnTo>
                    <a:pt x="508" y="599"/>
                  </a:lnTo>
                  <a:lnTo>
                    <a:pt x="508" y="600"/>
                  </a:lnTo>
                  <a:lnTo>
                    <a:pt x="510" y="601"/>
                  </a:lnTo>
                  <a:lnTo>
                    <a:pt x="508" y="602"/>
                  </a:lnTo>
                  <a:lnTo>
                    <a:pt x="510" y="603"/>
                  </a:lnTo>
                  <a:lnTo>
                    <a:pt x="511" y="604"/>
                  </a:lnTo>
                  <a:lnTo>
                    <a:pt x="510" y="607"/>
                  </a:lnTo>
                  <a:lnTo>
                    <a:pt x="511" y="607"/>
                  </a:lnTo>
                  <a:lnTo>
                    <a:pt x="508" y="608"/>
                  </a:lnTo>
                  <a:lnTo>
                    <a:pt x="507" y="609"/>
                  </a:lnTo>
                  <a:lnTo>
                    <a:pt x="507" y="610"/>
                  </a:lnTo>
                  <a:lnTo>
                    <a:pt x="505" y="611"/>
                  </a:lnTo>
                  <a:lnTo>
                    <a:pt x="505" y="609"/>
                  </a:lnTo>
                  <a:lnTo>
                    <a:pt x="504" y="608"/>
                  </a:lnTo>
                  <a:lnTo>
                    <a:pt x="505" y="607"/>
                  </a:lnTo>
                  <a:lnTo>
                    <a:pt x="505" y="606"/>
                  </a:lnTo>
                  <a:lnTo>
                    <a:pt x="505" y="604"/>
                  </a:lnTo>
                  <a:lnTo>
                    <a:pt x="505" y="603"/>
                  </a:lnTo>
                  <a:lnTo>
                    <a:pt x="504" y="602"/>
                  </a:lnTo>
                  <a:lnTo>
                    <a:pt x="504" y="600"/>
                  </a:lnTo>
                  <a:lnTo>
                    <a:pt x="504" y="599"/>
                  </a:lnTo>
                  <a:lnTo>
                    <a:pt x="503" y="599"/>
                  </a:lnTo>
                  <a:lnTo>
                    <a:pt x="502" y="599"/>
                  </a:lnTo>
                  <a:lnTo>
                    <a:pt x="500" y="600"/>
                  </a:lnTo>
                  <a:lnTo>
                    <a:pt x="499" y="601"/>
                  </a:lnTo>
                  <a:lnTo>
                    <a:pt x="498" y="602"/>
                  </a:lnTo>
                  <a:lnTo>
                    <a:pt x="498" y="603"/>
                  </a:lnTo>
                  <a:lnTo>
                    <a:pt x="496" y="603"/>
                  </a:lnTo>
                  <a:lnTo>
                    <a:pt x="495" y="604"/>
                  </a:lnTo>
                  <a:lnTo>
                    <a:pt x="492" y="606"/>
                  </a:lnTo>
                  <a:lnTo>
                    <a:pt x="490" y="607"/>
                  </a:lnTo>
                  <a:lnTo>
                    <a:pt x="489" y="607"/>
                  </a:lnTo>
                  <a:lnTo>
                    <a:pt x="488" y="607"/>
                  </a:lnTo>
                  <a:lnTo>
                    <a:pt x="487" y="607"/>
                  </a:lnTo>
                  <a:lnTo>
                    <a:pt x="486" y="607"/>
                  </a:lnTo>
                  <a:lnTo>
                    <a:pt x="484" y="607"/>
                  </a:lnTo>
                  <a:lnTo>
                    <a:pt x="484" y="609"/>
                  </a:lnTo>
                  <a:lnTo>
                    <a:pt x="486" y="609"/>
                  </a:lnTo>
                  <a:lnTo>
                    <a:pt x="487" y="610"/>
                  </a:lnTo>
                  <a:lnTo>
                    <a:pt x="489" y="610"/>
                  </a:lnTo>
                  <a:lnTo>
                    <a:pt x="490" y="610"/>
                  </a:lnTo>
                  <a:lnTo>
                    <a:pt x="492" y="611"/>
                  </a:lnTo>
                  <a:lnTo>
                    <a:pt x="496" y="611"/>
                  </a:lnTo>
                  <a:lnTo>
                    <a:pt x="497" y="612"/>
                  </a:lnTo>
                  <a:lnTo>
                    <a:pt x="499" y="612"/>
                  </a:lnTo>
                  <a:lnTo>
                    <a:pt x="502" y="612"/>
                  </a:lnTo>
                  <a:lnTo>
                    <a:pt x="503" y="614"/>
                  </a:lnTo>
                  <a:lnTo>
                    <a:pt x="502" y="615"/>
                  </a:lnTo>
                  <a:lnTo>
                    <a:pt x="502" y="616"/>
                  </a:lnTo>
                  <a:lnTo>
                    <a:pt x="499" y="616"/>
                  </a:lnTo>
                  <a:lnTo>
                    <a:pt x="498" y="617"/>
                  </a:lnTo>
                  <a:lnTo>
                    <a:pt x="497" y="618"/>
                  </a:lnTo>
                  <a:lnTo>
                    <a:pt x="496" y="619"/>
                  </a:lnTo>
                  <a:lnTo>
                    <a:pt x="495" y="620"/>
                  </a:lnTo>
                  <a:lnTo>
                    <a:pt x="495" y="622"/>
                  </a:lnTo>
                  <a:lnTo>
                    <a:pt x="496" y="622"/>
                  </a:lnTo>
                  <a:lnTo>
                    <a:pt x="497" y="623"/>
                  </a:lnTo>
                  <a:lnTo>
                    <a:pt x="498" y="624"/>
                  </a:lnTo>
                  <a:lnTo>
                    <a:pt x="498" y="625"/>
                  </a:lnTo>
                  <a:lnTo>
                    <a:pt x="499" y="626"/>
                  </a:lnTo>
                  <a:lnTo>
                    <a:pt x="499" y="627"/>
                  </a:lnTo>
                  <a:lnTo>
                    <a:pt x="498" y="627"/>
                  </a:lnTo>
                  <a:lnTo>
                    <a:pt x="497" y="627"/>
                  </a:lnTo>
                  <a:lnTo>
                    <a:pt x="496" y="627"/>
                  </a:lnTo>
                  <a:lnTo>
                    <a:pt x="495" y="627"/>
                  </a:lnTo>
                  <a:lnTo>
                    <a:pt x="495" y="626"/>
                  </a:lnTo>
                  <a:lnTo>
                    <a:pt x="494" y="626"/>
                  </a:lnTo>
                  <a:lnTo>
                    <a:pt x="492" y="627"/>
                  </a:lnTo>
                  <a:lnTo>
                    <a:pt x="491" y="627"/>
                  </a:lnTo>
                  <a:lnTo>
                    <a:pt x="490" y="628"/>
                  </a:lnTo>
                  <a:lnTo>
                    <a:pt x="489" y="630"/>
                  </a:lnTo>
                  <a:lnTo>
                    <a:pt x="489" y="631"/>
                  </a:lnTo>
                  <a:lnTo>
                    <a:pt x="488" y="633"/>
                  </a:lnTo>
                  <a:lnTo>
                    <a:pt x="487" y="634"/>
                  </a:lnTo>
                  <a:lnTo>
                    <a:pt x="484" y="633"/>
                  </a:lnTo>
                  <a:lnTo>
                    <a:pt x="483" y="633"/>
                  </a:lnTo>
                  <a:lnTo>
                    <a:pt x="481" y="632"/>
                  </a:lnTo>
                  <a:lnTo>
                    <a:pt x="480" y="631"/>
                  </a:lnTo>
                  <a:lnTo>
                    <a:pt x="479" y="631"/>
                  </a:lnTo>
                  <a:lnTo>
                    <a:pt x="476" y="631"/>
                  </a:lnTo>
                  <a:lnTo>
                    <a:pt x="475" y="632"/>
                  </a:lnTo>
                  <a:lnTo>
                    <a:pt x="475" y="633"/>
                  </a:lnTo>
                  <a:lnTo>
                    <a:pt x="474" y="635"/>
                  </a:lnTo>
                  <a:lnTo>
                    <a:pt x="473" y="636"/>
                  </a:lnTo>
                  <a:lnTo>
                    <a:pt x="472" y="638"/>
                  </a:lnTo>
                  <a:lnTo>
                    <a:pt x="472" y="639"/>
                  </a:lnTo>
                  <a:lnTo>
                    <a:pt x="470" y="640"/>
                  </a:lnTo>
                  <a:lnTo>
                    <a:pt x="468" y="640"/>
                  </a:lnTo>
                  <a:lnTo>
                    <a:pt x="467" y="640"/>
                  </a:lnTo>
                  <a:lnTo>
                    <a:pt x="467" y="641"/>
                  </a:lnTo>
                  <a:lnTo>
                    <a:pt x="466" y="642"/>
                  </a:lnTo>
                  <a:lnTo>
                    <a:pt x="466" y="643"/>
                  </a:lnTo>
                  <a:lnTo>
                    <a:pt x="466" y="644"/>
                  </a:lnTo>
                  <a:lnTo>
                    <a:pt x="466" y="646"/>
                  </a:lnTo>
                  <a:lnTo>
                    <a:pt x="467" y="647"/>
                  </a:lnTo>
                  <a:lnTo>
                    <a:pt x="467" y="648"/>
                  </a:lnTo>
                  <a:lnTo>
                    <a:pt x="466" y="649"/>
                  </a:lnTo>
                  <a:lnTo>
                    <a:pt x="466" y="650"/>
                  </a:lnTo>
                  <a:lnTo>
                    <a:pt x="464" y="651"/>
                  </a:lnTo>
                  <a:lnTo>
                    <a:pt x="463" y="651"/>
                  </a:lnTo>
                  <a:lnTo>
                    <a:pt x="462" y="651"/>
                  </a:lnTo>
                  <a:lnTo>
                    <a:pt x="462" y="650"/>
                  </a:lnTo>
                  <a:lnTo>
                    <a:pt x="460" y="649"/>
                  </a:lnTo>
                  <a:lnTo>
                    <a:pt x="462" y="648"/>
                  </a:lnTo>
                  <a:lnTo>
                    <a:pt x="462" y="647"/>
                  </a:lnTo>
                  <a:lnTo>
                    <a:pt x="462" y="646"/>
                  </a:lnTo>
                  <a:lnTo>
                    <a:pt x="463" y="644"/>
                  </a:lnTo>
                  <a:lnTo>
                    <a:pt x="463" y="643"/>
                  </a:lnTo>
                  <a:lnTo>
                    <a:pt x="463" y="642"/>
                  </a:lnTo>
                  <a:lnTo>
                    <a:pt x="463" y="641"/>
                  </a:lnTo>
                  <a:lnTo>
                    <a:pt x="463" y="639"/>
                  </a:lnTo>
                  <a:lnTo>
                    <a:pt x="462" y="638"/>
                  </a:lnTo>
                  <a:lnTo>
                    <a:pt x="462" y="636"/>
                  </a:lnTo>
                  <a:lnTo>
                    <a:pt x="460" y="635"/>
                  </a:lnTo>
                  <a:lnTo>
                    <a:pt x="459" y="634"/>
                  </a:lnTo>
                  <a:lnTo>
                    <a:pt x="458" y="634"/>
                  </a:lnTo>
                  <a:lnTo>
                    <a:pt x="457" y="634"/>
                  </a:lnTo>
                  <a:lnTo>
                    <a:pt x="455" y="635"/>
                  </a:lnTo>
                  <a:lnTo>
                    <a:pt x="454" y="636"/>
                  </a:lnTo>
                  <a:lnTo>
                    <a:pt x="452" y="636"/>
                  </a:lnTo>
                  <a:lnTo>
                    <a:pt x="451" y="635"/>
                  </a:lnTo>
                  <a:lnTo>
                    <a:pt x="451" y="634"/>
                  </a:lnTo>
                  <a:lnTo>
                    <a:pt x="448" y="633"/>
                  </a:lnTo>
                  <a:lnTo>
                    <a:pt x="446" y="634"/>
                  </a:lnTo>
                  <a:lnTo>
                    <a:pt x="444" y="633"/>
                  </a:lnTo>
                  <a:lnTo>
                    <a:pt x="443" y="633"/>
                  </a:lnTo>
                  <a:lnTo>
                    <a:pt x="442" y="633"/>
                  </a:lnTo>
                  <a:lnTo>
                    <a:pt x="441" y="634"/>
                  </a:lnTo>
                  <a:lnTo>
                    <a:pt x="439" y="635"/>
                  </a:lnTo>
                  <a:lnTo>
                    <a:pt x="436" y="636"/>
                  </a:lnTo>
                  <a:lnTo>
                    <a:pt x="435" y="638"/>
                  </a:lnTo>
                  <a:lnTo>
                    <a:pt x="438" y="640"/>
                  </a:lnTo>
                  <a:lnTo>
                    <a:pt x="438" y="641"/>
                  </a:lnTo>
                  <a:lnTo>
                    <a:pt x="438" y="642"/>
                  </a:lnTo>
                  <a:lnTo>
                    <a:pt x="440" y="643"/>
                  </a:lnTo>
                  <a:lnTo>
                    <a:pt x="440" y="644"/>
                  </a:lnTo>
                  <a:lnTo>
                    <a:pt x="440" y="647"/>
                  </a:lnTo>
                  <a:lnTo>
                    <a:pt x="436" y="647"/>
                  </a:lnTo>
                  <a:lnTo>
                    <a:pt x="435" y="646"/>
                  </a:lnTo>
                  <a:lnTo>
                    <a:pt x="434" y="644"/>
                  </a:lnTo>
                  <a:lnTo>
                    <a:pt x="432" y="643"/>
                  </a:lnTo>
                  <a:lnTo>
                    <a:pt x="430" y="644"/>
                  </a:lnTo>
                  <a:lnTo>
                    <a:pt x="428" y="646"/>
                  </a:lnTo>
                  <a:lnTo>
                    <a:pt x="427" y="646"/>
                  </a:lnTo>
                  <a:lnTo>
                    <a:pt x="425" y="647"/>
                  </a:lnTo>
                  <a:lnTo>
                    <a:pt x="424" y="649"/>
                  </a:lnTo>
                  <a:lnTo>
                    <a:pt x="425" y="650"/>
                  </a:lnTo>
                  <a:lnTo>
                    <a:pt x="425" y="652"/>
                  </a:lnTo>
                  <a:lnTo>
                    <a:pt x="426" y="655"/>
                  </a:lnTo>
                  <a:lnTo>
                    <a:pt x="427" y="657"/>
                  </a:lnTo>
                  <a:lnTo>
                    <a:pt x="428" y="659"/>
                  </a:lnTo>
                  <a:lnTo>
                    <a:pt x="428" y="660"/>
                  </a:lnTo>
                  <a:lnTo>
                    <a:pt x="426" y="659"/>
                  </a:lnTo>
                  <a:lnTo>
                    <a:pt x="424" y="658"/>
                  </a:lnTo>
                  <a:lnTo>
                    <a:pt x="423" y="656"/>
                  </a:lnTo>
                  <a:lnTo>
                    <a:pt x="423" y="654"/>
                  </a:lnTo>
                  <a:lnTo>
                    <a:pt x="422" y="652"/>
                  </a:lnTo>
                  <a:lnTo>
                    <a:pt x="420" y="652"/>
                  </a:lnTo>
                  <a:lnTo>
                    <a:pt x="418" y="652"/>
                  </a:lnTo>
                  <a:lnTo>
                    <a:pt x="415" y="652"/>
                  </a:lnTo>
                  <a:lnTo>
                    <a:pt x="412" y="654"/>
                  </a:lnTo>
                  <a:lnTo>
                    <a:pt x="412" y="655"/>
                  </a:lnTo>
                  <a:lnTo>
                    <a:pt x="412" y="657"/>
                  </a:lnTo>
                  <a:lnTo>
                    <a:pt x="414" y="659"/>
                  </a:lnTo>
                  <a:lnTo>
                    <a:pt x="414" y="660"/>
                  </a:lnTo>
                  <a:lnTo>
                    <a:pt x="414" y="663"/>
                  </a:lnTo>
                  <a:lnTo>
                    <a:pt x="412" y="665"/>
                  </a:lnTo>
                  <a:lnTo>
                    <a:pt x="410" y="667"/>
                  </a:lnTo>
                  <a:lnTo>
                    <a:pt x="409" y="668"/>
                  </a:lnTo>
                  <a:lnTo>
                    <a:pt x="408" y="671"/>
                  </a:lnTo>
                  <a:lnTo>
                    <a:pt x="406" y="671"/>
                  </a:lnTo>
                  <a:lnTo>
                    <a:pt x="406" y="670"/>
                  </a:lnTo>
                  <a:lnTo>
                    <a:pt x="404" y="668"/>
                  </a:lnTo>
                  <a:lnTo>
                    <a:pt x="402" y="668"/>
                  </a:lnTo>
                  <a:lnTo>
                    <a:pt x="401" y="668"/>
                  </a:lnTo>
                  <a:lnTo>
                    <a:pt x="400" y="667"/>
                  </a:lnTo>
                  <a:lnTo>
                    <a:pt x="402" y="666"/>
                  </a:lnTo>
                  <a:lnTo>
                    <a:pt x="402" y="663"/>
                  </a:lnTo>
                  <a:lnTo>
                    <a:pt x="402" y="662"/>
                  </a:lnTo>
                  <a:lnTo>
                    <a:pt x="401" y="660"/>
                  </a:lnTo>
                  <a:lnTo>
                    <a:pt x="400" y="660"/>
                  </a:lnTo>
                  <a:lnTo>
                    <a:pt x="400" y="659"/>
                  </a:lnTo>
                  <a:lnTo>
                    <a:pt x="399" y="658"/>
                  </a:lnTo>
                  <a:lnTo>
                    <a:pt x="396" y="657"/>
                  </a:lnTo>
                  <a:lnTo>
                    <a:pt x="394" y="656"/>
                  </a:lnTo>
                  <a:lnTo>
                    <a:pt x="392" y="656"/>
                  </a:lnTo>
                  <a:lnTo>
                    <a:pt x="391" y="655"/>
                  </a:lnTo>
                  <a:lnTo>
                    <a:pt x="388" y="654"/>
                  </a:lnTo>
                  <a:lnTo>
                    <a:pt x="387" y="654"/>
                  </a:lnTo>
                  <a:lnTo>
                    <a:pt x="385" y="654"/>
                  </a:lnTo>
                  <a:lnTo>
                    <a:pt x="382" y="655"/>
                  </a:lnTo>
                  <a:lnTo>
                    <a:pt x="380" y="655"/>
                  </a:lnTo>
                  <a:lnTo>
                    <a:pt x="378" y="656"/>
                  </a:lnTo>
                  <a:lnTo>
                    <a:pt x="379" y="658"/>
                  </a:lnTo>
                  <a:lnTo>
                    <a:pt x="379" y="662"/>
                  </a:lnTo>
                  <a:lnTo>
                    <a:pt x="380" y="663"/>
                  </a:lnTo>
                  <a:lnTo>
                    <a:pt x="383" y="665"/>
                  </a:lnTo>
                  <a:lnTo>
                    <a:pt x="384" y="667"/>
                  </a:lnTo>
                  <a:lnTo>
                    <a:pt x="383" y="667"/>
                  </a:lnTo>
                  <a:lnTo>
                    <a:pt x="380" y="665"/>
                  </a:lnTo>
                  <a:lnTo>
                    <a:pt x="377" y="664"/>
                  </a:lnTo>
                  <a:lnTo>
                    <a:pt x="376" y="664"/>
                  </a:lnTo>
                  <a:lnTo>
                    <a:pt x="374" y="664"/>
                  </a:lnTo>
                  <a:lnTo>
                    <a:pt x="371" y="665"/>
                  </a:lnTo>
                  <a:lnTo>
                    <a:pt x="372" y="667"/>
                  </a:lnTo>
                  <a:lnTo>
                    <a:pt x="375" y="670"/>
                  </a:lnTo>
                  <a:lnTo>
                    <a:pt x="376" y="671"/>
                  </a:lnTo>
                  <a:lnTo>
                    <a:pt x="379" y="674"/>
                  </a:lnTo>
                  <a:lnTo>
                    <a:pt x="377" y="675"/>
                  </a:lnTo>
                  <a:lnTo>
                    <a:pt x="372" y="675"/>
                  </a:lnTo>
                  <a:lnTo>
                    <a:pt x="370" y="675"/>
                  </a:lnTo>
                  <a:lnTo>
                    <a:pt x="369" y="674"/>
                  </a:lnTo>
                  <a:lnTo>
                    <a:pt x="367" y="672"/>
                  </a:lnTo>
                  <a:lnTo>
                    <a:pt x="366" y="671"/>
                  </a:lnTo>
                  <a:lnTo>
                    <a:pt x="367" y="668"/>
                  </a:lnTo>
                  <a:lnTo>
                    <a:pt x="367" y="667"/>
                  </a:lnTo>
                  <a:lnTo>
                    <a:pt x="364" y="667"/>
                  </a:lnTo>
                  <a:lnTo>
                    <a:pt x="361" y="666"/>
                  </a:lnTo>
                  <a:lnTo>
                    <a:pt x="359" y="667"/>
                  </a:lnTo>
                  <a:lnTo>
                    <a:pt x="360" y="670"/>
                  </a:lnTo>
                  <a:lnTo>
                    <a:pt x="363" y="672"/>
                  </a:lnTo>
                  <a:lnTo>
                    <a:pt x="362" y="674"/>
                  </a:lnTo>
                  <a:lnTo>
                    <a:pt x="360" y="675"/>
                  </a:lnTo>
                  <a:lnTo>
                    <a:pt x="358" y="674"/>
                  </a:lnTo>
                  <a:lnTo>
                    <a:pt x="356" y="674"/>
                  </a:lnTo>
                  <a:lnTo>
                    <a:pt x="354" y="673"/>
                  </a:lnTo>
                  <a:lnTo>
                    <a:pt x="351" y="672"/>
                  </a:lnTo>
                  <a:lnTo>
                    <a:pt x="350" y="671"/>
                  </a:lnTo>
                  <a:lnTo>
                    <a:pt x="350" y="670"/>
                  </a:lnTo>
                  <a:lnTo>
                    <a:pt x="346" y="670"/>
                  </a:lnTo>
                  <a:lnTo>
                    <a:pt x="344" y="670"/>
                  </a:lnTo>
                  <a:lnTo>
                    <a:pt x="343" y="670"/>
                  </a:lnTo>
                  <a:lnTo>
                    <a:pt x="339" y="670"/>
                  </a:lnTo>
                  <a:lnTo>
                    <a:pt x="337" y="671"/>
                  </a:lnTo>
                  <a:lnTo>
                    <a:pt x="337" y="673"/>
                  </a:lnTo>
                  <a:lnTo>
                    <a:pt x="337" y="674"/>
                  </a:lnTo>
                  <a:lnTo>
                    <a:pt x="335" y="676"/>
                  </a:lnTo>
                  <a:lnTo>
                    <a:pt x="334" y="675"/>
                  </a:lnTo>
                  <a:lnTo>
                    <a:pt x="331" y="674"/>
                  </a:lnTo>
                  <a:lnTo>
                    <a:pt x="328" y="675"/>
                  </a:lnTo>
                  <a:lnTo>
                    <a:pt x="327" y="676"/>
                  </a:lnTo>
                  <a:lnTo>
                    <a:pt x="326" y="679"/>
                  </a:lnTo>
                  <a:lnTo>
                    <a:pt x="326" y="680"/>
                  </a:lnTo>
                  <a:lnTo>
                    <a:pt x="323" y="681"/>
                  </a:lnTo>
                  <a:lnTo>
                    <a:pt x="322" y="682"/>
                  </a:lnTo>
                  <a:lnTo>
                    <a:pt x="321" y="683"/>
                  </a:lnTo>
                  <a:lnTo>
                    <a:pt x="320" y="682"/>
                  </a:lnTo>
                  <a:lnTo>
                    <a:pt x="319" y="682"/>
                  </a:lnTo>
                  <a:lnTo>
                    <a:pt x="316" y="682"/>
                  </a:lnTo>
                  <a:lnTo>
                    <a:pt x="314" y="682"/>
                  </a:lnTo>
                  <a:lnTo>
                    <a:pt x="313" y="682"/>
                  </a:lnTo>
                  <a:lnTo>
                    <a:pt x="312" y="683"/>
                  </a:lnTo>
                  <a:lnTo>
                    <a:pt x="310" y="683"/>
                  </a:lnTo>
                  <a:lnTo>
                    <a:pt x="308" y="684"/>
                  </a:lnTo>
                  <a:lnTo>
                    <a:pt x="307" y="686"/>
                  </a:lnTo>
                  <a:lnTo>
                    <a:pt x="305" y="688"/>
                  </a:lnTo>
                  <a:lnTo>
                    <a:pt x="302" y="689"/>
                  </a:lnTo>
                  <a:lnTo>
                    <a:pt x="299" y="690"/>
                  </a:lnTo>
                  <a:lnTo>
                    <a:pt x="296" y="690"/>
                  </a:lnTo>
                  <a:lnTo>
                    <a:pt x="295" y="691"/>
                  </a:lnTo>
                  <a:lnTo>
                    <a:pt x="292" y="692"/>
                  </a:lnTo>
                  <a:lnTo>
                    <a:pt x="292" y="695"/>
                  </a:lnTo>
                  <a:lnTo>
                    <a:pt x="292" y="696"/>
                  </a:lnTo>
                  <a:lnTo>
                    <a:pt x="291" y="698"/>
                  </a:lnTo>
                  <a:lnTo>
                    <a:pt x="288" y="699"/>
                  </a:lnTo>
                  <a:lnTo>
                    <a:pt x="286" y="699"/>
                  </a:lnTo>
                  <a:lnTo>
                    <a:pt x="283" y="699"/>
                  </a:lnTo>
                  <a:lnTo>
                    <a:pt x="283" y="697"/>
                  </a:lnTo>
                  <a:lnTo>
                    <a:pt x="283" y="696"/>
                  </a:lnTo>
                  <a:lnTo>
                    <a:pt x="282" y="695"/>
                  </a:lnTo>
                  <a:lnTo>
                    <a:pt x="282" y="692"/>
                  </a:lnTo>
                  <a:lnTo>
                    <a:pt x="284" y="691"/>
                  </a:lnTo>
                  <a:lnTo>
                    <a:pt x="284" y="689"/>
                  </a:lnTo>
                  <a:lnTo>
                    <a:pt x="287" y="689"/>
                  </a:lnTo>
                  <a:lnTo>
                    <a:pt x="287" y="686"/>
                  </a:lnTo>
                  <a:lnTo>
                    <a:pt x="288" y="684"/>
                  </a:lnTo>
                  <a:lnTo>
                    <a:pt x="288" y="682"/>
                  </a:lnTo>
                  <a:lnTo>
                    <a:pt x="289" y="681"/>
                  </a:lnTo>
                  <a:lnTo>
                    <a:pt x="290" y="675"/>
                  </a:lnTo>
                  <a:lnTo>
                    <a:pt x="291" y="672"/>
                  </a:lnTo>
                  <a:lnTo>
                    <a:pt x="290" y="671"/>
                  </a:lnTo>
                  <a:lnTo>
                    <a:pt x="290" y="670"/>
                  </a:lnTo>
                  <a:lnTo>
                    <a:pt x="290" y="668"/>
                  </a:lnTo>
                  <a:lnTo>
                    <a:pt x="290" y="666"/>
                  </a:lnTo>
                  <a:lnTo>
                    <a:pt x="290" y="665"/>
                  </a:lnTo>
                  <a:lnTo>
                    <a:pt x="292" y="664"/>
                  </a:lnTo>
                  <a:lnTo>
                    <a:pt x="291" y="664"/>
                  </a:lnTo>
                  <a:lnTo>
                    <a:pt x="291" y="662"/>
                  </a:lnTo>
                  <a:lnTo>
                    <a:pt x="291" y="660"/>
                  </a:lnTo>
                  <a:lnTo>
                    <a:pt x="294" y="659"/>
                  </a:lnTo>
                  <a:lnTo>
                    <a:pt x="292" y="657"/>
                  </a:lnTo>
                  <a:lnTo>
                    <a:pt x="294" y="656"/>
                  </a:lnTo>
                  <a:lnTo>
                    <a:pt x="296" y="655"/>
                  </a:lnTo>
                  <a:lnTo>
                    <a:pt x="295" y="652"/>
                  </a:lnTo>
                  <a:lnTo>
                    <a:pt x="295" y="651"/>
                  </a:lnTo>
                  <a:lnTo>
                    <a:pt x="295" y="650"/>
                  </a:lnTo>
                  <a:lnTo>
                    <a:pt x="296" y="649"/>
                  </a:lnTo>
                  <a:lnTo>
                    <a:pt x="299" y="648"/>
                  </a:lnTo>
                  <a:lnTo>
                    <a:pt x="300" y="648"/>
                  </a:lnTo>
                  <a:lnTo>
                    <a:pt x="302" y="647"/>
                  </a:lnTo>
                  <a:lnTo>
                    <a:pt x="302" y="646"/>
                  </a:lnTo>
                  <a:lnTo>
                    <a:pt x="300" y="644"/>
                  </a:lnTo>
                  <a:lnTo>
                    <a:pt x="298" y="644"/>
                  </a:lnTo>
                  <a:lnTo>
                    <a:pt x="297" y="642"/>
                  </a:lnTo>
                  <a:lnTo>
                    <a:pt x="298" y="640"/>
                  </a:lnTo>
                  <a:lnTo>
                    <a:pt x="298" y="639"/>
                  </a:lnTo>
                  <a:lnTo>
                    <a:pt x="297" y="638"/>
                  </a:lnTo>
                  <a:lnTo>
                    <a:pt x="295" y="638"/>
                  </a:lnTo>
                  <a:lnTo>
                    <a:pt x="294" y="638"/>
                  </a:lnTo>
                  <a:lnTo>
                    <a:pt x="291" y="639"/>
                  </a:lnTo>
                  <a:lnTo>
                    <a:pt x="290" y="640"/>
                  </a:lnTo>
                  <a:lnTo>
                    <a:pt x="288" y="640"/>
                  </a:lnTo>
                  <a:lnTo>
                    <a:pt x="286" y="641"/>
                  </a:lnTo>
                  <a:lnTo>
                    <a:pt x="283" y="642"/>
                  </a:lnTo>
                  <a:lnTo>
                    <a:pt x="282" y="643"/>
                  </a:lnTo>
                  <a:lnTo>
                    <a:pt x="281" y="646"/>
                  </a:lnTo>
                  <a:lnTo>
                    <a:pt x="279" y="646"/>
                  </a:lnTo>
                  <a:lnTo>
                    <a:pt x="278" y="646"/>
                  </a:lnTo>
                  <a:lnTo>
                    <a:pt x="276" y="643"/>
                  </a:lnTo>
                  <a:lnTo>
                    <a:pt x="275" y="642"/>
                  </a:lnTo>
                  <a:lnTo>
                    <a:pt x="274" y="641"/>
                  </a:lnTo>
                  <a:lnTo>
                    <a:pt x="273" y="641"/>
                  </a:lnTo>
                  <a:lnTo>
                    <a:pt x="272" y="641"/>
                  </a:lnTo>
                  <a:lnTo>
                    <a:pt x="272" y="643"/>
                  </a:lnTo>
                  <a:lnTo>
                    <a:pt x="270" y="646"/>
                  </a:lnTo>
                  <a:lnTo>
                    <a:pt x="267" y="647"/>
                  </a:lnTo>
                  <a:lnTo>
                    <a:pt x="264" y="648"/>
                  </a:lnTo>
                  <a:lnTo>
                    <a:pt x="263" y="647"/>
                  </a:lnTo>
                  <a:lnTo>
                    <a:pt x="260" y="644"/>
                  </a:lnTo>
                  <a:lnTo>
                    <a:pt x="258" y="644"/>
                  </a:lnTo>
                  <a:lnTo>
                    <a:pt x="256" y="646"/>
                  </a:lnTo>
                  <a:lnTo>
                    <a:pt x="255" y="644"/>
                  </a:lnTo>
                  <a:lnTo>
                    <a:pt x="255" y="643"/>
                  </a:lnTo>
                  <a:lnTo>
                    <a:pt x="256" y="642"/>
                  </a:lnTo>
                  <a:lnTo>
                    <a:pt x="257" y="641"/>
                  </a:lnTo>
                  <a:lnTo>
                    <a:pt x="258" y="639"/>
                  </a:lnTo>
                  <a:lnTo>
                    <a:pt x="258" y="638"/>
                  </a:lnTo>
                  <a:lnTo>
                    <a:pt x="256" y="636"/>
                  </a:lnTo>
                  <a:lnTo>
                    <a:pt x="255" y="635"/>
                  </a:lnTo>
                  <a:lnTo>
                    <a:pt x="256" y="633"/>
                  </a:lnTo>
                  <a:lnTo>
                    <a:pt x="257" y="633"/>
                  </a:lnTo>
                  <a:lnTo>
                    <a:pt x="259" y="632"/>
                  </a:lnTo>
                  <a:lnTo>
                    <a:pt x="260" y="632"/>
                  </a:lnTo>
                  <a:lnTo>
                    <a:pt x="264" y="631"/>
                  </a:lnTo>
                  <a:lnTo>
                    <a:pt x="265" y="628"/>
                  </a:lnTo>
                  <a:lnTo>
                    <a:pt x="266" y="626"/>
                  </a:lnTo>
                  <a:lnTo>
                    <a:pt x="267" y="625"/>
                  </a:lnTo>
                  <a:lnTo>
                    <a:pt x="267" y="624"/>
                  </a:lnTo>
                  <a:lnTo>
                    <a:pt x="267" y="622"/>
                  </a:lnTo>
                  <a:lnTo>
                    <a:pt x="265" y="620"/>
                  </a:lnTo>
                  <a:lnTo>
                    <a:pt x="264" y="622"/>
                  </a:lnTo>
                  <a:lnTo>
                    <a:pt x="262" y="622"/>
                  </a:lnTo>
                  <a:lnTo>
                    <a:pt x="260" y="624"/>
                  </a:lnTo>
                  <a:lnTo>
                    <a:pt x="258" y="625"/>
                  </a:lnTo>
                  <a:lnTo>
                    <a:pt x="257" y="626"/>
                  </a:lnTo>
                  <a:lnTo>
                    <a:pt x="254" y="627"/>
                  </a:lnTo>
                  <a:lnTo>
                    <a:pt x="252" y="628"/>
                  </a:lnTo>
                  <a:lnTo>
                    <a:pt x="249" y="630"/>
                  </a:lnTo>
                  <a:lnTo>
                    <a:pt x="248" y="632"/>
                  </a:lnTo>
                  <a:lnTo>
                    <a:pt x="246" y="634"/>
                  </a:lnTo>
                  <a:lnTo>
                    <a:pt x="243" y="636"/>
                  </a:lnTo>
                  <a:lnTo>
                    <a:pt x="241" y="639"/>
                  </a:lnTo>
                  <a:lnTo>
                    <a:pt x="240" y="640"/>
                  </a:lnTo>
                  <a:lnTo>
                    <a:pt x="238" y="643"/>
                  </a:lnTo>
                  <a:lnTo>
                    <a:pt x="235" y="646"/>
                  </a:lnTo>
                  <a:lnTo>
                    <a:pt x="234" y="648"/>
                  </a:lnTo>
                  <a:lnTo>
                    <a:pt x="232" y="649"/>
                  </a:lnTo>
                  <a:lnTo>
                    <a:pt x="230" y="651"/>
                  </a:lnTo>
                  <a:lnTo>
                    <a:pt x="230" y="654"/>
                  </a:lnTo>
                  <a:lnTo>
                    <a:pt x="231" y="656"/>
                  </a:lnTo>
                  <a:lnTo>
                    <a:pt x="230" y="659"/>
                  </a:lnTo>
                  <a:lnTo>
                    <a:pt x="228" y="662"/>
                  </a:lnTo>
                  <a:lnTo>
                    <a:pt x="227" y="663"/>
                  </a:lnTo>
                  <a:lnTo>
                    <a:pt x="225" y="664"/>
                  </a:lnTo>
                  <a:lnTo>
                    <a:pt x="223" y="665"/>
                  </a:lnTo>
                  <a:lnTo>
                    <a:pt x="223" y="668"/>
                  </a:lnTo>
                  <a:lnTo>
                    <a:pt x="224" y="671"/>
                  </a:lnTo>
                  <a:lnTo>
                    <a:pt x="225" y="674"/>
                  </a:lnTo>
                  <a:lnTo>
                    <a:pt x="226" y="676"/>
                  </a:lnTo>
                  <a:lnTo>
                    <a:pt x="227" y="679"/>
                  </a:lnTo>
                  <a:lnTo>
                    <a:pt x="228" y="680"/>
                  </a:lnTo>
                  <a:lnTo>
                    <a:pt x="231" y="681"/>
                  </a:lnTo>
                  <a:lnTo>
                    <a:pt x="232" y="680"/>
                  </a:lnTo>
                  <a:lnTo>
                    <a:pt x="234" y="680"/>
                  </a:lnTo>
                  <a:lnTo>
                    <a:pt x="234" y="682"/>
                  </a:lnTo>
                  <a:lnTo>
                    <a:pt x="234" y="683"/>
                  </a:lnTo>
                  <a:lnTo>
                    <a:pt x="232" y="683"/>
                  </a:lnTo>
                  <a:lnTo>
                    <a:pt x="230" y="683"/>
                  </a:lnTo>
                  <a:lnTo>
                    <a:pt x="230" y="684"/>
                  </a:lnTo>
                  <a:lnTo>
                    <a:pt x="228" y="687"/>
                  </a:lnTo>
                  <a:lnTo>
                    <a:pt x="228" y="689"/>
                  </a:lnTo>
                  <a:lnTo>
                    <a:pt x="230" y="690"/>
                  </a:lnTo>
                  <a:lnTo>
                    <a:pt x="231" y="691"/>
                  </a:lnTo>
                  <a:lnTo>
                    <a:pt x="234" y="692"/>
                  </a:lnTo>
                  <a:lnTo>
                    <a:pt x="236" y="692"/>
                  </a:lnTo>
                  <a:lnTo>
                    <a:pt x="238" y="692"/>
                  </a:lnTo>
                  <a:lnTo>
                    <a:pt x="239" y="694"/>
                  </a:lnTo>
                  <a:lnTo>
                    <a:pt x="241" y="695"/>
                  </a:lnTo>
                  <a:lnTo>
                    <a:pt x="240" y="696"/>
                  </a:lnTo>
                  <a:lnTo>
                    <a:pt x="239" y="696"/>
                  </a:lnTo>
                  <a:lnTo>
                    <a:pt x="238" y="696"/>
                  </a:lnTo>
                  <a:lnTo>
                    <a:pt x="236" y="695"/>
                  </a:lnTo>
                  <a:lnTo>
                    <a:pt x="235" y="695"/>
                  </a:lnTo>
                  <a:lnTo>
                    <a:pt x="234" y="696"/>
                  </a:lnTo>
                  <a:lnTo>
                    <a:pt x="235" y="697"/>
                  </a:lnTo>
                  <a:lnTo>
                    <a:pt x="236" y="698"/>
                  </a:lnTo>
                  <a:lnTo>
                    <a:pt x="239" y="700"/>
                  </a:lnTo>
                  <a:lnTo>
                    <a:pt x="240" y="702"/>
                  </a:lnTo>
                  <a:lnTo>
                    <a:pt x="242" y="703"/>
                  </a:lnTo>
                  <a:lnTo>
                    <a:pt x="244" y="705"/>
                  </a:lnTo>
                  <a:lnTo>
                    <a:pt x="248" y="708"/>
                  </a:lnTo>
                  <a:lnTo>
                    <a:pt x="249" y="711"/>
                  </a:lnTo>
                  <a:lnTo>
                    <a:pt x="251" y="713"/>
                  </a:lnTo>
                  <a:lnTo>
                    <a:pt x="256" y="718"/>
                  </a:lnTo>
                  <a:lnTo>
                    <a:pt x="258" y="720"/>
                  </a:lnTo>
                  <a:lnTo>
                    <a:pt x="259" y="722"/>
                  </a:lnTo>
                  <a:lnTo>
                    <a:pt x="260" y="723"/>
                  </a:lnTo>
                  <a:lnTo>
                    <a:pt x="262" y="726"/>
                  </a:lnTo>
                  <a:lnTo>
                    <a:pt x="264" y="727"/>
                  </a:lnTo>
                  <a:lnTo>
                    <a:pt x="268" y="730"/>
                  </a:lnTo>
                  <a:lnTo>
                    <a:pt x="278" y="739"/>
                  </a:lnTo>
                  <a:lnTo>
                    <a:pt x="283" y="746"/>
                  </a:lnTo>
                  <a:lnTo>
                    <a:pt x="289" y="753"/>
                  </a:lnTo>
                  <a:lnTo>
                    <a:pt x="291" y="755"/>
                  </a:lnTo>
                  <a:lnTo>
                    <a:pt x="295" y="758"/>
                  </a:lnTo>
                  <a:lnTo>
                    <a:pt x="298" y="760"/>
                  </a:lnTo>
                  <a:lnTo>
                    <a:pt x="299" y="762"/>
                  </a:lnTo>
                  <a:lnTo>
                    <a:pt x="302" y="764"/>
                  </a:lnTo>
                  <a:lnTo>
                    <a:pt x="304" y="767"/>
                  </a:lnTo>
                  <a:lnTo>
                    <a:pt x="306" y="769"/>
                  </a:lnTo>
                  <a:lnTo>
                    <a:pt x="308" y="770"/>
                  </a:lnTo>
                  <a:lnTo>
                    <a:pt x="310" y="772"/>
                  </a:lnTo>
                  <a:lnTo>
                    <a:pt x="312" y="775"/>
                  </a:lnTo>
                  <a:lnTo>
                    <a:pt x="314" y="776"/>
                  </a:lnTo>
                  <a:lnTo>
                    <a:pt x="318" y="778"/>
                  </a:lnTo>
                  <a:lnTo>
                    <a:pt x="318" y="779"/>
                  </a:lnTo>
                  <a:lnTo>
                    <a:pt x="320" y="780"/>
                  </a:lnTo>
                  <a:lnTo>
                    <a:pt x="322" y="783"/>
                  </a:lnTo>
                  <a:lnTo>
                    <a:pt x="323" y="784"/>
                  </a:lnTo>
                  <a:lnTo>
                    <a:pt x="326" y="786"/>
                  </a:lnTo>
                  <a:lnTo>
                    <a:pt x="327" y="787"/>
                  </a:lnTo>
                  <a:lnTo>
                    <a:pt x="328" y="788"/>
                  </a:lnTo>
                  <a:lnTo>
                    <a:pt x="330" y="790"/>
                  </a:lnTo>
                  <a:lnTo>
                    <a:pt x="331" y="790"/>
                  </a:lnTo>
                  <a:lnTo>
                    <a:pt x="334" y="792"/>
                  </a:lnTo>
                  <a:lnTo>
                    <a:pt x="335" y="794"/>
                  </a:lnTo>
                  <a:lnTo>
                    <a:pt x="337" y="795"/>
                  </a:lnTo>
                  <a:lnTo>
                    <a:pt x="338" y="796"/>
                  </a:lnTo>
                  <a:lnTo>
                    <a:pt x="340" y="798"/>
                  </a:lnTo>
                  <a:lnTo>
                    <a:pt x="342" y="799"/>
                  </a:lnTo>
                  <a:lnTo>
                    <a:pt x="343" y="799"/>
                  </a:lnTo>
                  <a:lnTo>
                    <a:pt x="345" y="800"/>
                  </a:lnTo>
                  <a:lnTo>
                    <a:pt x="346" y="800"/>
                  </a:lnTo>
                  <a:lnTo>
                    <a:pt x="348" y="800"/>
                  </a:lnTo>
                  <a:lnTo>
                    <a:pt x="350" y="799"/>
                  </a:lnTo>
                  <a:lnTo>
                    <a:pt x="350" y="798"/>
                  </a:lnTo>
                  <a:lnTo>
                    <a:pt x="350" y="796"/>
                  </a:lnTo>
                  <a:lnTo>
                    <a:pt x="351" y="795"/>
                  </a:lnTo>
                  <a:lnTo>
                    <a:pt x="352" y="794"/>
                  </a:lnTo>
                  <a:lnTo>
                    <a:pt x="352" y="793"/>
                  </a:lnTo>
                  <a:lnTo>
                    <a:pt x="352" y="791"/>
                  </a:lnTo>
                  <a:lnTo>
                    <a:pt x="352" y="790"/>
                  </a:lnTo>
                  <a:lnTo>
                    <a:pt x="353" y="788"/>
                  </a:lnTo>
                  <a:lnTo>
                    <a:pt x="354" y="788"/>
                  </a:lnTo>
                  <a:lnTo>
                    <a:pt x="355" y="787"/>
                  </a:lnTo>
                  <a:lnTo>
                    <a:pt x="355" y="785"/>
                  </a:lnTo>
                  <a:lnTo>
                    <a:pt x="355" y="784"/>
                  </a:lnTo>
                  <a:lnTo>
                    <a:pt x="358" y="783"/>
                  </a:lnTo>
                  <a:lnTo>
                    <a:pt x="359" y="782"/>
                  </a:lnTo>
                  <a:lnTo>
                    <a:pt x="360" y="780"/>
                  </a:lnTo>
                  <a:lnTo>
                    <a:pt x="361" y="779"/>
                  </a:lnTo>
                  <a:lnTo>
                    <a:pt x="363" y="779"/>
                  </a:lnTo>
                  <a:lnTo>
                    <a:pt x="364" y="779"/>
                  </a:lnTo>
                  <a:lnTo>
                    <a:pt x="364" y="780"/>
                  </a:lnTo>
                  <a:lnTo>
                    <a:pt x="362" y="782"/>
                  </a:lnTo>
                  <a:lnTo>
                    <a:pt x="362" y="783"/>
                  </a:lnTo>
                  <a:lnTo>
                    <a:pt x="361" y="783"/>
                  </a:lnTo>
                  <a:lnTo>
                    <a:pt x="360" y="784"/>
                  </a:lnTo>
                  <a:lnTo>
                    <a:pt x="360" y="785"/>
                  </a:lnTo>
                  <a:lnTo>
                    <a:pt x="360" y="786"/>
                  </a:lnTo>
                  <a:lnTo>
                    <a:pt x="359" y="786"/>
                  </a:lnTo>
                  <a:lnTo>
                    <a:pt x="358" y="787"/>
                  </a:lnTo>
                  <a:lnTo>
                    <a:pt x="356" y="788"/>
                  </a:lnTo>
                  <a:lnTo>
                    <a:pt x="355" y="790"/>
                  </a:lnTo>
                  <a:lnTo>
                    <a:pt x="354" y="790"/>
                  </a:lnTo>
                  <a:lnTo>
                    <a:pt x="353" y="791"/>
                  </a:lnTo>
                  <a:lnTo>
                    <a:pt x="354" y="793"/>
                  </a:lnTo>
                  <a:lnTo>
                    <a:pt x="354" y="794"/>
                  </a:lnTo>
                  <a:lnTo>
                    <a:pt x="353" y="795"/>
                  </a:lnTo>
                  <a:lnTo>
                    <a:pt x="352" y="798"/>
                  </a:lnTo>
                  <a:lnTo>
                    <a:pt x="351" y="799"/>
                  </a:lnTo>
                  <a:lnTo>
                    <a:pt x="351" y="800"/>
                  </a:lnTo>
                  <a:lnTo>
                    <a:pt x="350" y="801"/>
                  </a:lnTo>
                  <a:lnTo>
                    <a:pt x="348" y="802"/>
                  </a:lnTo>
                  <a:lnTo>
                    <a:pt x="348" y="803"/>
                  </a:lnTo>
                  <a:lnTo>
                    <a:pt x="350" y="804"/>
                  </a:lnTo>
                  <a:lnTo>
                    <a:pt x="351" y="806"/>
                  </a:lnTo>
                  <a:lnTo>
                    <a:pt x="352" y="807"/>
                  </a:lnTo>
                  <a:lnTo>
                    <a:pt x="352" y="808"/>
                  </a:lnTo>
                  <a:lnTo>
                    <a:pt x="354" y="810"/>
                  </a:lnTo>
                  <a:lnTo>
                    <a:pt x="356" y="811"/>
                  </a:lnTo>
                  <a:lnTo>
                    <a:pt x="359" y="814"/>
                  </a:lnTo>
                  <a:lnTo>
                    <a:pt x="360" y="815"/>
                  </a:lnTo>
                  <a:lnTo>
                    <a:pt x="361" y="815"/>
                  </a:lnTo>
                  <a:lnTo>
                    <a:pt x="362" y="816"/>
                  </a:lnTo>
                  <a:lnTo>
                    <a:pt x="364" y="817"/>
                  </a:lnTo>
                  <a:lnTo>
                    <a:pt x="366" y="818"/>
                  </a:lnTo>
                  <a:lnTo>
                    <a:pt x="369" y="820"/>
                  </a:lnTo>
                  <a:lnTo>
                    <a:pt x="371" y="822"/>
                  </a:lnTo>
                  <a:lnTo>
                    <a:pt x="372" y="824"/>
                  </a:lnTo>
                  <a:lnTo>
                    <a:pt x="374" y="825"/>
                  </a:lnTo>
                  <a:lnTo>
                    <a:pt x="377" y="827"/>
                  </a:lnTo>
                  <a:lnTo>
                    <a:pt x="379" y="830"/>
                  </a:lnTo>
                  <a:lnTo>
                    <a:pt x="383" y="832"/>
                  </a:lnTo>
                  <a:lnTo>
                    <a:pt x="385" y="835"/>
                  </a:lnTo>
                  <a:lnTo>
                    <a:pt x="388" y="838"/>
                  </a:lnTo>
                  <a:lnTo>
                    <a:pt x="390" y="840"/>
                  </a:lnTo>
                  <a:lnTo>
                    <a:pt x="392" y="841"/>
                  </a:lnTo>
                  <a:lnTo>
                    <a:pt x="394" y="843"/>
                  </a:lnTo>
                  <a:lnTo>
                    <a:pt x="400" y="848"/>
                  </a:lnTo>
                  <a:lnTo>
                    <a:pt x="402" y="849"/>
                  </a:lnTo>
                  <a:lnTo>
                    <a:pt x="404" y="851"/>
                  </a:lnTo>
                  <a:lnTo>
                    <a:pt x="408" y="852"/>
                  </a:lnTo>
                  <a:lnTo>
                    <a:pt x="410" y="852"/>
                  </a:lnTo>
                  <a:lnTo>
                    <a:pt x="414" y="854"/>
                  </a:lnTo>
                  <a:lnTo>
                    <a:pt x="415" y="856"/>
                  </a:lnTo>
                  <a:lnTo>
                    <a:pt x="422" y="864"/>
                  </a:lnTo>
                  <a:lnTo>
                    <a:pt x="426" y="867"/>
                  </a:lnTo>
                  <a:lnTo>
                    <a:pt x="428" y="871"/>
                  </a:lnTo>
                  <a:lnTo>
                    <a:pt x="432" y="873"/>
                  </a:lnTo>
                  <a:lnTo>
                    <a:pt x="434" y="875"/>
                  </a:lnTo>
                  <a:lnTo>
                    <a:pt x="436" y="878"/>
                  </a:lnTo>
                  <a:lnTo>
                    <a:pt x="439" y="879"/>
                  </a:lnTo>
                  <a:lnTo>
                    <a:pt x="441" y="880"/>
                  </a:lnTo>
                  <a:lnTo>
                    <a:pt x="442" y="880"/>
                  </a:lnTo>
                  <a:lnTo>
                    <a:pt x="444" y="881"/>
                  </a:lnTo>
                  <a:lnTo>
                    <a:pt x="444" y="882"/>
                  </a:lnTo>
                  <a:lnTo>
                    <a:pt x="446" y="884"/>
                  </a:lnTo>
                  <a:lnTo>
                    <a:pt x="447" y="887"/>
                  </a:lnTo>
                  <a:lnTo>
                    <a:pt x="449" y="889"/>
                  </a:lnTo>
                  <a:lnTo>
                    <a:pt x="450" y="889"/>
                  </a:lnTo>
                  <a:lnTo>
                    <a:pt x="451" y="891"/>
                  </a:lnTo>
                  <a:lnTo>
                    <a:pt x="452" y="895"/>
                  </a:lnTo>
                  <a:lnTo>
                    <a:pt x="454" y="896"/>
                  </a:lnTo>
                  <a:lnTo>
                    <a:pt x="456" y="897"/>
                  </a:lnTo>
                  <a:lnTo>
                    <a:pt x="458" y="897"/>
                  </a:lnTo>
                  <a:lnTo>
                    <a:pt x="458" y="898"/>
                  </a:lnTo>
                  <a:lnTo>
                    <a:pt x="460" y="900"/>
                  </a:lnTo>
                  <a:lnTo>
                    <a:pt x="463" y="900"/>
                  </a:lnTo>
                  <a:lnTo>
                    <a:pt x="464" y="900"/>
                  </a:lnTo>
                  <a:lnTo>
                    <a:pt x="465" y="902"/>
                  </a:lnTo>
                  <a:lnTo>
                    <a:pt x="466" y="902"/>
                  </a:lnTo>
                  <a:lnTo>
                    <a:pt x="468" y="903"/>
                  </a:lnTo>
                  <a:lnTo>
                    <a:pt x="467" y="904"/>
                  </a:lnTo>
                  <a:lnTo>
                    <a:pt x="465" y="904"/>
                  </a:lnTo>
                  <a:lnTo>
                    <a:pt x="466" y="907"/>
                  </a:lnTo>
                  <a:lnTo>
                    <a:pt x="467" y="908"/>
                  </a:lnTo>
                  <a:lnTo>
                    <a:pt x="468" y="908"/>
                  </a:lnTo>
                  <a:lnTo>
                    <a:pt x="470" y="911"/>
                  </a:lnTo>
                  <a:lnTo>
                    <a:pt x="471" y="911"/>
                  </a:lnTo>
                  <a:lnTo>
                    <a:pt x="472" y="913"/>
                  </a:lnTo>
                  <a:lnTo>
                    <a:pt x="474" y="914"/>
                  </a:lnTo>
                  <a:lnTo>
                    <a:pt x="478" y="919"/>
                  </a:lnTo>
                  <a:lnTo>
                    <a:pt x="479" y="919"/>
                  </a:lnTo>
                  <a:lnTo>
                    <a:pt x="479" y="921"/>
                  </a:lnTo>
                  <a:lnTo>
                    <a:pt x="480" y="922"/>
                  </a:lnTo>
                  <a:lnTo>
                    <a:pt x="481" y="923"/>
                  </a:lnTo>
                  <a:lnTo>
                    <a:pt x="482" y="926"/>
                  </a:lnTo>
                  <a:lnTo>
                    <a:pt x="484" y="927"/>
                  </a:lnTo>
                  <a:lnTo>
                    <a:pt x="487" y="928"/>
                  </a:lnTo>
                  <a:lnTo>
                    <a:pt x="488" y="930"/>
                  </a:lnTo>
                  <a:lnTo>
                    <a:pt x="488" y="931"/>
                  </a:lnTo>
                  <a:lnTo>
                    <a:pt x="491" y="936"/>
                  </a:lnTo>
                  <a:lnTo>
                    <a:pt x="499" y="945"/>
                  </a:lnTo>
                  <a:lnTo>
                    <a:pt x="508" y="955"/>
                  </a:lnTo>
                  <a:lnTo>
                    <a:pt x="513" y="960"/>
                  </a:lnTo>
                  <a:lnTo>
                    <a:pt x="521" y="969"/>
                  </a:lnTo>
                  <a:lnTo>
                    <a:pt x="526" y="972"/>
                  </a:lnTo>
                  <a:lnTo>
                    <a:pt x="528" y="975"/>
                  </a:lnTo>
                  <a:lnTo>
                    <a:pt x="529" y="978"/>
                  </a:lnTo>
                  <a:lnTo>
                    <a:pt x="530" y="979"/>
                  </a:lnTo>
                  <a:lnTo>
                    <a:pt x="534" y="982"/>
                  </a:lnTo>
                  <a:lnTo>
                    <a:pt x="537" y="984"/>
                  </a:lnTo>
                  <a:lnTo>
                    <a:pt x="538" y="985"/>
                  </a:lnTo>
                  <a:lnTo>
                    <a:pt x="540" y="987"/>
                  </a:lnTo>
                  <a:lnTo>
                    <a:pt x="542" y="990"/>
                  </a:lnTo>
                  <a:lnTo>
                    <a:pt x="545" y="992"/>
                  </a:lnTo>
                  <a:lnTo>
                    <a:pt x="546" y="994"/>
                  </a:lnTo>
                  <a:lnTo>
                    <a:pt x="548" y="996"/>
                  </a:lnTo>
                  <a:lnTo>
                    <a:pt x="551" y="998"/>
                  </a:lnTo>
                  <a:lnTo>
                    <a:pt x="555" y="1002"/>
                  </a:lnTo>
                  <a:lnTo>
                    <a:pt x="558" y="1004"/>
                  </a:lnTo>
                  <a:lnTo>
                    <a:pt x="563" y="1010"/>
                  </a:lnTo>
                  <a:lnTo>
                    <a:pt x="566" y="1011"/>
                  </a:lnTo>
                  <a:lnTo>
                    <a:pt x="569" y="1015"/>
                  </a:lnTo>
                  <a:lnTo>
                    <a:pt x="574" y="1018"/>
                  </a:lnTo>
                  <a:lnTo>
                    <a:pt x="577" y="1022"/>
                  </a:lnTo>
                  <a:lnTo>
                    <a:pt x="583" y="1025"/>
                  </a:lnTo>
                  <a:lnTo>
                    <a:pt x="586" y="1026"/>
                  </a:lnTo>
                  <a:lnTo>
                    <a:pt x="590" y="1028"/>
                  </a:lnTo>
                  <a:lnTo>
                    <a:pt x="593" y="1031"/>
                  </a:lnTo>
                  <a:lnTo>
                    <a:pt x="596" y="1033"/>
                  </a:lnTo>
                  <a:lnTo>
                    <a:pt x="599" y="1034"/>
                  </a:lnTo>
                  <a:lnTo>
                    <a:pt x="602" y="1038"/>
                  </a:lnTo>
                  <a:lnTo>
                    <a:pt x="604" y="1040"/>
                  </a:lnTo>
                  <a:lnTo>
                    <a:pt x="608" y="1043"/>
                  </a:lnTo>
                  <a:lnTo>
                    <a:pt x="611" y="1046"/>
                  </a:lnTo>
                  <a:lnTo>
                    <a:pt x="615" y="1048"/>
                  </a:lnTo>
                  <a:lnTo>
                    <a:pt x="617" y="1050"/>
                  </a:lnTo>
                  <a:lnTo>
                    <a:pt x="619" y="1054"/>
                  </a:lnTo>
                  <a:lnTo>
                    <a:pt x="622" y="1055"/>
                  </a:lnTo>
                  <a:lnTo>
                    <a:pt x="625" y="1058"/>
                  </a:lnTo>
                  <a:lnTo>
                    <a:pt x="627" y="1058"/>
                  </a:lnTo>
                  <a:lnTo>
                    <a:pt x="630" y="1059"/>
                  </a:lnTo>
                  <a:lnTo>
                    <a:pt x="632" y="1058"/>
                  </a:lnTo>
                  <a:lnTo>
                    <a:pt x="633" y="1057"/>
                  </a:lnTo>
                  <a:lnTo>
                    <a:pt x="635" y="1058"/>
                  </a:lnTo>
                  <a:lnTo>
                    <a:pt x="639" y="1060"/>
                  </a:lnTo>
                  <a:lnTo>
                    <a:pt x="640" y="1062"/>
                  </a:lnTo>
                  <a:lnTo>
                    <a:pt x="641" y="1066"/>
                  </a:lnTo>
                  <a:lnTo>
                    <a:pt x="644" y="1066"/>
                  </a:lnTo>
                  <a:lnTo>
                    <a:pt x="646" y="1068"/>
                  </a:lnTo>
                  <a:lnTo>
                    <a:pt x="647" y="1070"/>
                  </a:lnTo>
                  <a:lnTo>
                    <a:pt x="650" y="1073"/>
                  </a:lnTo>
                  <a:lnTo>
                    <a:pt x="652" y="1073"/>
                  </a:lnTo>
                  <a:lnTo>
                    <a:pt x="656" y="1075"/>
                  </a:lnTo>
                  <a:lnTo>
                    <a:pt x="658" y="1076"/>
                  </a:lnTo>
                  <a:lnTo>
                    <a:pt x="660" y="1076"/>
                  </a:lnTo>
                  <a:lnTo>
                    <a:pt x="664" y="1079"/>
                  </a:lnTo>
                  <a:lnTo>
                    <a:pt x="667" y="1081"/>
                  </a:lnTo>
                  <a:lnTo>
                    <a:pt x="670" y="1082"/>
                  </a:lnTo>
                  <a:lnTo>
                    <a:pt x="673" y="1083"/>
                  </a:lnTo>
                  <a:lnTo>
                    <a:pt x="675" y="1084"/>
                  </a:lnTo>
                  <a:lnTo>
                    <a:pt x="678" y="1084"/>
                  </a:lnTo>
                  <a:lnTo>
                    <a:pt x="681" y="1083"/>
                  </a:lnTo>
                  <a:lnTo>
                    <a:pt x="683" y="1082"/>
                  </a:lnTo>
                  <a:lnTo>
                    <a:pt x="684" y="1082"/>
                  </a:lnTo>
                  <a:lnTo>
                    <a:pt x="688" y="1082"/>
                  </a:lnTo>
                  <a:lnTo>
                    <a:pt x="690" y="1082"/>
                  </a:lnTo>
                  <a:lnTo>
                    <a:pt x="692" y="1083"/>
                  </a:lnTo>
                  <a:lnTo>
                    <a:pt x="691" y="1084"/>
                  </a:lnTo>
                  <a:lnTo>
                    <a:pt x="689" y="1086"/>
                  </a:lnTo>
                  <a:lnTo>
                    <a:pt x="687" y="1086"/>
                  </a:lnTo>
                  <a:lnTo>
                    <a:pt x="684" y="1086"/>
                  </a:lnTo>
                  <a:lnTo>
                    <a:pt x="682" y="1087"/>
                  </a:lnTo>
                  <a:lnTo>
                    <a:pt x="682" y="1088"/>
                  </a:lnTo>
                  <a:lnTo>
                    <a:pt x="686" y="1089"/>
                  </a:lnTo>
                  <a:lnTo>
                    <a:pt x="688" y="1089"/>
                  </a:lnTo>
                  <a:lnTo>
                    <a:pt x="690" y="1089"/>
                  </a:lnTo>
                  <a:lnTo>
                    <a:pt x="692" y="1090"/>
                  </a:lnTo>
                  <a:lnTo>
                    <a:pt x="695" y="1092"/>
                  </a:lnTo>
                  <a:lnTo>
                    <a:pt x="698" y="1094"/>
                  </a:lnTo>
                  <a:lnTo>
                    <a:pt x="700" y="1094"/>
                  </a:lnTo>
                  <a:lnTo>
                    <a:pt x="703" y="1095"/>
                  </a:lnTo>
                  <a:lnTo>
                    <a:pt x="705" y="1095"/>
                  </a:lnTo>
                  <a:lnTo>
                    <a:pt x="707" y="1095"/>
                  </a:lnTo>
                  <a:lnTo>
                    <a:pt x="710" y="1094"/>
                  </a:lnTo>
                  <a:lnTo>
                    <a:pt x="711" y="1094"/>
                  </a:lnTo>
                  <a:lnTo>
                    <a:pt x="711" y="1095"/>
                  </a:lnTo>
                  <a:lnTo>
                    <a:pt x="712" y="1097"/>
                  </a:lnTo>
                  <a:lnTo>
                    <a:pt x="715" y="1098"/>
                  </a:lnTo>
                  <a:lnTo>
                    <a:pt x="719" y="1098"/>
                  </a:lnTo>
                  <a:lnTo>
                    <a:pt x="721" y="1099"/>
                  </a:lnTo>
                  <a:lnTo>
                    <a:pt x="723" y="1102"/>
                  </a:lnTo>
                  <a:lnTo>
                    <a:pt x="726" y="1103"/>
                  </a:lnTo>
                  <a:lnTo>
                    <a:pt x="729" y="1104"/>
                  </a:lnTo>
                  <a:lnTo>
                    <a:pt x="734" y="1106"/>
                  </a:lnTo>
                  <a:lnTo>
                    <a:pt x="735" y="1107"/>
                  </a:lnTo>
                  <a:lnTo>
                    <a:pt x="739" y="1108"/>
                  </a:lnTo>
                  <a:lnTo>
                    <a:pt x="744" y="1111"/>
                  </a:lnTo>
                  <a:lnTo>
                    <a:pt x="748" y="1112"/>
                  </a:lnTo>
                  <a:lnTo>
                    <a:pt x="751" y="1113"/>
                  </a:lnTo>
                  <a:lnTo>
                    <a:pt x="754" y="1113"/>
                  </a:lnTo>
                  <a:lnTo>
                    <a:pt x="756" y="1114"/>
                  </a:lnTo>
                  <a:lnTo>
                    <a:pt x="759" y="1116"/>
                  </a:lnTo>
                  <a:lnTo>
                    <a:pt x="761" y="1115"/>
                  </a:lnTo>
                  <a:lnTo>
                    <a:pt x="762" y="1113"/>
                  </a:lnTo>
                  <a:lnTo>
                    <a:pt x="761" y="1112"/>
                  </a:lnTo>
                  <a:lnTo>
                    <a:pt x="758" y="1110"/>
                  </a:lnTo>
                  <a:lnTo>
                    <a:pt x="755" y="1108"/>
                  </a:lnTo>
                  <a:lnTo>
                    <a:pt x="752" y="1106"/>
                  </a:lnTo>
                  <a:lnTo>
                    <a:pt x="753" y="1105"/>
                  </a:lnTo>
                  <a:lnTo>
                    <a:pt x="754" y="1105"/>
                  </a:lnTo>
                  <a:lnTo>
                    <a:pt x="755" y="1106"/>
                  </a:lnTo>
                  <a:lnTo>
                    <a:pt x="759" y="1108"/>
                  </a:lnTo>
                  <a:lnTo>
                    <a:pt x="760" y="1111"/>
                  </a:lnTo>
                  <a:lnTo>
                    <a:pt x="763" y="1112"/>
                  </a:lnTo>
                  <a:lnTo>
                    <a:pt x="766" y="1112"/>
                  </a:lnTo>
                  <a:lnTo>
                    <a:pt x="768" y="1112"/>
                  </a:lnTo>
                  <a:lnTo>
                    <a:pt x="770" y="1112"/>
                  </a:lnTo>
                  <a:lnTo>
                    <a:pt x="772" y="1111"/>
                  </a:lnTo>
                  <a:lnTo>
                    <a:pt x="776" y="1108"/>
                  </a:lnTo>
                  <a:lnTo>
                    <a:pt x="774" y="1106"/>
                  </a:lnTo>
                  <a:lnTo>
                    <a:pt x="771" y="1105"/>
                  </a:lnTo>
                  <a:lnTo>
                    <a:pt x="770" y="1106"/>
                  </a:lnTo>
                  <a:lnTo>
                    <a:pt x="768" y="1106"/>
                  </a:lnTo>
                  <a:lnTo>
                    <a:pt x="767" y="1104"/>
                  </a:lnTo>
                  <a:lnTo>
                    <a:pt x="764" y="1103"/>
                  </a:lnTo>
                  <a:lnTo>
                    <a:pt x="762" y="1103"/>
                  </a:lnTo>
                  <a:lnTo>
                    <a:pt x="761" y="1103"/>
                  </a:lnTo>
                  <a:lnTo>
                    <a:pt x="760" y="1100"/>
                  </a:lnTo>
                  <a:lnTo>
                    <a:pt x="762" y="1100"/>
                  </a:lnTo>
                  <a:lnTo>
                    <a:pt x="763" y="1098"/>
                  </a:lnTo>
                  <a:lnTo>
                    <a:pt x="763" y="1097"/>
                  </a:lnTo>
                  <a:lnTo>
                    <a:pt x="762" y="1095"/>
                  </a:lnTo>
                  <a:lnTo>
                    <a:pt x="762" y="1094"/>
                  </a:lnTo>
                  <a:lnTo>
                    <a:pt x="766" y="1092"/>
                  </a:lnTo>
                  <a:lnTo>
                    <a:pt x="768" y="1092"/>
                  </a:lnTo>
                  <a:lnTo>
                    <a:pt x="769" y="1094"/>
                  </a:lnTo>
                  <a:lnTo>
                    <a:pt x="770" y="1097"/>
                  </a:lnTo>
                  <a:lnTo>
                    <a:pt x="770" y="1098"/>
                  </a:lnTo>
                  <a:lnTo>
                    <a:pt x="771" y="1099"/>
                  </a:lnTo>
                  <a:lnTo>
                    <a:pt x="772" y="1099"/>
                  </a:lnTo>
                  <a:lnTo>
                    <a:pt x="774" y="1100"/>
                  </a:lnTo>
                  <a:lnTo>
                    <a:pt x="775" y="1100"/>
                  </a:lnTo>
                  <a:lnTo>
                    <a:pt x="777" y="1100"/>
                  </a:lnTo>
                  <a:lnTo>
                    <a:pt x="778" y="1100"/>
                  </a:lnTo>
                  <a:lnTo>
                    <a:pt x="779" y="1100"/>
                  </a:lnTo>
                  <a:lnTo>
                    <a:pt x="780" y="1100"/>
                  </a:lnTo>
                  <a:lnTo>
                    <a:pt x="783" y="1100"/>
                  </a:lnTo>
                  <a:lnTo>
                    <a:pt x="784" y="1100"/>
                  </a:lnTo>
                  <a:lnTo>
                    <a:pt x="785" y="1100"/>
                  </a:lnTo>
                  <a:lnTo>
                    <a:pt x="786" y="1100"/>
                  </a:lnTo>
                  <a:lnTo>
                    <a:pt x="787" y="1100"/>
                  </a:lnTo>
                  <a:lnTo>
                    <a:pt x="788" y="1100"/>
                  </a:lnTo>
                  <a:lnTo>
                    <a:pt x="791" y="1100"/>
                  </a:lnTo>
                  <a:lnTo>
                    <a:pt x="792" y="1100"/>
                  </a:lnTo>
                  <a:lnTo>
                    <a:pt x="793" y="1099"/>
                  </a:lnTo>
                  <a:lnTo>
                    <a:pt x="794" y="1100"/>
                  </a:lnTo>
                  <a:lnTo>
                    <a:pt x="796" y="1100"/>
                  </a:lnTo>
                  <a:lnTo>
                    <a:pt x="798" y="1100"/>
                  </a:lnTo>
                  <a:lnTo>
                    <a:pt x="798" y="1102"/>
                  </a:lnTo>
                  <a:lnTo>
                    <a:pt x="800" y="1100"/>
                  </a:lnTo>
                  <a:lnTo>
                    <a:pt x="801" y="1100"/>
                  </a:lnTo>
                  <a:lnTo>
                    <a:pt x="802" y="1100"/>
                  </a:lnTo>
                  <a:lnTo>
                    <a:pt x="802" y="1102"/>
                  </a:lnTo>
                  <a:lnTo>
                    <a:pt x="803" y="1102"/>
                  </a:lnTo>
                  <a:lnTo>
                    <a:pt x="804" y="1102"/>
                  </a:lnTo>
                  <a:lnTo>
                    <a:pt x="804" y="1103"/>
                  </a:lnTo>
                  <a:lnTo>
                    <a:pt x="806" y="1104"/>
                  </a:lnTo>
                  <a:lnTo>
                    <a:pt x="807" y="1105"/>
                  </a:lnTo>
                  <a:lnTo>
                    <a:pt x="809" y="1104"/>
                  </a:lnTo>
                  <a:lnTo>
                    <a:pt x="810" y="1104"/>
                  </a:lnTo>
                  <a:lnTo>
                    <a:pt x="811" y="1104"/>
                  </a:lnTo>
                  <a:lnTo>
                    <a:pt x="812" y="1103"/>
                  </a:lnTo>
                  <a:lnTo>
                    <a:pt x="815" y="1103"/>
                  </a:lnTo>
                  <a:lnTo>
                    <a:pt x="816" y="1103"/>
                  </a:lnTo>
                  <a:lnTo>
                    <a:pt x="818" y="1100"/>
                  </a:lnTo>
                  <a:lnTo>
                    <a:pt x="819" y="1100"/>
                  </a:lnTo>
                  <a:lnTo>
                    <a:pt x="823" y="1102"/>
                  </a:lnTo>
                  <a:lnTo>
                    <a:pt x="824" y="1103"/>
                  </a:lnTo>
                  <a:lnTo>
                    <a:pt x="825" y="1103"/>
                  </a:lnTo>
                  <a:lnTo>
                    <a:pt x="826" y="1104"/>
                  </a:lnTo>
                  <a:lnTo>
                    <a:pt x="828" y="1103"/>
                  </a:lnTo>
                  <a:lnTo>
                    <a:pt x="831" y="1099"/>
                  </a:lnTo>
                  <a:lnTo>
                    <a:pt x="832" y="1098"/>
                  </a:lnTo>
                  <a:lnTo>
                    <a:pt x="834" y="1098"/>
                  </a:lnTo>
                  <a:lnTo>
                    <a:pt x="835" y="1098"/>
                  </a:lnTo>
                  <a:lnTo>
                    <a:pt x="834" y="1097"/>
                  </a:lnTo>
                  <a:lnTo>
                    <a:pt x="832" y="1097"/>
                  </a:lnTo>
                  <a:lnTo>
                    <a:pt x="832" y="1096"/>
                  </a:lnTo>
                  <a:lnTo>
                    <a:pt x="833" y="1095"/>
                  </a:lnTo>
                  <a:lnTo>
                    <a:pt x="835" y="1095"/>
                  </a:lnTo>
                  <a:lnTo>
                    <a:pt x="835" y="1094"/>
                  </a:lnTo>
                  <a:lnTo>
                    <a:pt x="834" y="1091"/>
                  </a:lnTo>
                  <a:lnTo>
                    <a:pt x="834" y="1090"/>
                  </a:lnTo>
                  <a:lnTo>
                    <a:pt x="835" y="1088"/>
                  </a:lnTo>
                  <a:lnTo>
                    <a:pt x="838" y="1088"/>
                  </a:lnTo>
                  <a:lnTo>
                    <a:pt x="839" y="1089"/>
                  </a:lnTo>
                  <a:lnTo>
                    <a:pt x="838" y="1091"/>
                  </a:lnTo>
                  <a:lnTo>
                    <a:pt x="838" y="1094"/>
                  </a:lnTo>
                  <a:lnTo>
                    <a:pt x="839" y="1096"/>
                  </a:lnTo>
                  <a:lnTo>
                    <a:pt x="839" y="1097"/>
                  </a:lnTo>
                  <a:lnTo>
                    <a:pt x="839" y="1098"/>
                  </a:lnTo>
                  <a:lnTo>
                    <a:pt x="841" y="1097"/>
                  </a:lnTo>
                  <a:lnTo>
                    <a:pt x="841" y="1096"/>
                  </a:lnTo>
                  <a:lnTo>
                    <a:pt x="842" y="1096"/>
                  </a:lnTo>
                  <a:lnTo>
                    <a:pt x="843" y="1095"/>
                  </a:lnTo>
                  <a:lnTo>
                    <a:pt x="846" y="1094"/>
                  </a:lnTo>
                  <a:lnTo>
                    <a:pt x="847" y="1094"/>
                  </a:lnTo>
                  <a:lnTo>
                    <a:pt x="849" y="1094"/>
                  </a:lnTo>
                  <a:lnTo>
                    <a:pt x="850" y="1094"/>
                  </a:lnTo>
                  <a:lnTo>
                    <a:pt x="850" y="1092"/>
                  </a:lnTo>
                  <a:lnTo>
                    <a:pt x="851" y="1091"/>
                  </a:lnTo>
                  <a:lnTo>
                    <a:pt x="850" y="1090"/>
                  </a:lnTo>
                  <a:lnTo>
                    <a:pt x="849" y="1090"/>
                  </a:lnTo>
                  <a:lnTo>
                    <a:pt x="848" y="1090"/>
                  </a:lnTo>
                  <a:lnTo>
                    <a:pt x="847" y="1090"/>
                  </a:lnTo>
                  <a:lnTo>
                    <a:pt x="846" y="1090"/>
                  </a:lnTo>
                  <a:lnTo>
                    <a:pt x="846" y="1089"/>
                  </a:lnTo>
                  <a:lnTo>
                    <a:pt x="847" y="1089"/>
                  </a:lnTo>
                  <a:lnTo>
                    <a:pt x="847" y="1088"/>
                  </a:lnTo>
                  <a:lnTo>
                    <a:pt x="848" y="1088"/>
                  </a:lnTo>
                  <a:lnTo>
                    <a:pt x="849" y="1088"/>
                  </a:lnTo>
                  <a:lnTo>
                    <a:pt x="850" y="1088"/>
                  </a:lnTo>
                  <a:lnTo>
                    <a:pt x="851" y="1089"/>
                  </a:lnTo>
                  <a:lnTo>
                    <a:pt x="851" y="1090"/>
                  </a:lnTo>
                  <a:lnTo>
                    <a:pt x="852" y="1091"/>
                  </a:lnTo>
                  <a:lnTo>
                    <a:pt x="854" y="1091"/>
                  </a:lnTo>
                  <a:lnTo>
                    <a:pt x="856" y="1089"/>
                  </a:lnTo>
                  <a:lnTo>
                    <a:pt x="857" y="1088"/>
                  </a:lnTo>
                  <a:lnTo>
                    <a:pt x="859" y="1088"/>
                  </a:lnTo>
                  <a:lnTo>
                    <a:pt x="862" y="1088"/>
                  </a:lnTo>
                  <a:lnTo>
                    <a:pt x="863" y="1088"/>
                  </a:lnTo>
                  <a:lnTo>
                    <a:pt x="865" y="1087"/>
                  </a:lnTo>
                  <a:lnTo>
                    <a:pt x="866" y="1086"/>
                  </a:lnTo>
                  <a:lnTo>
                    <a:pt x="867" y="1084"/>
                  </a:lnTo>
                  <a:lnTo>
                    <a:pt x="866" y="1083"/>
                  </a:lnTo>
                  <a:lnTo>
                    <a:pt x="864" y="1082"/>
                  </a:lnTo>
                  <a:lnTo>
                    <a:pt x="863" y="1082"/>
                  </a:lnTo>
                  <a:lnTo>
                    <a:pt x="862" y="1083"/>
                  </a:lnTo>
                  <a:lnTo>
                    <a:pt x="859" y="1084"/>
                  </a:lnTo>
                  <a:lnTo>
                    <a:pt x="858" y="1084"/>
                  </a:lnTo>
                  <a:lnTo>
                    <a:pt x="859" y="1083"/>
                  </a:lnTo>
                  <a:lnTo>
                    <a:pt x="860" y="1082"/>
                  </a:lnTo>
                  <a:lnTo>
                    <a:pt x="862" y="1081"/>
                  </a:lnTo>
                  <a:lnTo>
                    <a:pt x="863" y="1080"/>
                  </a:lnTo>
                  <a:lnTo>
                    <a:pt x="865" y="1080"/>
                  </a:lnTo>
                  <a:lnTo>
                    <a:pt x="867" y="1080"/>
                  </a:lnTo>
                  <a:lnTo>
                    <a:pt x="868" y="1081"/>
                  </a:lnTo>
                  <a:lnTo>
                    <a:pt x="871" y="1080"/>
                  </a:lnTo>
                  <a:lnTo>
                    <a:pt x="871" y="1078"/>
                  </a:lnTo>
                  <a:lnTo>
                    <a:pt x="870" y="1075"/>
                  </a:lnTo>
                  <a:lnTo>
                    <a:pt x="871" y="1075"/>
                  </a:lnTo>
                  <a:lnTo>
                    <a:pt x="872" y="1075"/>
                  </a:lnTo>
                  <a:lnTo>
                    <a:pt x="874" y="1075"/>
                  </a:lnTo>
                  <a:lnTo>
                    <a:pt x="874" y="1076"/>
                  </a:lnTo>
                  <a:lnTo>
                    <a:pt x="874" y="1078"/>
                  </a:lnTo>
                  <a:lnTo>
                    <a:pt x="873" y="1079"/>
                  </a:lnTo>
                  <a:lnTo>
                    <a:pt x="872" y="1080"/>
                  </a:lnTo>
                  <a:lnTo>
                    <a:pt x="871" y="1081"/>
                  </a:lnTo>
                  <a:lnTo>
                    <a:pt x="870" y="1082"/>
                  </a:lnTo>
                  <a:lnTo>
                    <a:pt x="872" y="1082"/>
                  </a:lnTo>
                  <a:lnTo>
                    <a:pt x="873" y="1082"/>
                  </a:lnTo>
                  <a:lnTo>
                    <a:pt x="875" y="1082"/>
                  </a:lnTo>
                  <a:lnTo>
                    <a:pt x="878" y="1080"/>
                  </a:lnTo>
                  <a:lnTo>
                    <a:pt x="879" y="1080"/>
                  </a:lnTo>
                  <a:lnTo>
                    <a:pt x="882" y="1079"/>
                  </a:lnTo>
                  <a:lnTo>
                    <a:pt x="884" y="1078"/>
                  </a:lnTo>
                  <a:lnTo>
                    <a:pt x="887" y="1076"/>
                  </a:lnTo>
                  <a:lnTo>
                    <a:pt x="890" y="1075"/>
                  </a:lnTo>
                  <a:lnTo>
                    <a:pt x="892" y="1074"/>
                  </a:lnTo>
                  <a:lnTo>
                    <a:pt x="897" y="1072"/>
                  </a:lnTo>
                  <a:lnTo>
                    <a:pt x="899" y="1072"/>
                  </a:lnTo>
                  <a:lnTo>
                    <a:pt x="907" y="1070"/>
                  </a:lnTo>
                  <a:lnTo>
                    <a:pt x="910" y="1070"/>
                  </a:lnTo>
                  <a:lnTo>
                    <a:pt x="911" y="1068"/>
                  </a:lnTo>
                  <a:lnTo>
                    <a:pt x="913" y="1067"/>
                  </a:lnTo>
                  <a:lnTo>
                    <a:pt x="914" y="1066"/>
                  </a:lnTo>
                  <a:lnTo>
                    <a:pt x="914" y="1064"/>
                  </a:lnTo>
                  <a:lnTo>
                    <a:pt x="912" y="1063"/>
                  </a:lnTo>
                  <a:lnTo>
                    <a:pt x="911" y="1062"/>
                  </a:lnTo>
                  <a:lnTo>
                    <a:pt x="907" y="1062"/>
                  </a:lnTo>
                  <a:lnTo>
                    <a:pt x="906" y="1063"/>
                  </a:lnTo>
                  <a:lnTo>
                    <a:pt x="905" y="1064"/>
                  </a:lnTo>
                  <a:lnTo>
                    <a:pt x="904" y="1066"/>
                  </a:lnTo>
                  <a:lnTo>
                    <a:pt x="903" y="1067"/>
                  </a:lnTo>
                  <a:lnTo>
                    <a:pt x="897" y="1066"/>
                  </a:lnTo>
                  <a:lnTo>
                    <a:pt x="895" y="1065"/>
                  </a:lnTo>
                  <a:lnTo>
                    <a:pt x="895" y="1063"/>
                  </a:lnTo>
                  <a:lnTo>
                    <a:pt x="896" y="1058"/>
                  </a:lnTo>
                  <a:lnTo>
                    <a:pt x="897" y="1057"/>
                  </a:lnTo>
                  <a:lnTo>
                    <a:pt x="899" y="1057"/>
                  </a:lnTo>
                  <a:lnTo>
                    <a:pt x="904" y="1057"/>
                  </a:lnTo>
                  <a:lnTo>
                    <a:pt x="906" y="1057"/>
                  </a:lnTo>
                  <a:lnTo>
                    <a:pt x="907" y="1056"/>
                  </a:lnTo>
                  <a:lnTo>
                    <a:pt x="910" y="1055"/>
                  </a:lnTo>
                  <a:lnTo>
                    <a:pt x="912" y="1054"/>
                  </a:lnTo>
                  <a:lnTo>
                    <a:pt x="912" y="1052"/>
                  </a:lnTo>
                  <a:lnTo>
                    <a:pt x="913" y="1050"/>
                  </a:lnTo>
                  <a:lnTo>
                    <a:pt x="914" y="1049"/>
                  </a:lnTo>
                  <a:lnTo>
                    <a:pt x="915" y="1048"/>
                  </a:lnTo>
                  <a:lnTo>
                    <a:pt x="916" y="1046"/>
                  </a:lnTo>
                  <a:lnTo>
                    <a:pt x="919" y="1044"/>
                  </a:lnTo>
                  <a:lnTo>
                    <a:pt x="921" y="1044"/>
                  </a:lnTo>
                  <a:lnTo>
                    <a:pt x="922" y="1044"/>
                  </a:lnTo>
                  <a:lnTo>
                    <a:pt x="923" y="1046"/>
                  </a:lnTo>
                  <a:lnTo>
                    <a:pt x="922" y="1048"/>
                  </a:lnTo>
                  <a:lnTo>
                    <a:pt x="920" y="1050"/>
                  </a:lnTo>
                  <a:lnTo>
                    <a:pt x="919" y="1054"/>
                  </a:lnTo>
                  <a:lnTo>
                    <a:pt x="918" y="1054"/>
                  </a:lnTo>
                  <a:lnTo>
                    <a:pt x="916" y="1056"/>
                  </a:lnTo>
                  <a:lnTo>
                    <a:pt x="916" y="1057"/>
                  </a:lnTo>
                  <a:lnTo>
                    <a:pt x="915" y="1058"/>
                  </a:lnTo>
                  <a:lnTo>
                    <a:pt x="914" y="1060"/>
                  </a:lnTo>
                  <a:lnTo>
                    <a:pt x="914" y="1062"/>
                  </a:lnTo>
                  <a:lnTo>
                    <a:pt x="915" y="1063"/>
                  </a:lnTo>
                  <a:lnTo>
                    <a:pt x="916" y="1064"/>
                  </a:lnTo>
                  <a:lnTo>
                    <a:pt x="919" y="1064"/>
                  </a:lnTo>
                  <a:lnTo>
                    <a:pt x="920" y="1063"/>
                  </a:lnTo>
                  <a:lnTo>
                    <a:pt x="921" y="1064"/>
                  </a:lnTo>
                  <a:lnTo>
                    <a:pt x="922" y="1065"/>
                  </a:lnTo>
                  <a:lnTo>
                    <a:pt x="923" y="1066"/>
                  </a:lnTo>
                  <a:lnTo>
                    <a:pt x="923" y="1067"/>
                  </a:lnTo>
                  <a:lnTo>
                    <a:pt x="926" y="1068"/>
                  </a:lnTo>
                  <a:lnTo>
                    <a:pt x="928" y="1067"/>
                  </a:lnTo>
                  <a:lnTo>
                    <a:pt x="930" y="1066"/>
                  </a:lnTo>
                  <a:lnTo>
                    <a:pt x="932" y="1064"/>
                  </a:lnTo>
                  <a:lnTo>
                    <a:pt x="935" y="1062"/>
                  </a:lnTo>
                  <a:lnTo>
                    <a:pt x="937" y="1059"/>
                  </a:lnTo>
                  <a:lnTo>
                    <a:pt x="939" y="1059"/>
                  </a:lnTo>
                  <a:lnTo>
                    <a:pt x="943" y="1058"/>
                  </a:lnTo>
                  <a:lnTo>
                    <a:pt x="945" y="1056"/>
                  </a:lnTo>
                  <a:lnTo>
                    <a:pt x="946" y="1052"/>
                  </a:lnTo>
                  <a:lnTo>
                    <a:pt x="948" y="1050"/>
                  </a:lnTo>
                  <a:lnTo>
                    <a:pt x="951" y="1048"/>
                  </a:lnTo>
                  <a:lnTo>
                    <a:pt x="952" y="1046"/>
                  </a:lnTo>
                  <a:lnTo>
                    <a:pt x="953" y="1044"/>
                  </a:lnTo>
                  <a:lnTo>
                    <a:pt x="954" y="1042"/>
                  </a:lnTo>
                  <a:lnTo>
                    <a:pt x="958" y="1041"/>
                  </a:lnTo>
                  <a:lnTo>
                    <a:pt x="960" y="1041"/>
                  </a:lnTo>
                  <a:lnTo>
                    <a:pt x="962" y="1042"/>
                  </a:lnTo>
                  <a:lnTo>
                    <a:pt x="963" y="1042"/>
                  </a:lnTo>
                  <a:lnTo>
                    <a:pt x="966" y="1041"/>
                  </a:lnTo>
                  <a:lnTo>
                    <a:pt x="968" y="1040"/>
                  </a:lnTo>
                  <a:lnTo>
                    <a:pt x="970" y="1039"/>
                  </a:lnTo>
                  <a:lnTo>
                    <a:pt x="974" y="1039"/>
                  </a:lnTo>
                  <a:lnTo>
                    <a:pt x="977" y="1036"/>
                  </a:lnTo>
                  <a:lnTo>
                    <a:pt x="979" y="1036"/>
                  </a:lnTo>
                  <a:lnTo>
                    <a:pt x="980" y="1038"/>
                  </a:lnTo>
                  <a:lnTo>
                    <a:pt x="980" y="1036"/>
                  </a:lnTo>
                  <a:lnTo>
                    <a:pt x="980" y="1035"/>
                  </a:lnTo>
                  <a:lnTo>
                    <a:pt x="980" y="1034"/>
                  </a:lnTo>
                  <a:lnTo>
                    <a:pt x="979" y="1033"/>
                  </a:lnTo>
                  <a:lnTo>
                    <a:pt x="977" y="1033"/>
                  </a:lnTo>
                  <a:lnTo>
                    <a:pt x="974" y="1033"/>
                  </a:lnTo>
                  <a:lnTo>
                    <a:pt x="969" y="1035"/>
                  </a:lnTo>
                  <a:lnTo>
                    <a:pt x="969" y="1036"/>
                  </a:lnTo>
                  <a:lnTo>
                    <a:pt x="967" y="1036"/>
                  </a:lnTo>
                  <a:lnTo>
                    <a:pt x="966" y="1038"/>
                  </a:lnTo>
                  <a:lnTo>
                    <a:pt x="963" y="1039"/>
                  </a:lnTo>
                  <a:lnTo>
                    <a:pt x="961" y="1040"/>
                  </a:lnTo>
                  <a:lnTo>
                    <a:pt x="960" y="1040"/>
                  </a:lnTo>
                  <a:lnTo>
                    <a:pt x="959" y="1039"/>
                  </a:lnTo>
                  <a:lnTo>
                    <a:pt x="959" y="1036"/>
                  </a:lnTo>
                  <a:lnTo>
                    <a:pt x="958" y="1036"/>
                  </a:lnTo>
                  <a:lnTo>
                    <a:pt x="956" y="1036"/>
                  </a:lnTo>
                  <a:lnTo>
                    <a:pt x="954" y="1036"/>
                  </a:lnTo>
                  <a:lnTo>
                    <a:pt x="953" y="1038"/>
                  </a:lnTo>
                  <a:lnTo>
                    <a:pt x="951" y="1039"/>
                  </a:lnTo>
                  <a:lnTo>
                    <a:pt x="950" y="1040"/>
                  </a:lnTo>
                  <a:lnTo>
                    <a:pt x="947" y="1040"/>
                  </a:lnTo>
                  <a:lnTo>
                    <a:pt x="945" y="1039"/>
                  </a:lnTo>
                  <a:lnTo>
                    <a:pt x="945" y="1036"/>
                  </a:lnTo>
                  <a:lnTo>
                    <a:pt x="946" y="1035"/>
                  </a:lnTo>
                  <a:lnTo>
                    <a:pt x="947" y="1035"/>
                  </a:lnTo>
                  <a:lnTo>
                    <a:pt x="950" y="1035"/>
                  </a:lnTo>
                  <a:lnTo>
                    <a:pt x="952" y="1034"/>
                  </a:lnTo>
                  <a:lnTo>
                    <a:pt x="953" y="1034"/>
                  </a:lnTo>
                  <a:lnTo>
                    <a:pt x="953" y="1033"/>
                  </a:lnTo>
                  <a:lnTo>
                    <a:pt x="953" y="1031"/>
                  </a:lnTo>
                  <a:lnTo>
                    <a:pt x="952" y="1030"/>
                  </a:lnTo>
                  <a:lnTo>
                    <a:pt x="951" y="1030"/>
                  </a:lnTo>
                  <a:lnTo>
                    <a:pt x="950" y="1030"/>
                  </a:lnTo>
                  <a:lnTo>
                    <a:pt x="948" y="1028"/>
                  </a:lnTo>
                  <a:lnTo>
                    <a:pt x="947" y="1027"/>
                  </a:lnTo>
                  <a:lnTo>
                    <a:pt x="948" y="1026"/>
                  </a:lnTo>
                  <a:lnTo>
                    <a:pt x="951" y="1025"/>
                  </a:lnTo>
                  <a:lnTo>
                    <a:pt x="953" y="1025"/>
                  </a:lnTo>
                  <a:lnTo>
                    <a:pt x="955" y="1025"/>
                  </a:lnTo>
                  <a:lnTo>
                    <a:pt x="958" y="1025"/>
                  </a:lnTo>
                  <a:lnTo>
                    <a:pt x="960" y="1026"/>
                  </a:lnTo>
                  <a:lnTo>
                    <a:pt x="961" y="1026"/>
                  </a:lnTo>
                  <a:lnTo>
                    <a:pt x="963" y="1026"/>
                  </a:lnTo>
                  <a:lnTo>
                    <a:pt x="966" y="1025"/>
                  </a:lnTo>
                  <a:lnTo>
                    <a:pt x="967" y="1024"/>
                  </a:lnTo>
                  <a:lnTo>
                    <a:pt x="967" y="1023"/>
                  </a:lnTo>
                  <a:lnTo>
                    <a:pt x="968" y="1023"/>
                  </a:lnTo>
                  <a:lnTo>
                    <a:pt x="970" y="1023"/>
                  </a:lnTo>
                  <a:lnTo>
                    <a:pt x="971" y="1023"/>
                  </a:lnTo>
                  <a:lnTo>
                    <a:pt x="974" y="1023"/>
                  </a:lnTo>
                  <a:lnTo>
                    <a:pt x="975" y="1024"/>
                  </a:lnTo>
                  <a:lnTo>
                    <a:pt x="976" y="1024"/>
                  </a:lnTo>
                  <a:lnTo>
                    <a:pt x="977" y="1024"/>
                  </a:lnTo>
                  <a:lnTo>
                    <a:pt x="978" y="1024"/>
                  </a:lnTo>
                  <a:lnTo>
                    <a:pt x="980" y="1024"/>
                  </a:lnTo>
                  <a:lnTo>
                    <a:pt x="982" y="1023"/>
                  </a:lnTo>
                  <a:lnTo>
                    <a:pt x="983" y="1023"/>
                  </a:lnTo>
                  <a:lnTo>
                    <a:pt x="985" y="1023"/>
                  </a:lnTo>
                  <a:lnTo>
                    <a:pt x="987" y="1023"/>
                  </a:lnTo>
                  <a:lnTo>
                    <a:pt x="988" y="1024"/>
                  </a:lnTo>
                  <a:lnTo>
                    <a:pt x="990" y="1025"/>
                  </a:lnTo>
                  <a:lnTo>
                    <a:pt x="990" y="1027"/>
                  </a:lnTo>
                  <a:lnTo>
                    <a:pt x="988" y="1027"/>
                  </a:lnTo>
                  <a:lnTo>
                    <a:pt x="987" y="1027"/>
                  </a:lnTo>
                  <a:lnTo>
                    <a:pt x="986" y="1027"/>
                  </a:lnTo>
                  <a:lnTo>
                    <a:pt x="985" y="1027"/>
                  </a:lnTo>
                  <a:lnTo>
                    <a:pt x="984" y="1028"/>
                  </a:lnTo>
                  <a:lnTo>
                    <a:pt x="983" y="1030"/>
                  </a:lnTo>
                  <a:lnTo>
                    <a:pt x="983" y="1031"/>
                  </a:lnTo>
                  <a:lnTo>
                    <a:pt x="983" y="1032"/>
                  </a:lnTo>
                  <a:lnTo>
                    <a:pt x="982" y="1033"/>
                  </a:lnTo>
                  <a:lnTo>
                    <a:pt x="982" y="1035"/>
                  </a:lnTo>
                  <a:lnTo>
                    <a:pt x="983" y="1036"/>
                  </a:lnTo>
                  <a:lnTo>
                    <a:pt x="984" y="1038"/>
                  </a:lnTo>
                  <a:lnTo>
                    <a:pt x="986" y="1036"/>
                  </a:lnTo>
                  <a:lnTo>
                    <a:pt x="987" y="1034"/>
                  </a:lnTo>
                  <a:lnTo>
                    <a:pt x="987" y="1033"/>
                  </a:lnTo>
                  <a:lnTo>
                    <a:pt x="986" y="1032"/>
                  </a:lnTo>
                  <a:lnTo>
                    <a:pt x="987" y="1031"/>
                  </a:lnTo>
                  <a:lnTo>
                    <a:pt x="987" y="1030"/>
                  </a:lnTo>
                  <a:lnTo>
                    <a:pt x="988" y="1030"/>
                  </a:lnTo>
                  <a:lnTo>
                    <a:pt x="990" y="1030"/>
                  </a:lnTo>
                  <a:lnTo>
                    <a:pt x="991" y="1028"/>
                  </a:lnTo>
                  <a:lnTo>
                    <a:pt x="992" y="1028"/>
                  </a:lnTo>
                  <a:lnTo>
                    <a:pt x="994" y="1028"/>
                  </a:lnTo>
                  <a:lnTo>
                    <a:pt x="995" y="1030"/>
                  </a:lnTo>
                  <a:lnTo>
                    <a:pt x="996" y="1031"/>
                  </a:lnTo>
                  <a:lnTo>
                    <a:pt x="999" y="1030"/>
                  </a:lnTo>
                  <a:lnTo>
                    <a:pt x="1001" y="1028"/>
                  </a:lnTo>
                  <a:lnTo>
                    <a:pt x="1001" y="1027"/>
                  </a:lnTo>
                  <a:lnTo>
                    <a:pt x="1002" y="1026"/>
                  </a:lnTo>
                  <a:lnTo>
                    <a:pt x="1003" y="1025"/>
                  </a:lnTo>
                  <a:lnTo>
                    <a:pt x="1004" y="1024"/>
                  </a:lnTo>
                  <a:lnTo>
                    <a:pt x="1006" y="1024"/>
                  </a:lnTo>
                  <a:lnTo>
                    <a:pt x="1008" y="1023"/>
                  </a:lnTo>
                  <a:lnTo>
                    <a:pt x="1009" y="1023"/>
                  </a:lnTo>
                  <a:lnTo>
                    <a:pt x="1011" y="1022"/>
                  </a:lnTo>
                  <a:lnTo>
                    <a:pt x="1014" y="1020"/>
                  </a:lnTo>
                  <a:lnTo>
                    <a:pt x="1016" y="1020"/>
                  </a:lnTo>
                  <a:lnTo>
                    <a:pt x="1017" y="1020"/>
                  </a:lnTo>
                  <a:lnTo>
                    <a:pt x="1019" y="1020"/>
                  </a:lnTo>
                  <a:lnTo>
                    <a:pt x="1020" y="1022"/>
                  </a:lnTo>
                  <a:lnTo>
                    <a:pt x="1022" y="1022"/>
                  </a:lnTo>
                  <a:lnTo>
                    <a:pt x="1023" y="1020"/>
                  </a:lnTo>
                  <a:lnTo>
                    <a:pt x="1023" y="1019"/>
                  </a:lnTo>
                  <a:lnTo>
                    <a:pt x="1022" y="1017"/>
                  </a:lnTo>
                  <a:lnTo>
                    <a:pt x="1019" y="1016"/>
                  </a:lnTo>
                  <a:lnTo>
                    <a:pt x="1018" y="1014"/>
                  </a:lnTo>
                  <a:lnTo>
                    <a:pt x="1019" y="1012"/>
                  </a:lnTo>
                  <a:lnTo>
                    <a:pt x="1022" y="1012"/>
                  </a:lnTo>
                  <a:lnTo>
                    <a:pt x="1024" y="1011"/>
                  </a:lnTo>
                  <a:lnTo>
                    <a:pt x="1026" y="1010"/>
                  </a:lnTo>
                  <a:lnTo>
                    <a:pt x="1028" y="1009"/>
                  </a:lnTo>
                  <a:lnTo>
                    <a:pt x="1031" y="1009"/>
                  </a:lnTo>
                  <a:lnTo>
                    <a:pt x="1032" y="1009"/>
                  </a:lnTo>
                  <a:lnTo>
                    <a:pt x="1033" y="1008"/>
                  </a:lnTo>
                  <a:lnTo>
                    <a:pt x="1035" y="1008"/>
                  </a:lnTo>
                  <a:lnTo>
                    <a:pt x="1036" y="1008"/>
                  </a:lnTo>
                  <a:lnTo>
                    <a:pt x="1039" y="1008"/>
                  </a:lnTo>
                  <a:lnTo>
                    <a:pt x="1040" y="1008"/>
                  </a:lnTo>
                  <a:lnTo>
                    <a:pt x="1041" y="1006"/>
                  </a:lnTo>
                  <a:lnTo>
                    <a:pt x="1042" y="1004"/>
                  </a:lnTo>
                  <a:lnTo>
                    <a:pt x="1044" y="1006"/>
                  </a:lnTo>
                  <a:lnTo>
                    <a:pt x="1046" y="1004"/>
                  </a:lnTo>
                  <a:lnTo>
                    <a:pt x="1044" y="1003"/>
                  </a:lnTo>
                  <a:lnTo>
                    <a:pt x="1042" y="1003"/>
                  </a:lnTo>
                  <a:lnTo>
                    <a:pt x="1040" y="1002"/>
                  </a:lnTo>
                  <a:lnTo>
                    <a:pt x="1040" y="1000"/>
                  </a:lnTo>
                  <a:lnTo>
                    <a:pt x="1041" y="999"/>
                  </a:lnTo>
                  <a:lnTo>
                    <a:pt x="1042" y="999"/>
                  </a:lnTo>
                  <a:lnTo>
                    <a:pt x="1044" y="999"/>
                  </a:lnTo>
                  <a:lnTo>
                    <a:pt x="1046" y="1000"/>
                  </a:lnTo>
                  <a:lnTo>
                    <a:pt x="1046" y="1001"/>
                  </a:lnTo>
                  <a:lnTo>
                    <a:pt x="1047" y="1000"/>
                  </a:lnTo>
                  <a:lnTo>
                    <a:pt x="1047" y="999"/>
                  </a:lnTo>
                  <a:lnTo>
                    <a:pt x="1048" y="999"/>
                  </a:lnTo>
                  <a:lnTo>
                    <a:pt x="1049" y="1000"/>
                  </a:lnTo>
                  <a:lnTo>
                    <a:pt x="1049" y="1001"/>
                  </a:lnTo>
                  <a:lnTo>
                    <a:pt x="1048" y="1002"/>
                  </a:lnTo>
                  <a:lnTo>
                    <a:pt x="1048" y="1003"/>
                  </a:lnTo>
                  <a:lnTo>
                    <a:pt x="1049" y="1003"/>
                  </a:lnTo>
                  <a:lnTo>
                    <a:pt x="1049" y="1004"/>
                  </a:lnTo>
                  <a:lnTo>
                    <a:pt x="1048" y="1006"/>
                  </a:lnTo>
                  <a:lnTo>
                    <a:pt x="1048" y="1007"/>
                  </a:lnTo>
                  <a:lnTo>
                    <a:pt x="1051" y="1004"/>
                  </a:lnTo>
                  <a:lnTo>
                    <a:pt x="1051" y="1003"/>
                  </a:lnTo>
                  <a:lnTo>
                    <a:pt x="1052" y="1002"/>
                  </a:lnTo>
                  <a:lnTo>
                    <a:pt x="1055" y="1001"/>
                  </a:lnTo>
                  <a:lnTo>
                    <a:pt x="1056" y="1000"/>
                  </a:lnTo>
                  <a:lnTo>
                    <a:pt x="1058" y="999"/>
                  </a:lnTo>
                  <a:lnTo>
                    <a:pt x="1060" y="998"/>
                  </a:lnTo>
                  <a:lnTo>
                    <a:pt x="1063" y="998"/>
                  </a:lnTo>
                  <a:lnTo>
                    <a:pt x="1064" y="996"/>
                  </a:lnTo>
                  <a:lnTo>
                    <a:pt x="1065" y="995"/>
                  </a:lnTo>
                  <a:lnTo>
                    <a:pt x="1067" y="995"/>
                  </a:lnTo>
                  <a:lnTo>
                    <a:pt x="1070" y="995"/>
                  </a:lnTo>
                  <a:lnTo>
                    <a:pt x="1072" y="994"/>
                  </a:lnTo>
                  <a:lnTo>
                    <a:pt x="1074" y="994"/>
                  </a:lnTo>
                  <a:lnTo>
                    <a:pt x="1076" y="994"/>
                  </a:lnTo>
                  <a:lnTo>
                    <a:pt x="1080" y="994"/>
                  </a:lnTo>
                  <a:lnTo>
                    <a:pt x="1081" y="993"/>
                  </a:lnTo>
                  <a:lnTo>
                    <a:pt x="1082" y="992"/>
                  </a:lnTo>
                  <a:lnTo>
                    <a:pt x="1082" y="991"/>
                  </a:lnTo>
                  <a:lnTo>
                    <a:pt x="1083" y="990"/>
                  </a:lnTo>
                  <a:lnTo>
                    <a:pt x="1084" y="988"/>
                  </a:lnTo>
                  <a:lnTo>
                    <a:pt x="1086" y="988"/>
                  </a:lnTo>
                  <a:lnTo>
                    <a:pt x="1087" y="987"/>
                  </a:lnTo>
                  <a:lnTo>
                    <a:pt x="1088" y="987"/>
                  </a:lnTo>
                  <a:lnTo>
                    <a:pt x="1088" y="986"/>
                  </a:lnTo>
                  <a:lnTo>
                    <a:pt x="1087" y="984"/>
                  </a:lnTo>
                  <a:lnTo>
                    <a:pt x="1086" y="984"/>
                  </a:lnTo>
                  <a:lnTo>
                    <a:pt x="1086" y="983"/>
                  </a:lnTo>
                  <a:lnTo>
                    <a:pt x="1086" y="980"/>
                  </a:lnTo>
                  <a:lnTo>
                    <a:pt x="1088" y="979"/>
                  </a:lnTo>
                  <a:lnTo>
                    <a:pt x="1090" y="977"/>
                  </a:lnTo>
                  <a:lnTo>
                    <a:pt x="1091" y="976"/>
                  </a:lnTo>
                  <a:lnTo>
                    <a:pt x="1092" y="975"/>
                  </a:lnTo>
                  <a:lnTo>
                    <a:pt x="1094" y="975"/>
                  </a:lnTo>
                  <a:lnTo>
                    <a:pt x="1095" y="976"/>
                  </a:lnTo>
                  <a:lnTo>
                    <a:pt x="1096" y="977"/>
                  </a:lnTo>
                  <a:lnTo>
                    <a:pt x="1095" y="978"/>
                  </a:lnTo>
                  <a:lnTo>
                    <a:pt x="1092" y="978"/>
                  </a:lnTo>
                  <a:lnTo>
                    <a:pt x="1091" y="980"/>
                  </a:lnTo>
                  <a:lnTo>
                    <a:pt x="1090" y="982"/>
                  </a:lnTo>
                  <a:lnTo>
                    <a:pt x="1089" y="983"/>
                  </a:lnTo>
                  <a:lnTo>
                    <a:pt x="1089" y="984"/>
                  </a:lnTo>
                  <a:lnTo>
                    <a:pt x="1090" y="984"/>
                  </a:lnTo>
                  <a:lnTo>
                    <a:pt x="1091" y="985"/>
                  </a:lnTo>
                  <a:lnTo>
                    <a:pt x="1090" y="986"/>
                  </a:lnTo>
                  <a:lnTo>
                    <a:pt x="1089" y="986"/>
                  </a:lnTo>
                  <a:lnTo>
                    <a:pt x="1089" y="987"/>
                  </a:lnTo>
                  <a:lnTo>
                    <a:pt x="1089" y="988"/>
                  </a:lnTo>
                  <a:lnTo>
                    <a:pt x="1089" y="990"/>
                  </a:lnTo>
                  <a:lnTo>
                    <a:pt x="1090" y="991"/>
                  </a:lnTo>
                  <a:lnTo>
                    <a:pt x="1091" y="991"/>
                  </a:lnTo>
                  <a:lnTo>
                    <a:pt x="1092" y="990"/>
                  </a:lnTo>
                  <a:lnTo>
                    <a:pt x="1094" y="988"/>
                  </a:lnTo>
                  <a:lnTo>
                    <a:pt x="1095" y="986"/>
                  </a:lnTo>
                  <a:lnTo>
                    <a:pt x="1098" y="984"/>
                  </a:lnTo>
                  <a:lnTo>
                    <a:pt x="1099" y="983"/>
                  </a:lnTo>
                  <a:lnTo>
                    <a:pt x="1103" y="980"/>
                  </a:lnTo>
                  <a:lnTo>
                    <a:pt x="1107" y="978"/>
                  </a:lnTo>
                  <a:lnTo>
                    <a:pt x="1110" y="976"/>
                  </a:lnTo>
                  <a:lnTo>
                    <a:pt x="1112" y="975"/>
                  </a:lnTo>
                  <a:lnTo>
                    <a:pt x="1115" y="972"/>
                  </a:lnTo>
                  <a:lnTo>
                    <a:pt x="1119" y="970"/>
                  </a:lnTo>
                  <a:lnTo>
                    <a:pt x="1120" y="970"/>
                  </a:lnTo>
                  <a:lnTo>
                    <a:pt x="1121" y="969"/>
                  </a:lnTo>
                  <a:lnTo>
                    <a:pt x="1121" y="967"/>
                  </a:lnTo>
                  <a:lnTo>
                    <a:pt x="1120" y="967"/>
                  </a:lnTo>
                  <a:lnTo>
                    <a:pt x="1118" y="964"/>
                  </a:lnTo>
                  <a:lnTo>
                    <a:pt x="1116" y="964"/>
                  </a:lnTo>
                  <a:lnTo>
                    <a:pt x="1116" y="963"/>
                  </a:lnTo>
                  <a:lnTo>
                    <a:pt x="1115" y="962"/>
                  </a:lnTo>
                  <a:lnTo>
                    <a:pt x="1114" y="961"/>
                  </a:lnTo>
                  <a:lnTo>
                    <a:pt x="1113" y="960"/>
                  </a:lnTo>
                  <a:lnTo>
                    <a:pt x="1112" y="959"/>
                  </a:lnTo>
                  <a:lnTo>
                    <a:pt x="1112" y="956"/>
                  </a:lnTo>
                  <a:lnTo>
                    <a:pt x="1114" y="955"/>
                  </a:lnTo>
                  <a:lnTo>
                    <a:pt x="1116" y="955"/>
                  </a:lnTo>
                  <a:lnTo>
                    <a:pt x="1116" y="952"/>
                  </a:lnTo>
                  <a:lnTo>
                    <a:pt x="1115" y="951"/>
                  </a:lnTo>
                  <a:lnTo>
                    <a:pt x="1116" y="948"/>
                  </a:lnTo>
                  <a:lnTo>
                    <a:pt x="1114" y="947"/>
                  </a:lnTo>
                  <a:lnTo>
                    <a:pt x="1111" y="945"/>
                  </a:lnTo>
                  <a:lnTo>
                    <a:pt x="1110" y="944"/>
                  </a:lnTo>
                  <a:lnTo>
                    <a:pt x="1111" y="943"/>
                  </a:lnTo>
                  <a:lnTo>
                    <a:pt x="1113" y="944"/>
                  </a:lnTo>
                  <a:lnTo>
                    <a:pt x="1114" y="945"/>
                  </a:lnTo>
                  <a:lnTo>
                    <a:pt x="1116" y="946"/>
                  </a:lnTo>
                  <a:lnTo>
                    <a:pt x="1118" y="947"/>
                  </a:lnTo>
                  <a:lnTo>
                    <a:pt x="1120" y="947"/>
                  </a:lnTo>
                  <a:lnTo>
                    <a:pt x="1120" y="946"/>
                  </a:lnTo>
                  <a:lnTo>
                    <a:pt x="1121" y="944"/>
                  </a:lnTo>
                  <a:lnTo>
                    <a:pt x="1119" y="943"/>
                  </a:lnTo>
                  <a:lnTo>
                    <a:pt x="1116" y="942"/>
                  </a:lnTo>
                  <a:lnTo>
                    <a:pt x="1115" y="940"/>
                  </a:lnTo>
                  <a:lnTo>
                    <a:pt x="1116" y="939"/>
                  </a:lnTo>
                  <a:lnTo>
                    <a:pt x="1118" y="939"/>
                  </a:lnTo>
                  <a:lnTo>
                    <a:pt x="1119" y="939"/>
                  </a:lnTo>
                  <a:lnTo>
                    <a:pt x="1121" y="940"/>
                  </a:lnTo>
                  <a:lnTo>
                    <a:pt x="1122" y="940"/>
                  </a:lnTo>
                  <a:lnTo>
                    <a:pt x="1124" y="939"/>
                  </a:lnTo>
                  <a:lnTo>
                    <a:pt x="1126" y="934"/>
                  </a:lnTo>
                  <a:lnTo>
                    <a:pt x="1130" y="928"/>
                  </a:lnTo>
                  <a:lnTo>
                    <a:pt x="1131" y="926"/>
                  </a:lnTo>
                  <a:lnTo>
                    <a:pt x="1134" y="923"/>
                  </a:lnTo>
                  <a:lnTo>
                    <a:pt x="1136" y="921"/>
                  </a:lnTo>
                  <a:lnTo>
                    <a:pt x="1139" y="916"/>
                  </a:lnTo>
                  <a:lnTo>
                    <a:pt x="1146" y="911"/>
                  </a:lnTo>
                  <a:lnTo>
                    <a:pt x="1148" y="907"/>
                  </a:lnTo>
                  <a:lnTo>
                    <a:pt x="1151" y="905"/>
                  </a:lnTo>
                  <a:lnTo>
                    <a:pt x="1155" y="897"/>
                  </a:lnTo>
                  <a:lnTo>
                    <a:pt x="1159" y="891"/>
                  </a:lnTo>
                  <a:lnTo>
                    <a:pt x="1162" y="886"/>
                  </a:lnTo>
                  <a:lnTo>
                    <a:pt x="1162" y="881"/>
                  </a:lnTo>
                  <a:lnTo>
                    <a:pt x="1162" y="876"/>
                  </a:lnTo>
                  <a:lnTo>
                    <a:pt x="1162" y="873"/>
                  </a:lnTo>
                  <a:lnTo>
                    <a:pt x="1162" y="871"/>
                  </a:lnTo>
                  <a:lnTo>
                    <a:pt x="1167" y="862"/>
                  </a:lnTo>
                  <a:lnTo>
                    <a:pt x="1168" y="859"/>
                  </a:lnTo>
                  <a:lnTo>
                    <a:pt x="1170" y="857"/>
                  </a:lnTo>
                  <a:lnTo>
                    <a:pt x="1172" y="852"/>
                  </a:lnTo>
                  <a:lnTo>
                    <a:pt x="1172" y="847"/>
                  </a:lnTo>
                  <a:lnTo>
                    <a:pt x="1172" y="846"/>
                  </a:lnTo>
                  <a:lnTo>
                    <a:pt x="1171" y="844"/>
                  </a:lnTo>
                  <a:lnTo>
                    <a:pt x="1170" y="843"/>
                  </a:lnTo>
                  <a:lnTo>
                    <a:pt x="1167" y="843"/>
                  </a:lnTo>
                  <a:lnTo>
                    <a:pt x="1166" y="842"/>
                  </a:lnTo>
                  <a:lnTo>
                    <a:pt x="1167" y="840"/>
                  </a:lnTo>
                  <a:lnTo>
                    <a:pt x="1168" y="838"/>
                  </a:lnTo>
                  <a:lnTo>
                    <a:pt x="1168" y="836"/>
                  </a:lnTo>
                  <a:lnTo>
                    <a:pt x="1167" y="834"/>
                  </a:lnTo>
                  <a:lnTo>
                    <a:pt x="1164" y="833"/>
                  </a:lnTo>
                  <a:lnTo>
                    <a:pt x="1162" y="833"/>
                  </a:lnTo>
                  <a:lnTo>
                    <a:pt x="1161" y="834"/>
                  </a:lnTo>
                  <a:lnTo>
                    <a:pt x="1159" y="835"/>
                  </a:lnTo>
                  <a:lnTo>
                    <a:pt x="1158" y="836"/>
                  </a:lnTo>
                  <a:lnTo>
                    <a:pt x="1156" y="835"/>
                  </a:lnTo>
                  <a:lnTo>
                    <a:pt x="1154" y="834"/>
                  </a:lnTo>
                  <a:lnTo>
                    <a:pt x="1152" y="832"/>
                  </a:lnTo>
                  <a:lnTo>
                    <a:pt x="1150" y="831"/>
                  </a:lnTo>
                  <a:lnTo>
                    <a:pt x="1148" y="828"/>
                  </a:lnTo>
                  <a:lnTo>
                    <a:pt x="1148" y="827"/>
                  </a:lnTo>
                  <a:lnTo>
                    <a:pt x="1148" y="825"/>
                  </a:lnTo>
                  <a:lnTo>
                    <a:pt x="1145" y="820"/>
                  </a:lnTo>
                  <a:lnTo>
                    <a:pt x="1144" y="820"/>
                  </a:lnTo>
                  <a:lnTo>
                    <a:pt x="1143" y="819"/>
                  </a:lnTo>
                  <a:lnTo>
                    <a:pt x="1142" y="818"/>
                  </a:lnTo>
                  <a:lnTo>
                    <a:pt x="1140" y="816"/>
                  </a:lnTo>
                  <a:lnTo>
                    <a:pt x="1139" y="815"/>
                  </a:lnTo>
                  <a:lnTo>
                    <a:pt x="1137" y="812"/>
                  </a:lnTo>
                  <a:lnTo>
                    <a:pt x="1137" y="811"/>
                  </a:lnTo>
                  <a:lnTo>
                    <a:pt x="1137" y="810"/>
                  </a:lnTo>
                  <a:lnTo>
                    <a:pt x="1136" y="808"/>
                  </a:lnTo>
                  <a:lnTo>
                    <a:pt x="1132" y="807"/>
                  </a:lnTo>
                  <a:lnTo>
                    <a:pt x="1130" y="804"/>
                  </a:lnTo>
                  <a:lnTo>
                    <a:pt x="1130" y="803"/>
                  </a:lnTo>
                  <a:lnTo>
                    <a:pt x="1128" y="802"/>
                  </a:lnTo>
                  <a:lnTo>
                    <a:pt x="1126" y="802"/>
                  </a:lnTo>
                  <a:lnTo>
                    <a:pt x="1124" y="802"/>
                  </a:lnTo>
                  <a:lnTo>
                    <a:pt x="1122" y="804"/>
                  </a:lnTo>
                  <a:lnTo>
                    <a:pt x="1121" y="807"/>
                  </a:lnTo>
                  <a:lnTo>
                    <a:pt x="1121" y="808"/>
                  </a:lnTo>
                  <a:lnTo>
                    <a:pt x="1119" y="809"/>
                  </a:lnTo>
                  <a:lnTo>
                    <a:pt x="1118" y="810"/>
                  </a:lnTo>
                  <a:lnTo>
                    <a:pt x="1115" y="811"/>
                  </a:lnTo>
                  <a:lnTo>
                    <a:pt x="1114" y="811"/>
                  </a:lnTo>
                  <a:lnTo>
                    <a:pt x="1112" y="810"/>
                  </a:lnTo>
                  <a:lnTo>
                    <a:pt x="1110" y="808"/>
                  </a:lnTo>
                  <a:lnTo>
                    <a:pt x="1108" y="807"/>
                  </a:lnTo>
                  <a:lnTo>
                    <a:pt x="1106" y="807"/>
                  </a:lnTo>
                  <a:lnTo>
                    <a:pt x="1104" y="807"/>
                  </a:lnTo>
                  <a:lnTo>
                    <a:pt x="1100" y="807"/>
                  </a:lnTo>
                  <a:lnTo>
                    <a:pt x="1098" y="808"/>
                  </a:lnTo>
                  <a:lnTo>
                    <a:pt x="1096" y="808"/>
                  </a:lnTo>
                  <a:lnTo>
                    <a:pt x="1095" y="808"/>
                  </a:lnTo>
                  <a:lnTo>
                    <a:pt x="1094" y="807"/>
                  </a:lnTo>
                  <a:lnTo>
                    <a:pt x="1094" y="804"/>
                  </a:lnTo>
                  <a:lnTo>
                    <a:pt x="1096" y="804"/>
                  </a:lnTo>
                  <a:lnTo>
                    <a:pt x="1097" y="803"/>
                  </a:lnTo>
                  <a:lnTo>
                    <a:pt x="1097" y="801"/>
                  </a:lnTo>
                  <a:lnTo>
                    <a:pt x="1096" y="800"/>
                  </a:lnTo>
                  <a:lnTo>
                    <a:pt x="1094" y="800"/>
                  </a:lnTo>
                  <a:lnTo>
                    <a:pt x="1092" y="800"/>
                  </a:lnTo>
                  <a:lnTo>
                    <a:pt x="1091" y="800"/>
                  </a:lnTo>
                  <a:lnTo>
                    <a:pt x="1089" y="799"/>
                  </a:lnTo>
                  <a:lnTo>
                    <a:pt x="1087" y="800"/>
                  </a:lnTo>
                  <a:lnTo>
                    <a:pt x="1086" y="802"/>
                  </a:lnTo>
                  <a:lnTo>
                    <a:pt x="1084" y="803"/>
                  </a:lnTo>
                  <a:lnTo>
                    <a:pt x="1083" y="806"/>
                  </a:lnTo>
                  <a:lnTo>
                    <a:pt x="1081" y="804"/>
                  </a:lnTo>
                  <a:lnTo>
                    <a:pt x="1079" y="803"/>
                  </a:lnTo>
                  <a:lnTo>
                    <a:pt x="1078" y="802"/>
                  </a:lnTo>
                  <a:lnTo>
                    <a:pt x="1076" y="800"/>
                  </a:lnTo>
                  <a:lnTo>
                    <a:pt x="1078" y="799"/>
                  </a:lnTo>
                  <a:lnTo>
                    <a:pt x="1080" y="798"/>
                  </a:lnTo>
                  <a:lnTo>
                    <a:pt x="1081" y="798"/>
                  </a:lnTo>
                  <a:lnTo>
                    <a:pt x="1084" y="796"/>
                  </a:lnTo>
                  <a:lnTo>
                    <a:pt x="1086" y="793"/>
                  </a:lnTo>
                  <a:lnTo>
                    <a:pt x="1084" y="793"/>
                  </a:lnTo>
                  <a:lnTo>
                    <a:pt x="1081" y="793"/>
                  </a:lnTo>
                  <a:lnTo>
                    <a:pt x="1079" y="793"/>
                  </a:lnTo>
                  <a:lnTo>
                    <a:pt x="1078" y="791"/>
                  </a:lnTo>
                  <a:lnTo>
                    <a:pt x="1076" y="788"/>
                  </a:lnTo>
                  <a:lnTo>
                    <a:pt x="1075" y="787"/>
                  </a:lnTo>
                  <a:lnTo>
                    <a:pt x="1074" y="785"/>
                  </a:lnTo>
                  <a:lnTo>
                    <a:pt x="1075" y="784"/>
                  </a:lnTo>
                  <a:lnTo>
                    <a:pt x="1078" y="783"/>
                  </a:lnTo>
                  <a:lnTo>
                    <a:pt x="1080" y="784"/>
                  </a:lnTo>
                  <a:lnTo>
                    <a:pt x="1081" y="785"/>
                  </a:lnTo>
                  <a:lnTo>
                    <a:pt x="1083" y="786"/>
                  </a:lnTo>
                  <a:lnTo>
                    <a:pt x="1084" y="785"/>
                  </a:lnTo>
                  <a:lnTo>
                    <a:pt x="1086" y="785"/>
                  </a:lnTo>
                  <a:lnTo>
                    <a:pt x="1090" y="785"/>
                  </a:lnTo>
                  <a:lnTo>
                    <a:pt x="1092" y="785"/>
                  </a:lnTo>
                  <a:lnTo>
                    <a:pt x="1094" y="786"/>
                  </a:lnTo>
                  <a:lnTo>
                    <a:pt x="1096" y="787"/>
                  </a:lnTo>
                  <a:lnTo>
                    <a:pt x="1097" y="787"/>
                  </a:lnTo>
                  <a:lnTo>
                    <a:pt x="1100" y="787"/>
                  </a:lnTo>
                  <a:lnTo>
                    <a:pt x="1102" y="788"/>
                  </a:lnTo>
                  <a:lnTo>
                    <a:pt x="1104" y="790"/>
                  </a:lnTo>
                  <a:lnTo>
                    <a:pt x="1106" y="791"/>
                  </a:lnTo>
                  <a:lnTo>
                    <a:pt x="1108" y="788"/>
                  </a:lnTo>
                  <a:lnTo>
                    <a:pt x="1110" y="787"/>
                  </a:lnTo>
                  <a:lnTo>
                    <a:pt x="1110" y="785"/>
                  </a:lnTo>
                  <a:lnTo>
                    <a:pt x="1110" y="784"/>
                  </a:lnTo>
                  <a:lnTo>
                    <a:pt x="1108" y="780"/>
                  </a:lnTo>
                  <a:lnTo>
                    <a:pt x="1108" y="779"/>
                  </a:lnTo>
                  <a:lnTo>
                    <a:pt x="1108" y="777"/>
                  </a:lnTo>
                  <a:lnTo>
                    <a:pt x="1108" y="775"/>
                  </a:lnTo>
                  <a:lnTo>
                    <a:pt x="1111" y="774"/>
                  </a:lnTo>
                  <a:lnTo>
                    <a:pt x="1112" y="774"/>
                  </a:lnTo>
                  <a:lnTo>
                    <a:pt x="1114" y="775"/>
                  </a:lnTo>
                  <a:lnTo>
                    <a:pt x="1114" y="776"/>
                  </a:lnTo>
                  <a:lnTo>
                    <a:pt x="1116" y="777"/>
                  </a:lnTo>
                  <a:lnTo>
                    <a:pt x="1116" y="778"/>
                  </a:lnTo>
                  <a:lnTo>
                    <a:pt x="1116" y="780"/>
                  </a:lnTo>
                  <a:lnTo>
                    <a:pt x="1118" y="782"/>
                  </a:lnTo>
                  <a:lnTo>
                    <a:pt x="1119" y="784"/>
                  </a:lnTo>
                  <a:lnTo>
                    <a:pt x="1119" y="787"/>
                  </a:lnTo>
                  <a:lnTo>
                    <a:pt x="1120" y="788"/>
                  </a:lnTo>
                  <a:lnTo>
                    <a:pt x="1122" y="790"/>
                  </a:lnTo>
                  <a:lnTo>
                    <a:pt x="1123" y="790"/>
                  </a:lnTo>
                  <a:lnTo>
                    <a:pt x="1124" y="791"/>
                  </a:lnTo>
                  <a:lnTo>
                    <a:pt x="1126" y="792"/>
                  </a:lnTo>
                  <a:lnTo>
                    <a:pt x="1126" y="793"/>
                  </a:lnTo>
                  <a:lnTo>
                    <a:pt x="1129" y="793"/>
                  </a:lnTo>
                  <a:lnTo>
                    <a:pt x="1129" y="792"/>
                  </a:lnTo>
                  <a:lnTo>
                    <a:pt x="1129" y="791"/>
                  </a:lnTo>
                  <a:lnTo>
                    <a:pt x="1129" y="790"/>
                  </a:lnTo>
                  <a:lnTo>
                    <a:pt x="1129" y="788"/>
                  </a:lnTo>
                  <a:lnTo>
                    <a:pt x="1129" y="787"/>
                  </a:lnTo>
                  <a:lnTo>
                    <a:pt x="1129" y="786"/>
                  </a:lnTo>
                  <a:lnTo>
                    <a:pt x="1129" y="785"/>
                  </a:lnTo>
                  <a:lnTo>
                    <a:pt x="1130" y="784"/>
                  </a:lnTo>
                  <a:lnTo>
                    <a:pt x="1131" y="783"/>
                  </a:lnTo>
                  <a:lnTo>
                    <a:pt x="1132" y="783"/>
                  </a:lnTo>
                  <a:lnTo>
                    <a:pt x="1132" y="782"/>
                  </a:lnTo>
                  <a:lnTo>
                    <a:pt x="1134" y="780"/>
                  </a:lnTo>
                  <a:lnTo>
                    <a:pt x="1134" y="779"/>
                  </a:lnTo>
                  <a:lnTo>
                    <a:pt x="1134" y="778"/>
                  </a:lnTo>
                  <a:lnTo>
                    <a:pt x="1134" y="777"/>
                  </a:lnTo>
                  <a:lnTo>
                    <a:pt x="1132" y="777"/>
                  </a:lnTo>
                  <a:lnTo>
                    <a:pt x="1131" y="777"/>
                  </a:lnTo>
                  <a:lnTo>
                    <a:pt x="1130" y="776"/>
                  </a:lnTo>
                  <a:lnTo>
                    <a:pt x="1129" y="775"/>
                  </a:lnTo>
                  <a:lnTo>
                    <a:pt x="1127" y="775"/>
                  </a:lnTo>
                  <a:lnTo>
                    <a:pt x="1126" y="776"/>
                  </a:lnTo>
                  <a:lnTo>
                    <a:pt x="1124" y="778"/>
                  </a:lnTo>
                  <a:lnTo>
                    <a:pt x="1123" y="777"/>
                  </a:lnTo>
                  <a:lnTo>
                    <a:pt x="1121" y="775"/>
                  </a:lnTo>
                  <a:lnTo>
                    <a:pt x="1119" y="774"/>
                  </a:lnTo>
                  <a:lnTo>
                    <a:pt x="1118" y="772"/>
                  </a:lnTo>
                  <a:lnTo>
                    <a:pt x="1115" y="771"/>
                  </a:lnTo>
                  <a:lnTo>
                    <a:pt x="1113" y="770"/>
                  </a:lnTo>
                  <a:lnTo>
                    <a:pt x="1111" y="769"/>
                  </a:lnTo>
                  <a:lnTo>
                    <a:pt x="1110" y="767"/>
                  </a:lnTo>
                  <a:lnTo>
                    <a:pt x="1111" y="766"/>
                  </a:lnTo>
                  <a:lnTo>
                    <a:pt x="1113" y="764"/>
                  </a:lnTo>
                  <a:lnTo>
                    <a:pt x="1114" y="766"/>
                  </a:lnTo>
                  <a:lnTo>
                    <a:pt x="1115" y="766"/>
                  </a:lnTo>
                  <a:lnTo>
                    <a:pt x="1118" y="764"/>
                  </a:lnTo>
                  <a:lnTo>
                    <a:pt x="1118" y="763"/>
                  </a:lnTo>
                  <a:lnTo>
                    <a:pt x="1116" y="762"/>
                  </a:lnTo>
                  <a:lnTo>
                    <a:pt x="1114" y="762"/>
                  </a:lnTo>
                  <a:lnTo>
                    <a:pt x="1112" y="761"/>
                  </a:lnTo>
                  <a:lnTo>
                    <a:pt x="1108" y="760"/>
                  </a:lnTo>
                  <a:lnTo>
                    <a:pt x="1107" y="760"/>
                  </a:lnTo>
                  <a:lnTo>
                    <a:pt x="1105" y="759"/>
                  </a:lnTo>
                  <a:lnTo>
                    <a:pt x="1104" y="756"/>
                  </a:lnTo>
                  <a:lnTo>
                    <a:pt x="1102" y="758"/>
                  </a:lnTo>
                  <a:lnTo>
                    <a:pt x="1100" y="758"/>
                  </a:lnTo>
                  <a:lnTo>
                    <a:pt x="1099" y="755"/>
                  </a:lnTo>
                  <a:lnTo>
                    <a:pt x="1099" y="754"/>
                  </a:lnTo>
                  <a:lnTo>
                    <a:pt x="1099" y="753"/>
                  </a:lnTo>
                  <a:lnTo>
                    <a:pt x="1098" y="753"/>
                  </a:lnTo>
                  <a:lnTo>
                    <a:pt x="1097" y="754"/>
                  </a:lnTo>
                  <a:lnTo>
                    <a:pt x="1096" y="754"/>
                  </a:lnTo>
                  <a:lnTo>
                    <a:pt x="1095" y="754"/>
                  </a:lnTo>
                  <a:lnTo>
                    <a:pt x="1096" y="752"/>
                  </a:lnTo>
                  <a:lnTo>
                    <a:pt x="1099" y="751"/>
                  </a:lnTo>
                  <a:lnTo>
                    <a:pt x="1102" y="751"/>
                  </a:lnTo>
                  <a:lnTo>
                    <a:pt x="1103" y="751"/>
                  </a:lnTo>
                  <a:lnTo>
                    <a:pt x="1105" y="751"/>
                  </a:lnTo>
                  <a:lnTo>
                    <a:pt x="1106" y="753"/>
                  </a:lnTo>
                  <a:lnTo>
                    <a:pt x="1107" y="754"/>
                  </a:lnTo>
                  <a:lnTo>
                    <a:pt x="1110" y="756"/>
                  </a:lnTo>
                  <a:lnTo>
                    <a:pt x="1111" y="756"/>
                  </a:lnTo>
                  <a:lnTo>
                    <a:pt x="1112" y="756"/>
                  </a:lnTo>
                  <a:lnTo>
                    <a:pt x="1113" y="756"/>
                  </a:lnTo>
                  <a:lnTo>
                    <a:pt x="1115" y="756"/>
                  </a:lnTo>
                  <a:lnTo>
                    <a:pt x="1116" y="758"/>
                  </a:lnTo>
                  <a:lnTo>
                    <a:pt x="1118" y="758"/>
                  </a:lnTo>
                  <a:lnTo>
                    <a:pt x="1120" y="759"/>
                  </a:lnTo>
                  <a:lnTo>
                    <a:pt x="1122" y="759"/>
                  </a:lnTo>
                  <a:lnTo>
                    <a:pt x="1124" y="759"/>
                  </a:lnTo>
                  <a:lnTo>
                    <a:pt x="1127" y="759"/>
                  </a:lnTo>
                  <a:lnTo>
                    <a:pt x="1127" y="758"/>
                  </a:lnTo>
                  <a:lnTo>
                    <a:pt x="1127" y="755"/>
                  </a:lnTo>
                  <a:lnTo>
                    <a:pt x="1124" y="754"/>
                  </a:lnTo>
                  <a:lnTo>
                    <a:pt x="1123" y="754"/>
                  </a:lnTo>
                  <a:lnTo>
                    <a:pt x="1121" y="754"/>
                  </a:lnTo>
                  <a:lnTo>
                    <a:pt x="1120" y="752"/>
                  </a:lnTo>
                  <a:lnTo>
                    <a:pt x="1122" y="752"/>
                  </a:lnTo>
                  <a:lnTo>
                    <a:pt x="1123" y="752"/>
                  </a:lnTo>
                  <a:lnTo>
                    <a:pt x="1124" y="751"/>
                  </a:lnTo>
                  <a:lnTo>
                    <a:pt x="1126" y="750"/>
                  </a:lnTo>
                  <a:lnTo>
                    <a:pt x="1127" y="748"/>
                  </a:lnTo>
                  <a:lnTo>
                    <a:pt x="1128" y="748"/>
                  </a:lnTo>
                  <a:lnTo>
                    <a:pt x="1130" y="748"/>
                  </a:lnTo>
                  <a:lnTo>
                    <a:pt x="1130" y="746"/>
                  </a:lnTo>
                  <a:lnTo>
                    <a:pt x="1130" y="745"/>
                  </a:lnTo>
                  <a:lnTo>
                    <a:pt x="1131" y="744"/>
                  </a:lnTo>
                  <a:lnTo>
                    <a:pt x="1131" y="742"/>
                  </a:lnTo>
                  <a:lnTo>
                    <a:pt x="1130" y="740"/>
                  </a:lnTo>
                  <a:lnTo>
                    <a:pt x="1128" y="740"/>
                  </a:lnTo>
                  <a:lnTo>
                    <a:pt x="1127" y="740"/>
                  </a:lnTo>
                  <a:lnTo>
                    <a:pt x="1123" y="739"/>
                  </a:lnTo>
                  <a:lnTo>
                    <a:pt x="1122" y="738"/>
                  </a:lnTo>
                  <a:lnTo>
                    <a:pt x="1122" y="737"/>
                  </a:lnTo>
                  <a:lnTo>
                    <a:pt x="1124" y="736"/>
                  </a:lnTo>
                  <a:lnTo>
                    <a:pt x="1126" y="735"/>
                  </a:lnTo>
                  <a:lnTo>
                    <a:pt x="1127" y="735"/>
                  </a:lnTo>
                  <a:lnTo>
                    <a:pt x="1127" y="734"/>
                  </a:lnTo>
                  <a:lnTo>
                    <a:pt x="1127" y="731"/>
                  </a:lnTo>
                  <a:lnTo>
                    <a:pt x="1127" y="730"/>
                  </a:lnTo>
                  <a:lnTo>
                    <a:pt x="1124" y="729"/>
                  </a:lnTo>
                  <a:lnTo>
                    <a:pt x="1123" y="728"/>
                  </a:lnTo>
                  <a:lnTo>
                    <a:pt x="1122" y="728"/>
                  </a:lnTo>
                  <a:lnTo>
                    <a:pt x="1122" y="727"/>
                  </a:lnTo>
                  <a:lnTo>
                    <a:pt x="1121" y="724"/>
                  </a:lnTo>
                  <a:lnTo>
                    <a:pt x="1121" y="722"/>
                  </a:lnTo>
                  <a:lnTo>
                    <a:pt x="1122" y="719"/>
                  </a:lnTo>
                  <a:lnTo>
                    <a:pt x="1122" y="718"/>
                  </a:lnTo>
                  <a:lnTo>
                    <a:pt x="1123" y="716"/>
                  </a:lnTo>
                  <a:lnTo>
                    <a:pt x="1123" y="715"/>
                  </a:lnTo>
                  <a:lnTo>
                    <a:pt x="1123" y="714"/>
                  </a:lnTo>
                  <a:lnTo>
                    <a:pt x="1123" y="712"/>
                  </a:lnTo>
                  <a:lnTo>
                    <a:pt x="1124" y="710"/>
                  </a:lnTo>
                  <a:lnTo>
                    <a:pt x="1124" y="708"/>
                  </a:lnTo>
                  <a:lnTo>
                    <a:pt x="1126" y="706"/>
                  </a:lnTo>
                  <a:lnTo>
                    <a:pt x="1127" y="705"/>
                  </a:lnTo>
                  <a:lnTo>
                    <a:pt x="1128" y="705"/>
                  </a:lnTo>
                  <a:lnTo>
                    <a:pt x="1127" y="706"/>
                  </a:lnTo>
                  <a:lnTo>
                    <a:pt x="1127" y="708"/>
                  </a:lnTo>
                  <a:lnTo>
                    <a:pt x="1127" y="711"/>
                  </a:lnTo>
                  <a:lnTo>
                    <a:pt x="1126" y="713"/>
                  </a:lnTo>
                  <a:lnTo>
                    <a:pt x="1126" y="716"/>
                  </a:lnTo>
                  <a:lnTo>
                    <a:pt x="1126" y="719"/>
                  </a:lnTo>
                  <a:lnTo>
                    <a:pt x="1126" y="720"/>
                  </a:lnTo>
                  <a:lnTo>
                    <a:pt x="1127" y="722"/>
                  </a:lnTo>
                  <a:lnTo>
                    <a:pt x="1127" y="724"/>
                  </a:lnTo>
                  <a:lnTo>
                    <a:pt x="1129" y="727"/>
                  </a:lnTo>
                  <a:lnTo>
                    <a:pt x="1129" y="728"/>
                  </a:lnTo>
                  <a:lnTo>
                    <a:pt x="1130" y="729"/>
                  </a:lnTo>
                  <a:lnTo>
                    <a:pt x="1131" y="730"/>
                  </a:lnTo>
                  <a:lnTo>
                    <a:pt x="1131" y="732"/>
                  </a:lnTo>
                  <a:lnTo>
                    <a:pt x="1134" y="732"/>
                  </a:lnTo>
                  <a:lnTo>
                    <a:pt x="1135" y="732"/>
                  </a:lnTo>
                  <a:lnTo>
                    <a:pt x="1137" y="730"/>
                  </a:lnTo>
                  <a:lnTo>
                    <a:pt x="1137" y="728"/>
                  </a:lnTo>
                  <a:lnTo>
                    <a:pt x="1137" y="726"/>
                  </a:lnTo>
                  <a:lnTo>
                    <a:pt x="1137" y="723"/>
                  </a:lnTo>
                  <a:lnTo>
                    <a:pt x="1137" y="722"/>
                  </a:lnTo>
                  <a:lnTo>
                    <a:pt x="1137" y="721"/>
                  </a:lnTo>
                  <a:lnTo>
                    <a:pt x="1138" y="721"/>
                  </a:lnTo>
                  <a:lnTo>
                    <a:pt x="1139" y="721"/>
                  </a:lnTo>
                  <a:lnTo>
                    <a:pt x="1140" y="721"/>
                  </a:lnTo>
                  <a:lnTo>
                    <a:pt x="1142" y="721"/>
                  </a:lnTo>
                  <a:lnTo>
                    <a:pt x="1143" y="722"/>
                  </a:lnTo>
                  <a:lnTo>
                    <a:pt x="1143" y="724"/>
                  </a:lnTo>
                  <a:lnTo>
                    <a:pt x="1142" y="726"/>
                  </a:lnTo>
                  <a:lnTo>
                    <a:pt x="1140" y="727"/>
                  </a:lnTo>
                  <a:lnTo>
                    <a:pt x="1140" y="729"/>
                  </a:lnTo>
                  <a:lnTo>
                    <a:pt x="1139" y="731"/>
                  </a:lnTo>
                  <a:lnTo>
                    <a:pt x="1139" y="734"/>
                  </a:lnTo>
                  <a:lnTo>
                    <a:pt x="1138" y="736"/>
                  </a:lnTo>
                  <a:lnTo>
                    <a:pt x="1138" y="737"/>
                  </a:lnTo>
                  <a:lnTo>
                    <a:pt x="1139" y="738"/>
                  </a:lnTo>
                  <a:lnTo>
                    <a:pt x="1142" y="738"/>
                  </a:lnTo>
                  <a:lnTo>
                    <a:pt x="1143" y="737"/>
                  </a:lnTo>
                  <a:lnTo>
                    <a:pt x="1143" y="735"/>
                  </a:lnTo>
                  <a:lnTo>
                    <a:pt x="1143" y="732"/>
                  </a:lnTo>
                  <a:lnTo>
                    <a:pt x="1144" y="730"/>
                  </a:lnTo>
                  <a:lnTo>
                    <a:pt x="1145" y="728"/>
                  </a:lnTo>
                  <a:lnTo>
                    <a:pt x="1145" y="726"/>
                  </a:lnTo>
                  <a:lnTo>
                    <a:pt x="1145" y="724"/>
                  </a:lnTo>
                  <a:lnTo>
                    <a:pt x="1146" y="724"/>
                  </a:lnTo>
                  <a:lnTo>
                    <a:pt x="1147" y="724"/>
                  </a:lnTo>
                  <a:lnTo>
                    <a:pt x="1147" y="727"/>
                  </a:lnTo>
                  <a:lnTo>
                    <a:pt x="1148" y="728"/>
                  </a:lnTo>
                  <a:lnTo>
                    <a:pt x="1151" y="729"/>
                  </a:lnTo>
                  <a:lnTo>
                    <a:pt x="1152" y="729"/>
                  </a:lnTo>
                  <a:lnTo>
                    <a:pt x="1154" y="728"/>
                  </a:lnTo>
                  <a:lnTo>
                    <a:pt x="1155" y="724"/>
                  </a:lnTo>
                  <a:lnTo>
                    <a:pt x="1153" y="723"/>
                  </a:lnTo>
                  <a:lnTo>
                    <a:pt x="1152" y="722"/>
                  </a:lnTo>
                  <a:lnTo>
                    <a:pt x="1153" y="719"/>
                  </a:lnTo>
                  <a:lnTo>
                    <a:pt x="1153" y="718"/>
                  </a:lnTo>
                  <a:lnTo>
                    <a:pt x="1154" y="716"/>
                  </a:lnTo>
                  <a:lnTo>
                    <a:pt x="1156" y="714"/>
                  </a:lnTo>
                  <a:lnTo>
                    <a:pt x="1156" y="712"/>
                  </a:lnTo>
                  <a:lnTo>
                    <a:pt x="1159" y="711"/>
                  </a:lnTo>
                  <a:lnTo>
                    <a:pt x="1160" y="708"/>
                  </a:lnTo>
                  <a:lnTo>
                    <a:pt x="1161" y="707"/>
                  </a:lnTo>
                  <a:lnTo>
                    <a:pt x="1162" y="705"/>
                  </a:lnTo>
                  <a:lnTo>
                    <a:pt x="1162" y="704"/>
                  </a:lnTo>
                  <a:lnTo>
                    <a:pt x="1162" y="702"/>
                  </a:lnTo>
                  <a:lnTo>
                    <a:pt x="1161" y="699"/>
                  </a:lnTo>
                  <a:lnTo>
                    <a:pt x="1161" y="698"/>
                  </a:lnTo>
                  <a:lnTo>
                    <a:pt x="1160" y="696"/>
                  </a:lnTo>
                  <a:lnTo>
                    <a:pt x="1158" y="695"/>
                  </a:lnTo>
                  <a:lnTo>
                    <a:pt x="1156" y="694"/>
                  </a:lnTo>
                  <a:lnTo>
                    <a:pt x="1155" y="692"/>
                  </a:lnTo>
                  <a:lnTo>
                    <a:pt x="1156" y="690"/>
                  </a:lnTo>
                  <a:lnTo>
                    <a:pt x="1159" y="690"/>
                  </a:lnTo>
                  <a:lnTo>
                    <a:pt x="1161" y="690"/>
                  </a:lnTo>
                  <a:lnTo>
                    <a:pt x="1163" y="690"/>
                  </a:lnTo>
                  <a:lnTo>
                    <a:pt x="1163" y="689"/>
                  </a:lnTo>
                  <a:lnTo>
                    <a:pt x="1164" y="687"/>
                  </a:lnTo>
                  <a:lnTo>
                    <a:pt x="1167" y="684"/>
                  </a:lnTo>
                  <a:lnTo>
                    <a:pt x="1168" y="683"/>
                  </a:lnTo>
                  <a:lnTo>
                    <a:pt x="1169" y="683"/>
                  </a:lnTo>
                  <a:lnTo>
                    <a:pt x="1170" y="686"/>
                  </a:lnTo>
                  <a:lnTo>
                    <a:pt x="1171" y="687"/>
                  </a:lnTo>
                  <a:lnTo>
                    <a:pt x="1175" y="684"/>
                  </a:lnTo>
                  <a:lnTo>
                    <a:pt x="1175" y="681"/>
                  </a:lnTo>
                  <a:lnTo>
                    <a:pt x="1175" y="679"/>
                  </a:lnTo>
                  <a:lnTo>
                    <a:pt x="1177" y="676"/>
                  </a:lnTo>
                  <a:lnTo>
                    <a:pt x="1178" y="675"/>
                  </a:lnTo>
                  <a:lnTo>
                    <a:pt x="1179" y="673"/>
                  </a:lnTo>
                  <a:lnTo>
                    <a:pt x="1178" y="671"/>
                  </a:lnTo>
                  <a:lnTo>
                    <a:pt x="1179" y="670"/>
                  </a:lnTo>
                  <a:lnTo>
                    <a:pt x="1180" y="667"/>
                  </a:lnTo>
                  <a:lnTo>
                    <a:pt x="1179" y="666"/>
                  </a:lnTo>
                  <a:lnTo>
                    <a:pt x="1178" y="666"/>
                  </a:lnTo>
                  <a:lnTo>
                    <a:pt x="1178" y="665"/>
                  </a:lnTo>
                  <a:lnTo>
                    <a:pt x="1180" y="664"/>
                  </a:lnTo>
                  <a:lnTo>
                    <a:pt x="1183" y="664"/>
                  </a:lnTo>
                  <a:lnTo>
                    <a:pt x="1185" y="662"/>
                  </a:lnTo>
                  <a:lnTo>
                    <a:pt x="1187" y="658"/>
                  </a:lnTo>
                  <a:lnTo>
                    <a:pt x="1190" y="656"/>
                  </a:lnTo>
                  <a:lnTo>
                    <a:pt x="1190" y="654"/>
                  </a:lnTo>
                  <a:lnTo>
                    <a:pt x="1192" y="652"/>
                  </a:lnTo>
                  <a:lnTo>
                    <a:pt x="1192" y="649"/>
                  </a:lnTo>
                  <a:lnTo>
                    <a:pt x="1192" y="648"/>
                  </a:lnTo>
                  <a:lnTo>
                    <a:pt x="1187" y="647"/>
                  </a:lnTo>
                  <a:lnTo>
                    <a:pt x="1185" y="646"/>
                  </a:lnTo>
                  <a:lnTo>
                    <a:pt x="1182" y="643"/>
                  </a:lnTo>
                  <a:lnTo>
                    <a:pt x="1179" y="642"/>
                  </a:lnTo>
                  <a:lnTo>
                    <a:pt x="1178" y="640"/>
                  </a:lnTo>
                  <a:lnTo>
                    <a:pt x="1177" y="638"/>
                  </a:lnTo>
                  <a:lnTo>
                    <a:pt x="1176" y="635"/>
                  </a:lnTo>
                  <a:lnTo>
                    <a:pt x="1176" y="633"/>
                  </a:lnTo>
                  <a:lnTo>
                    <a:pt x="1176" y="631"/>
                  </a:lnTo>
                  <a:lnTo>
                    <a:pt x="1177" y="628"/>
                  </a:lnTo>
                  <a:lnTo>
                    <a:pt x="1178" y="627"/>
                  </a:lnTo>
                  <a:lnTo>
                    <a:pt x="1179" y="628"/>
                  </a:lnTo>
                  <a:lnTo>
                    <a:pt x="1179" y="631"/>
                  </a:lnTo>
                  <a:lnTo>
                    <a:pt x="1178" y="632"/>
                  </a:lnTo>
                  <a:lnTo>
                    <a:pt x="1179" y="634"/>
                  </a:lnTo>
                  <a:lnTo>
                    <a:pt x="1179" y="638"/>
                  </a:lnTo>
                  <a:lnTo>
                    <a:pt x="1180" y="640"/>
                  </a:lnTo>
                  <a:lnTo>
                    <a:pt x="1182" y="641"/>
                  </a:lnTo>
                  <a:lnTo>
                    <a:pt x="1183" y="642"/>
                  </a:lnTo>
                  <a:lnTo>
                    <a:pt x="1185" y="643"/>
                  </a:lnTo>
                  <a:lnTo>
                    <a:pt x="1187" y="643"/>
                  </a:lnTo>
                  <a:lnTo>
                    <a:pt x="1190" y="643"/>
                  </a:lnTo>
                  <a:lnTo>
                    <a:pt x="1191" y="641"/>
                  </a:lnTo>
                  <a:lnTo>
                    <a:pt x="1190" y="640"/>
                  </a:lnTo>
                  <a:lnTo>
                    <a:pt x="1191" y="639"/>
                  </a:lnTo>
                  <a:lnTo>
                    <a:pt x="1192" y="639"/>
                  </a:lnTo>
                  <a:lnTo>
                    <a:pt x="1194" y="640"/>
                  </a:lnTo>
                  <a:lnTo>
                    <a:pt x="1194" y="639"/>
                  </a:lnTo>
                  <a:lnTo>
                    <a:pt x="1195" y="638"/>
                  </a:lnTo>
                  <a:lnTo>
                    <a:pt x="1195" y="635"/>
                  </a:lnTo>
                  <a:lnTo>
                    <a:pt x="1194" y="633"/>
                  </a:lnTo>
                  <a:lnTo>
                    <a:pt x="1195" y="635"/>
                  </a:lnTo>
                  <a:lnTo>
                    <a:pt x="1196" y="636"/>
                  </a:lnTo>
                  <a:lnTo>
                    <a:pt x="1198" y="638"/>
                  </a:lnTo>
                  <a:lnTo>
                    <a:pt x="1198" y="640"/>
                  </a:lnTo>
                  <a:lnTo>
                    <a:pt x="1199" y="642"/>
                  </a:lnTo>
                  <a:lnTo>
                    <a:pt x="1199" y="644"/>
                  </a:lnTo>
                  <a:lnTo>
                    <a:pt x="1198" y="650"/>
                  </a:lnTo>
                  <a:lnTo>
                    <a:pt x="1198" y="652"/>
                  </a:lnTo>
                  <a:lnTo>
                    <a:pt x="1196" y="655"/>
                  </a:lnTo>
                  <a:lnTo>
                    <a:pt x="1195" y="657"/>
                  </a:lnTo>
                  <a:lnTo>
                    <a:pt x="1195" y="658"/>
                  </a:lnTo>
                  <a:lnTo>
                    <a:pt x="1194" y="659"/>
                  </a:lnTo>
                  <a:lnTo>
                    <a:pt x="1193" y="660"/>
                  </a:lnTo>
                  <a:lnTo>
                    <a:pt x="1192" y="662"/>
                  </a:lnTo>
                  <a:lnTo>
                    <a:pt x="1192" y="665"/>
                  </a:lnTo>
                  <a:lnTo>
                    <a:pt x="1191" y="668"/>
                  </a:lnTo>
                  <a:lnTo>
                    <a:pt x="1191" y="671"/>
                  </a:lnTo>
                  <a:lnTo>
                    <a:pt x="1192" y="672"/>
                  </a:lnTo>
                  <a:lnTo>
                    <a:pt x="1192" y="673"/>
                  </a:lnTo>
                  <a:lnTo>
                    <a:pt x="1192" y="674"/>
                  </a:lnTo>
                  <a:lnTo>
                    <a:pt x="1193" y="675"/>
                  </a:lnTo>
                  <a:lnTo>
                    <a:pt x="1193" y="676"/>
                  </a:lnTo>
                  <a:lnTo>
                    <a:pt x="1194" y="678"/>
                  </a:lnTo>
                  <a:lnTo>
                    <a:pt x="1194" y="681"/>
                  </a:lnTo>
                  <a:lnTo>
                    <a:pt x="1193" y="682"/>
                  </a:lnTo>
                  <a:lnTo>
                    <a:pt x="1192" y="683"/>
                  </a:lnTo>
                  <a:lnTo>
                    <a:pt x="1192" y="684"/>
                  </a:lnTo>
                  <a:lnTo>
                    <a:pt x="1193" y="687"/>
                  </a:lnTo>
                  <a:lnTo>
                    <a:pt x="1194" y="689"/>
                  </a:lnTo>
                  <a:lnTo>
                    <a:pt x="1196" y="689"/>
                  </a:lnTo>
                  <a:lnTo>
                    <a:pt x="1199" y="689"/>
                  </a:lnTo>
                  <a:lnTo>
                    <a:pt x="1201" y="688"/>
                  </a:lnTo>
                  <a:lnTo>
                    <a:pt x="1202" y="686"/>
                  </a:lnTo>
                  <a:lnTo>
                    <a:pt x="1204" y="684"/>
                  </a:lnTo>
                  <a:lnTo>
                    <a:pt x="1204" y="683"/>
                  </a:lnTo>
                  <a:lnTo>
                    <a:pt x="1206" y="684"/>
                  </a:lnTo>
                  <a:lnTo>
                    <a:pt x="1204" y="686"/>
                  </a:lnTo>
                  <a:lnTo>
                    <a:pt x="1204" y="687"/>
                  </a:lnTo>
                  <a:lnTo>
                    <a:pt x="1204" y="688"/>
                  </a:lnTo>
                  <a:lnTo>
                    <a:pt x="1206" y="689"/>
                  </a:lnTo>
                  <a:lnTo>
                    <a:pt x="1206" y="690"/>
                  </a:lnTo>
                  <a:lnTo>
                    <a:pt x="1206" y="691"/>
                  </a:lnTo>
                  <a:lnTo>
                    <a:pt x="1207" y="694"/>
                  </a:lnTo>
                  <a:lnTo>
                    <a:pt x="1208" y="695"/>
                  </a:lnTo>
                  <a:lnTo>
                    <a:pt x="1210" y="694"/>
                  </a:lnTo>
                  <a:lnTo>
                    <a:pt x="1212" y="692"/>
                  </a:lnTo>
                  <a:lnTo>
                    <a:pt x="1215" y="689"/>
                  </a:lnTo>
                  <a:lnTo>
                    <a:pt x="1216" y="688"/>
                  </a:lnTo>
                  <a:lnTo>
                    <a:pt x="1218" y="687"/>
                  </a:lnTo>
                  <a:lnTo>
                    <a:pt x="1219" y="686"/>
                  </a:lnTo>
                  <a:lnTo>
                    <a:pt x="1219" y="688"/>
                  </a:lnTo>
                  <a:lnTo>
                    <a:pt x="1218" y="690"/>
                  </a:lnTo>
                  <a:lnTo>
                    <a:pt x="1218" y="691"/>
                  </a:lnTo>
                  <a:lnTo>
                    <a:pt x="1218" y="692"/>
                  </a:lnTo>
                  <a:lnTo>
                    <a:pt x="1220" y="692"/>
                  </a:lnTo>
                  <a:lnTo>
                    <a:pt x="1223" y="689"/>
                  </a:lnTo>
                  <a:lnTo>
                    <a:pt x="1225" y="687"/>
                  </a:lnTo>
                  <a:lnTo>
                    <a:pt x="1226" y="683"/>
                  </a:lnTo>
                  <a:lnTo>
                    <a:pt x="1225" y="680"/>
                  </a:lnTo>
                  <a:lnTo>
                    <a:pt x="1225" y="676"/>
                  </a:lnTo>
                  <a:lnTo>
                    <a:pt x="1226" y="675"/>
                  </a:lnTo>
                  <a:lnTo>
                    <a:pt x="1226" y="673"/>
                  </a:lnTo>
                  <a:lnTo>
                    <a:pt x="1230" y="673"/>
                  </a:lnTo>
                  <a:lnTo>
                    <a:pt x="1231" y="674"/>
                  </a:lnTo>
                  <a:lnTo>
                    <a:pt x="1234" y="676"/>
                  </a:lnTo>
                  <a:lnTo>
                    <a:pt x="1234" y="679"/>
                  </a:lnTo>
                  <a:lnTo>
                    <a:pt x="1236" y="679"/>
                  </a:lnTo>
                  <a:lnTo>
                    <a:pt x="1240" y="678"/>
                  </a:lnTo>
                  <a:lnTo>
                    <a:pt x="1242" y="675"/>
                  </a:lnTo>
                  <a:lnTo>
                    <a:pt x="1243" y="674"/>
                  </a:lnTo>
                  <a:lnTo>
                    <a:pt x="1248" y="672"/>
                  </a:lnTo>
                  <a:lnTo>
                    <a:pt x="1250" y="671"/>
                  </a:lnTo>
                  <a:lnTo>
                    <a:pt x="1252" y="671"/>
                  </a:lnTo>
                  <a:lnTo>
                    <a:pt x="1255" y="670"/>
                  </a:lnTo>
                  <a:lnTo>
                    <a:pt x="1257" y="668"/>
                  </a:lnTo>
                  <a:lnTo>
                    <a:pt x="1258" y="668"/>
                  </a:lnTo>
                  <a:lnTo>
                    <a:pt x="1260" y="668"/>
                  </a:lnTo>
                  <a:lnTo>
                    <a:pt x="1264" y="670"/>
                  </a:lnTo>
                  <a:lnTo>
                    <a:pt x="1265" y="670"/>
                  </a:lnTo>
                  <a:lnTo>
                    <a:pt x="1267" y="670"/>
                  </a:lnTo>
                  <a:lnTo>
                    <a:pt x="1270" y="670"/>
                  </a:lnTo>
                  <a:lnTo>
                    <a:pt x="1272" y="671"/>
                  </a:lnTo>
                  <a:lnTo>
                    <a:pt x="1271" y="673"/>
                  </a:lnTo>
                  <a:lnTo>
                    <a:pt x="1271" y="674"/>
                  </a:lnTo>
                  <a:lnTo>
                    <a:pt x="1273" y="674"/>
                  </a:lnTo>
                  <a:lnTo>
                    <a:pt x="1276" y="674"/>
                  </a:lnTo>
                  <a:lnTo>
                    <a:pt x="1279" y="673"/>
                  </a:lnTo>
                  <a:lnTo>
                    <a:pt x="1281" y="674"/>
                  </a:lnTo>
                  <a:lnTo>
                    <a:pt x="1283" y="675"/>
                  </a:lnTo>
                  <a:lnTo>
                    <a:pt x="1286" y="678"/>
                  </a:lnTo>
                  <a:lnTo>
                    <a:pt x="1288" y="679"/>
                  </a:lnTo>
                  <a:lnTo>
                    <a:pt x="1289" y="679"/>
                  </a:lnTo>
                  <a:lnTo>
                    <a:pt x="1290" y="680"/>
                  </a:lnTo>
                  <a:lnTo>
                    <a:pt x="1291" y="682"/>
                  </a:lnTo>
                  <a:lnTo>
                    <a:pt x="1295" y="682"/>
                  </a:lnTo>
                  <a:lnTo>
                    <a:pt x="1296" y="684"/>
                  </a:lnTo>
                  <a:lnTo>
                    <a:pt x="1299" y="684"/>
                  </a:lnTo>
                  <a:lnTo>
                    <a:pt x="1302" y="684"/>
                  </a:lnTo>
                  <a:lnTo>
                    <a:pt x="1304" y="682"/>
                  </a:lnTo>
                  <a:lnTo>
                    <a:pt x="1306" y="680"/>
                  </a:lnTo>
                  <a:lnTo>
                    <a:pt x="1308" y="679"/>
                  </a:lnTo>
                  <a:lnTo>
                    <a:pt x="1311" y="675"/>
                  </a:lnTo>
                  <a:lnTo>
                    <a:pt x="1314" y="674"/>
                  </a:lnTo>
                  <a:lnTo>
                    <a:pt x="1316" y="673"/>
                  </a:lnTo>
                  <a:lnTo>
                    <a:pt x="1318" y="673"/>
                  </a:lnTo>
                  <a:lnTo>
                    <a:pt x="1319" y="672"/>
                  </a:lnTo>
                  <a:lnTo>
                    <a:pt x="1319" y="671"/>
                  </a:lnTo>
                  <a:lnTo>
                    <a:pt x="1320" y="671"/>
                  </a:lnTo>
                  <a:lnTo>
                    <a:pt x="1321" y="671"/>
                  </a:lnTo>
                  <a:lnTo>
                    <a:pt x="1322" y="670"/>
                  </a:lnTo>
                  <a:lnTo>
                    <a:pt x="1324" y="670"/>
                  </a:lnTo>
                  <a:lnTo>
                    <a:pt x="1327" y="670"/>
                  </a:lnTo>
                  <a:lnTo>
                    <a:pt x="1328" y="670"/>
                  </a:lnTo>
                  <a:lnTo>
                    <a:pt x="1330" y="670"/>
                  </a:lnTo>
                  <a:lnTo>
                    <a:pt x="1334" y="670"/>
                  </a:lnTo>
                  <a:lnTo>
                    <a:pt x="1336" y="671"/>
                  </a:lnTo>
                  <a:lnTo>
                    <a:pt x="1337" y="673"/>
                  </a:lnTo>
                  <a:lnTo>
                    <a:pt x="1338" y="674"/>
                  </a:lnTo>
                  <a:lnTo>
                    <a:pt x="1340" y="675"/>
                  </a:lnTo>
                  <a:lnTo>
                    <a:pt x="1340" y="673"/>
                  </a:lnTo>
                  <a:lnTo>
                    <a:pt x="1340" y="672"/>
                  </a:lnTo>
                  <a:lnTo>
                    <a:pt x="1340" y="670"/>
                  </a:lnTo>
                  <a:lnTo>
                    <a:pt x="1340" y="667"/>
                  </a:lnTo>
                  <a:lnTo>
                    <a:pt x="1340" y="665"/>
                  </a:lnTo>
                  <a:lnTo>
                    <a:pt x="1342" y="663"/>
                  </a:lnTo>
                  <a:lnTo>
                    <a:pt x="1343" y="660"/>
                  </a:lnTo>
                  <a:lnTo>
                    <a:pt x="1345" y="659"/>
                  </a:lnTo>
                  <a:lnTo>
                    <a:pt x="1347" y="659"/>
                  </a:lnTo>
                  <a:lnTo>
                    <a:pt x="1347" y="660"/>
                  </a:lnTo>
                  <a:lnTo>
                    <a:pt x="1348" y="662"/>
                  </a:lnTo>
                  <a:lnTo>
                    <a:pt x="1351" y="663"/>
                  </a:lnTo>
                  <a:lnTo>
                    <a:pt x="1352" y="664"/>
                  </a:lnTo>
                  <a:lnTo>
                    <a:pt x="1352" y="666"/>
                  </a:lnTo>
                  <a:lnTo>
                    <a:pt x="1352" y="668"/>
                  </a:lnTo>
                  <a:lnTo>
                    <a:pt x="1352" y="671"/>
                  </a:lnTo>
                  <a:lnTo>
                    <a:pt x="1352" y="672"/>
                  </a:lnTo>
                  <a:lnTo>
                    <a:pt x="1353" y="673"/>
                  </a:lnTo>
                  <a:lnTo>
                    <a:pt x="1354" y="674"/>
                  </a:lnTo>
                  <a:lnTo>
                    <a:pt x="1355" y="674"/>
                  </a:lnTo>
                  <a:lnTo>
                    <a:pt x="1358" y="674"/>
                  </a:lnTo>
                  <a:lnTo>
                    <a:pt x="1360" y="674"/>
                  </a:lnTo>
                  <a:lnTo>
                    <a:pt x="1362" y="673"/>
                  </a:lnTo>
                  <a:lnTo>
                    <a:pt x="1362" y="674"/>
                  </a:lnTo>
                  <a:lnTo>
                    <a:pt x="1360" y="675"/>
                  </a:lnTo>
                  <a:lnTo>
                    <a:pt x="1358" y="676"/>
                  </a:lnTo>
                  <a:lnTo>
                    <a:pt x="1355" y="676"/>
                  </a:lnTo>
                  <a:lnTo>
                    <a:pt x="1353" y="675"/>
                  </a:lnTo>
                  <a:lnTo>
                    <a:pt x="1351" y="674"/>
                  </a:lnTo>
                  <a:lnTo>
                    <a:pt x="1350" y="672"/>
                  </a:lnTo>
                  <a:lnTo>
                    <a:pt x="1348" y="670"/>
                  </a:lnTo>
                  <a:lnTo>
                    <a:pt x="1348" y="667"/>
                  </a:lnTo>
                  <a:lnTo>
                    <a:pt x="1347" y="666"/>
                  </a:lnTo>
                  <a:lnTo>
                    <a:pt x="1346" y="665"/>
                  </a:lnTo>
                  <a:lnTo>
                    <a:pt x="1344" y="666"/>
                  </a:lnTo>
                  <a:lnTo>
                    <a:pt x="1344" y="667"/>
                  </a:lnTo>
                  <a:lnTo>
                    <a:pt x="1343" y="671"/>
                  </a:lnTo>
                  <a:lnTo>
                    <a:pt x="1342" y="673"/>
                  </a:lnTo>
                  <a:lnTo>
                    <a:pt x="1342" y="676"/>
                  </a:lnTo>
                  <a:lnTo>
                    <a:pt x="1342" y="679"/>
                  </a:lnTo>
                  <a:lnTo>
                    <a:pt x="1340" y="680"/>
                  </a:lnTo>
                  <a:lnTo>
                    <a:pt x="1339" y="681"/>
                  </a:lnTo>
                  <a:lnTo>
                    <a:pt x="1338" y="681"/>
                  </a:lnTo>
                  <a:lnTo>
                    <a:pt x="1335" y="681"/>
                  </a:lnTo>
                  <a:lnTo>
                    <a:pt x="1332" y="683"/>
                  </a:lnTo>
                  <a:lnTo>
                    <a:pt x="1329" y="684"/>
                  </a:lnTo>
                  <a:lnTo>
                    <a:pt x="1327" y="687"/>
                  </a:lnTo>
                  <a:lnTo>
                    <a:pt x="1324" y="689"/>
                  </a:lnTo>
                  <a:lnTo>
                    <a:pt x="1322" y="691"/>
                  </a:lnTo>
                  <a:lnTo>
                    <a:pt x="1321" y="694"/>
                  </a:lnTo>
                  <a:lnTo>
                    <a:pt x="1321" y="696"/>
                  </a:lnTo>
                  <a:lnTo>
                    <a:pt x="1320" y="698"/>
                  </a:lnTo>
                  <a:lnTo>
                    <a:pt x="1319" y="698"/>
                  </a:lnTo>
                  <a:lnTo>
                    <a:pt x="1315" y="699"/>
                  </a:lnTo>
                  <a:lnTo>
                    <a:pt x="1313" y="699"/>
                  </a:lnTo>
                  <a:lnTo>
                    <a:pt x="1311" y="699"/>
                  </a:lnTo>
                  <a:lnTo>
                    <a:pt x="1310" y="702"/>
                  </a:lnTo>
                  <a:lnTo>
                    <a:pt x="1308" y="702"/>
                  </a:lnTo>
                  <a:lnTo>
                    <a:pt x="1306" y="702"/>
                  </a:lnTo>
                  <a:lnTo>
                    <a:pt x="1302" y="700"/>
                  </a:lnTo>
                  <a:lnTo>
                    <a:pt x="1298" y="698"/>
                  </a:lnTo>
                  <a:lnTo>
                    <a:pt x="1295" y="697"/>
                  </a:lnTo>
                  <a:lnTo>
                    <a:pt x="1291" y="696"/>
                  </a:lnTo>
                  <a:lnTo>
                    <a:pt x="1287" y="695"/>
                  </a:lnTo>
                  <a:lnTo>
                    <a:pt x="1286" y="695"/>
                  </a:lnTo>
                  <a:lnTo>
                    <a:pt x="1281" y="692"/>
                  </a:lnTo>
                  <a:lnTo>
                    <a:pt x="1279" y="691"/>
                  </a:lnTo>
                  <a:lnTo>
                    <a:pt x="1276" y="690"/>
                  </a:lnTo>
                  <a:lnTo>
                    <a:pt x="1274" y="689"/>
                  </a:lnTo>
                  <a:lnTo>
                    <a:pt x="1272" y="688"/>
                  </a:lnTo>
                  <a:lnTo>
                    <a:pt x="1268" y="687"/>
                  </a:lnTo>
                  <a:lnTo>
                    <a:pt x="1266" y="687"/>
                  </a:lnTo>
                  <a:lnTo>
                    <a:pt x="1263" y="684"/>
                  </a:lnTo>
                  <a:lnTo>
                    <a:pt x="1260" y="684"/>
                  </a:lnTo>
                  <a:lnTo>
                    <a:pt x="1256" y="684"/>
                  </a:lnTo>
                  <a:lnTo>
                    <a:pt x="1254" y="684"/>
                  </a:lnTo>
                  <a:lnTo>
                    <a:pt x="1251" y="688"/>
                  </a:lnTo>
                  <a:lnTo>
                    <a:pt x="1249" y="691"/>
                  </a:lnTo>
                  <a:lnTo>
                    <a:pt x="1247" y="692"/>
                  </a:lnTo>
                  <a:lnTo>
                    <a:pt x="1243" y="695"/>
                  </a:lnTo>
                  <a:lnTo>
                    <a:pt x="1240" y="700"/>
                  </a:lnTo>
                  <a:lnTo>
                    <a:pt x="1240" y="704"/>
                  </a:lnTo>
                  <a:lnTo>
                    <a:pt x="1240" y="705"/>
                  </a:lnTo>
                  <a:lnTo>
                    <a:pt x="1239" y="708"/>
                  </a:lnTo>
                  <a:lnTo>
                    <a:pt x="1236" y="710"/>
                  </a:lnTo>
                  <a:lnTo>
                    <a:pt x="1236" y="712"/>
                  </a:lnTo>
                  <a:lnTo>
                    <a:pt x="1238" y="714"/>
                  </a:lnTo>
                  <a:lnTo>
                    <a:pt x="1240" y="715"/>
                  </a:lnTo>
                  <a:lnTo>
                    <a:pt x="1241" y="716"/>
                  </a:lnTo>
                  <a:lnTo>
                    <a:pt x="1243" y="716"/>
                  </a:lnTo>
                  <a:lnTo>
                    <a:pt x="1244" y="715"/>
                  </a:lnTo>
                  <a:lnTo>
                    <a:pt x="1247" y="713"/>
                  </a:lnTo>
                  <a:lnTo>
                    <a:pt x="1247" y="715"/>
                  </a:lnTo>
                  <a:lnTo>
                    <a:pt x="1246" y="716"/>
                  </a:lnTo>
                  <a:lnTo>
                    <a:pt x="1243" y="719"/>
                  </a:lnTo>
                  <a:lnTo>
                    <a:pt x="1243" y="720"/>
                  </a:lnTo>
                  <a:lnTo>
                    <a:pt x="1244" y="720"/>
                  </a:lnTo>
                  <a:lnTo>
                    <a:pt x="1244" y="722"/>
                  </a:lnTo>
                  <a:lnTo>
                    <a:pt x="1244" y="723"/>
                  </a:lnTo>
                  <a:lnTo>
                    <a:pt x="1243" y="726"/>
                  </a:lnTo>
                  <a:lnTo>
                    <a:pt x="1241" y="723"/>
                  </a:lnTo>
                  <a:lnTo>
                    <a:pt x="1240" y="723"/>
                  </a:lnTo>
                  <a:lnTo>
                    <a:pt x="1239" y="724"/>
                  </a:lnTo>
                  <a:lnTo>
                    <a:pt x="1238" y="726"/>
                  </a:lnTo>
                  <a:lnTo>
                    <a:pt x="1238" y="728"/>
                  </a:lnTo>
                  <a:lnTo>
                    <a:pt x="1239" y="730"/>
                  </a:lnTo>
                  <a:lnTo>
                    <a:pt x="1238" y="732"/>
                  </a:lnTo>
                  <a:lnTo>
                    <a:pt x="1239" y="734"/>
                  </a:lnTo>
                  <a:lnTo>
                    <a:pt x="1238" y="737"/>
                  </a:lnTo>
                  <a:lnTo>
                    <a:pt x="1239" y="738"/>
                  </a:lnTo>
                  <a:lnTo>
                    <a:pt x="1241" y="737"/>
                  </a:lnTo>
                  <a:lnTo>
                    <a:pt x="1243" y="737"/>
                  </a:lnTo>
                  <a:lnTo>
                    <a:pt x="1246" y="737"/>
                  </a:lnTo>
                  <a:lnTo>
                    <a:pt x="1246" y="739"/>
                  </a:lnTo>
                  <a:lnTo>
                    <a:pt x="1243" y="740"/>
                  </a:lnTo>
                  <a:lnTo>
                    <a:pt x="1241" y="742"/>
                  </a:lnTo>
                  <a:lnTo>
                    <a:pt x="1241" y="743"/>
                  </a:lnTo>
                  <a:lnTo>
                    <a:pt x="1239" y="746"/>
                  </a:lnTo>
                  <a:lnTo>
                    <a:pt x="1239" y="750"/>
                  </a:lnTo>
                  <a:lnTo>
                    <a:pt x="1240" y="752"/>
                  </a:lnTo>
                  <a:lnTo>
                    <a:pt x="1240" y="754"/>
                  </a:lnTo>
                  <a:lnTo>
                    <a:pt x="1241" y="755"/>
                  </a:lnTo>
                  <a:lnTo>
                    <a:pt x="1243" y="756"/>
                  </a:lnTo>
                  <a:lnTo>
                    <a:pt x="1246" y="756"/>
                  </a:lnTo>
                  <a:lnTo>
                    <a:pt x="1248" y="756"/>
                  </a:lnTo>
                  <a:lnTo>
                    <a:pt x="1249" y="758"/>
                  </a:lnTo>
                  <a:lnTo>
                    <a:pt x="1248" y="759"/>
                  </a:lnTo>
                  <a:lnTo>
                    <a:pt x="1243" y="759"/>
                  </a:lnTo>
                  <a:lnTo>
                    <a:pt x="1240" y="758"/>
                  </a:lnTo>
                  <a:lnTo>
                    <a:pt x="1238" y="759"/>
                  </a:lnTo>
                  <a:lnTo>
                    <a:pt x="1236" y="759"/>
                  </a:lnTo>
                  <a:lnTo>
                    <a:pt x="1236" y="760"/>
                  </a:lnTo>
                  <a:lnTo>
                    <a:pt x="1235" y="761"/>
                  </a:lnTo>
                  <a:lnTo>
                    <a:pt x="1236" y="763"/>
                  </a:lnTo>
                  <a:lnTo>
                    <a:pt x="1236" y="764"/>
                  </a:lnTo>
                  <a:lnTo>
                    <a:pt x="1238" y="766"/>
                  </a:lnTo>
                  <a:lnTo>
                    <a:pt x="1239" y="767"/>
                  </a:lnTo>
                  <a:lnTo>
                    <a:pt x="1240" y="767"/>
                  </a:lnTo>
                  <a:lnTo>
                    <a:pt x="1242" y="766"/>
                  </a:lnTo>
                  <a:lnTo>
                    <a:pt x="1244" y="767"/>
                  </a:lnTo>
                  <a:lnTo>
                    <a:pt x="1246" y="767"/>
                  </a:lnTo>
                  <a:lnTo>
                    <a:pt x="1248" y="766"/>
                  </a:lnTo>
                  <a:lnTo>
                    <a:pt x="1248" y="763"/>
                  </a:lnTo>
                  <a:lnTo>
                    <a:pt x="1249" y="761"/>
                  </a:lnTo>
                  <a:lnTo>
                    <a:pt x="1251" y="762"/>
                  </a:lnTo>
                  <a:lnTo>
                    <a:pt x="1251" y="763"/>
                  </a:lnTo>
                  <a:lnTo>
                    <a:pt x="1254" y="763"/>
                  </a:lnTo>
                  <a:lnTo>
                    <a:pt x="1256" y="762"/>
                  </a:lnTo>
                  <a:lnTo>
                    <a:pt x="1256" y="760"/>
                  </a:lnTo>
                  <a:lnTo>
                    <a:pt x="1255" y="758"/>
                  </a:lnTo>
                  <a:lnTo>
                    <a:pt x="1257" y="758"/>
                  </a:lnTo>
                  <a:lnTo>
                    <a:pt x="1258" y="759"/>
                  </a:lnTo>
                  <a:lnTo>
                    <a:pt x="1258" y="760"/>
                  </a:lnTo>
                  <a:lnTo>
                    <a:pt x="1259" y="761"/>
                  </a:lnTo>
                  <a:lnTo>
                    <a:pt x="1262" y="762"/>
                  </a:lnTo>
                  <a:lnTo>
                    <a:pt x="1263" y="762"/>
                  </a:lnTo>
                  <a:lnTo>
                    <a:pt x="1266" y="761"/>
                  </a:lnTo>
                  <a:lnTo>
                    <a:pt x="1264" y="756"/>
                  </a:lnTo>
                  <a:lnTo>
                    <a:pt x="1263" y="754"/>
                  </a:lnTo>
                  <a:lnTo>
                    <a:pt x="1263" y="753"/>
                  </a:lnTo>
                  <a:lnTo>
                    <a:pt x="1264" y="751"/>
                  </a:lnTo>
                  <a:lnTo>
                    <a:pt x="1264" y="750"/>
                  </a:lnTo>
                  <a:lnTo>
                    <a:pt x="1266" y="748"/>
                  </a:lnTo>
                  <a:lnTo>
                    <a:pt x="1267" y="751"/>
                  </a:lnTo>
                  <a:lnTo>
                    <a:pt x="1266" y="753"/>
                  </a:lnTo>
                  <a:lnTo>
                    <a:pt x="1268" y="754"/>
                  </a:lnTo>
                  <a:lnTo>
                    <a:pt x="1268" y="756"/>
                  </a:lnTo>
                  <a:lnTo>
                    <a:pt x="1270" y="758"/>
                  </a:lnTo>
                  <a:lnTo>
                    <a:pt x="1272" y="759"/>
                  </a:lnTo>
                  <a:lnTo>
                    <a:pt x="1274" y="759"/>
                  </a:lnTo>
                  <a:lnTo>
                    <a:pt x="1275" y="760"/>
                  </a:lnTo>
                  <a:lnTo>
                    <a:pt x="1278" y="760"/>
                  </a:lnTo>
                  <a:lnTo>
                    <a:pt x="1275" y="758"/>
                  </a:lnTo>
                  <a:lnTo>
                    <a:pt x="1274" y="756"/>
                  </a:lnTo>
                  <a:lnTo>
                    <a:pt x="1274" y="755"/>
                  </a:lnTo>
                  <a:lnTo>
                    <a:pt x="1275" y="754"/>
                  </a:lnTo>
                  <a:lnTo>
                    <a:pt x="1278" y="755"/>
                  </a:lnTo>
                  <a:lnTo>
                    <a:pt x="1278" y="756"/>
                  </a:lnTo>
                  <a:lnTo>
                    <a:pt x="1279" y="758"/>
                  </a:lnTo>
                  <a:lnTo>
                    <a:pt x="1280" y="759"/>
                  </a:lnTo>
                  <a:lnTo>
                    <a:pt x="1281" y="758"/>
                  </a:lnTo>
                  <a:lnTo>
                    <a:pt x="1281" y="755"/>
                  </a:lnTo>
                  <a:lnTo>
                    <a:pt x="1280" y="754"/>
                  </a:lnTo>
                  <a:lnTo>
                    <a:pt x="1281" y="753"/>
                  </a:lnTo>
                  <a:lnTo>
                    <a:pt x="1281" y="751"/>
                  </a:lnTo>
                  <a:lnTo>
                    <a:pt x="1283" y="751"/>
                  </a:lnTo>
                  <a:lnTo>
                    <a:pt x="1282" y="753"/>
                  </a:lnTo>
                  <a:lnTo>
                    <a:pt x="1283" y="755"/>
                  </a:lnTo>
                  <a:lnTo>
                    <a:pt x="1286" y="755"/>
                  </a:lnTo>
                  <a:lnTo>
                    <a:pt x="1287" y="754"/>
                  </a:lnTo>
                  <a:lnTo>
                    <a:pt x="1287" y="753"/>
                  </a:lnTo>
                  <a:lnTo>
                    <a:pt x="1290" y="753"/>
                  </a:lnTo>
                  <a:lnTo>
                    <a:pt x="1291" y="752"/>
                  </a:lnTo>
                  <a:lnTo>
                    <a:pt x="1291" y="751"/>
                  </a:lnTo>
                  <a:lnTo>
                    <a:pt x="1289" y="750"/>
                  </a:lnTo>
                  <a:lnTo>
                    <a:pt x="1288" y="750"/>
                  </a:lnTo>
                  <a:lnTo>
                    <a:pt x="1287" y="747"/>
                  </a:lnTo>
                  <a:lnTo>
                    <a:pt x="1289" y="746"/>
                  </a:lnTo>
                  <a:lnTo>
                    <a:pt x="1290" y="746"/>
                  </a:lnTo>
                  <a:lnTo>
                    <a:pt x="1292" y="747"/>
                  </a:lnTo>
                  <a:lnTo>
                    <a:pt x="1294" y="748"/>
                  </a:lnTo>
                  <a:lnTo>
                    <a:pt x="1295" y="748"/>
                  </a:lnTo>
                  <a:lnTo>
                    <a:pt x="1297" y="747"/>
                  </a:lnTo>
                  <a:lnTo>
                    <a:pt x="1299" y="748"/>
                  </a:lnTo>
                  <a:lnTo>
                    <a:pt x="1298" y="750"/>
                  </a:lnTo>
                  <a:lnTo>
                    <a:pt x="1299" y="751"/>
                  </a:lnTo>
                  <a:lnTo>
                    <a:pt x="1302" y="753"/>
                  </a:lnTo>
                  <a:lnTo>
                    <a:pt x="1302" y="754"/>
                  </a:lnTo>
                  <a:lnTo>
                    <a:pt x="1303" y="755"/>
                  </a:lnTo>
                  <a:lnTo>
                    <a:pt x="1304" y="756"/>
                  </a:lnTo>
                  <a:lnTo>
                    <a:pt x="1306" y="755"/>
                  </a:lnTo>
                  <a:lnTo>
                    <a:pt x="1308" y="754"/>
                  </a:lnTo>
                  <a:lnTo>
                    <a:pt x="1310" y="753"/>
                  </a:lnTo>
                  <a:lnTo>
                    <a:pt x="1310" y="754"/>
                  </a:lnTo>
                  <a:lnTo>
                    <a:pt x="1307" y="756"/>
                  </a:lnTo>
                  <a:lnTo>
                    <a:pt x="1307" y="759"/>
                  </a:lnTo>
                  <a:lnTo>
                    <a:pt x="1307" y="760"/>
                  </a:lnTo>
                  <a:lnTo>
                    <a:pt x="1304" y="760"/>
                  </a:lnTo>
                  <a:lnTo>
                    <a:pt x="1303" y="759"/>
                  </a:lnTo>
                  <a:lnTo>
                    <a:pt x="1299" y="755"/>
                  </a:lnTo>
                  <a:lnTo>
                    <a:pt x="1298" y="753"/>
                  </a:lnTo>
                  <a:lnTo>
                    <a:pt x="1294" y="755"/>
                  </a:lnTo>
                  <a:lnTo>
                    <a:pt x="1292" y="758"/>
                  </a:lnTo>
                  <a:lnTo>
                    <a:pt x="1289" y="761"/>
                  </a:lnTo>
                  <a:lnTo>
                    <a:pt x="1287" y="763"/>
                  </a:lnTo>
                  <a:lnTo>
                    <a:pt x="1286" y="766"/>
                  </a:lnTo>
                  <a:lnTo>
                    <a:pt x="1284" y="766"/>
                  </a:lnTo>
                  <a:lnTo>
                    <a:pt x="1284" y="768"/>
                  </a:lnTo>
                  <a:lnTo>
                    <a:pt x="1287" y="769"/>
                  </a:lnTo>
                  <a:lnTo>
                    <a:pt x="1288" y="770"/>
                  </a:lnTo>
                  <a:lnTo>
                    <a:pt x="1288" y="771"/>
                  </a:lnTo>
                  <a:lnTo>
                    <a:pt x="1290" y="772"/>
                  </a:lnTo>
                  <a:lnTo>
                    <a:pt x="1289" y="774"/>
                  </a:lnTo>
                  <a:lnTo>
                    <a:pt x="1288" y="774"/>
                  </a:lnTo>
                  <a:lnTo>
                    <a:pt x="1287" y="775"/>
                  </a:lnTo>
                  <a:lnTo>
                    <a:pt x="1284" y="776"/>
                  </a:lnTo>
                  <a:lnTo>
                    <a:pt x="1278" y="771"/>
                  </a:lnTo>
                  <a:lnTo>
                    <a:pt x="1276" y="771"/>
                  </a:lnTo>
                  <a:lnTo>
                    <a:pt x="1275" y="772"/>
                  </a:lnTo>
                  <a:lnTo>
                    <a:pt x="1273" y="775"/>
                  </a:lnTo>
                  <a:lnTo>
                    <a:pt x="1270" y="780"/>
                  </a:lnTo>
                  <a:lnTo>
                    <a:pt x="1268" y="782"/>
                  </a:lnTo>
                  <a:lnTo>
                    <a:pt x="1267" y="783"/>
                  </a:lnTo>
                  <a:lnTo>
                    <a:pt x="1265" y="784"/>
                  </a:lnTo>
                  <a:lnTo>
                    <a:pt x="1263" y="783"/>
                  </a:lnTo>
                  <a:lnTo>
                    <a:pt x="1264" y="780"/>
                  </a:lnTo>
                  <a:lnTo>
                    <a:pt x="1265" y="778"/>
                  </a:lnTo>
                  <a:lnTo>
                    <a:pt x="1264" y="777"/>
                  </a:lnTo>
                  <a:lnTo>
                    <a:pt x="1262" y="778"/>
                  </a:lnTo>
                  <a:lnTo>
                    <a:pt x="1262" y="779"/>
                  </a:lnTo>
                  <a:lnTo>
                    <a:pt x="1259" y="782"/>
                  </a:lnTo>
                  <a:lnTo>
                    <a:pt x="1259" y="783"/>
                  </a:lnTo>
                  <a:lnTo>
                    <a:pt x="1260" y="785"/>
                  </a:lnTo>
                  <a:lnTo>
                    <a:pt x="1262" y="786"/>
                  </a:lnTo>
                  <a:lnTo>
                    <a:pt x="1266" y="788"/>
                  </a:lnTo>
                  <a:lnTo>
                    <a:pt x="1267" y="788"/>
                  </a:lnTo>
                  <a:lnTo>
                    <a:pt x="1270" y="790"/>
                  </a:lnTo>
                  <a:lnTo>
                    <a:pt x="1272" y="791"/>
                  </a:lnTo>
                  <a:lnTo>
                    <a:pt x="1272" y="792"/>
                  </a:lnTo>
                  <a:lnTo>
                    <a:pt x="1268" y="792"/>
                  </a:lnTo>
                  <a:lnTo>
                    <a:pt x="1266" y="791"/>
                  </a:lnTo>
                  <a:lnTo>
                    <a:pt x="1265" y="791"/>
                  </a:lnTo>
                  <a:lnTo>
                    <a:pt x="1263" y="793"/>
                  </a:lnTo>
                  <a:lnTo>
                    <a:pt x="1262" y="793"/>
                  </a:lnTo>
                  <a:lnTo>
                    <a:pt x="1260" y="794"/>
                  </a:lnTo>
                  <a:lnTo>
                    <a:pt x="1262" y="796"/>
                  </a:lnTo>
                  <a:lnTo>
                    <a:pt x="1263" y="798"/>
                  </a:lnTo>
                  <a:lnTo>
                    <a:pt x="1260" y="799"/>
                  </a:lnTo>
                  <a:lnTo>
                    <a:pt x="1259" y="799"/>
                  </a:lnTo>
                  <a:lnTo>
                    <a:pt x="1256" y="800"/>
                  </a:lnTo>
                  <a:lnTo>
                    <a:pt x="1255" y="802"/>
                  </a:lnTo>
                  <a:lnTo>
                    <a:pt x="1254" y="804"/>
                  </a:lnTo>
                  <a:lnTo>
                    <a:pt x="1252" y="808"/>
                  </a:lnTo>
                  <a:lnTo>
                    <a:pt x="1252" y="809"/>
                  </a:lnTo>
                  <a:lnTo>
                    <a:pt x="1254" y="812"/>
                  </a:lnTo>
                  <a:lnTo>
                    <a:pt x="1254" y="815"/>
                  </a:lnTo>
                  <a:lnTo>
                    <a:pt x="1252" y="817"/>
                  </a:lnTo>
                  <a:lnTo>
                    <a:pt x="1251" y="819"/>
                  </a:lnTo>
                  <a:lnTo>
                    <a:pt x="1250" y="819"/>
                  </a:lnTo>
                  <a:lnTo>
                    <a:pt x="1250" y="822"/>
                  </a:lnTo>
                  <a:lnTo>
                    <a:pt x="1249" y="822"/>
                  </a:lnTo>
                  <a:lnTo>
                    <a:pt x="1248" y="822"/>
                  </a:lnTo>
                  <a:lnTo>
                    <a:pt x="1246" y="822"/>
                  </a:lnTo>
                  <a:lnTo>
                    <a:pt x="1244" y="820"/>
                  </a:lnTo>
                  <a:lnTo>
                    <a:pt x="1242" y="819"/>
                  </a:lnTo>
                  <a:lnTo>
                    <a:pt x="1240" y="818"/>
                  </a:lnTo>
                  <a:lnTo>
                    <a:pt x="1239" y="818"/>
                  </a:lnTo>
                  <a:lnTo>
                    <a:pt x="1239" y="820"/>
                  </a:lnTo>
                  <a:lnTo>
                    <a:pt x="1240" y="822"/>
                  </a:lnTo>
                  <a:lnTo>
                    <a:pt x="1241" y="822"/>
                  </a:lnTo>
                  <a:lnTo>
                    <a:pt x="1242" y="822"/>
                  </a:lnTo>
                  <a:lnTo>
                    <a:pt x="1242" y="823"/>
                  </a:lnTo>
                  <a:lnTo>
                    <a:pt x="1244" y="824"/>
                  </a:lnTo>
                  <a:lnTo>
                    <a:pt x="1246" y="824"/>
                  </a:lnTo>
                  <a:lnTo>
                    <a:pt x="1247" y="825"/>
                  </a:lnTo>
                  <a:lnTo>
                    <a:pt x="1246" y="826"/>
                  </a:lnTo>
                  <a:lnTo>
                    <a:pt x="1243" y="825"/>
                  </a:lnTo>
                  <a:lnTo>
                    <a:pt x="1242" y="824"/>
                  </a:lnTo>
                  <a:lnTo>
                    <a:pt x="1240" y="824"/>
                  </a:lnTo>
                  <a:lnTo>
                    <a:pt x="1239" y="823"/>
                  </a:lnTo>
                  <a:lnTo>
                    <a:pt x="1238" y="823"/>
                  </a:lnTo>
                  <a:lnTo>
                    <a:pt x="1235" y="823"/>
                  </a:lnTo>
                  <a:lnTo>
                    <a:pt x="1234" y="823"/>
                  </a:lnTo>
                  <a:lnTo>
                    <a:pt x="1233" y="823"/>
                  </a:lnTo>
                  <a:lnTo>
                    <a:pt x="1233" y="825"/>
                  </a:lnTo>
                  <a:lnTo>
                    <a:pt x="1233" y="827"/>
                  </a:lnTo>
                  <a:lnTo>
                    <a:pt x="1232" y="828"/>
                  </a:lnTo>
                  <a:lnTo>
                    <a:pt x="1231" y="830"/>
                  </a:lnTo>
                  <a:lnTo>
                    <a:pt x="1232" y="831"/>
                  </a:lnTo>
                  <a:lnTo>
                    <a:pt x="1233" y="831"/>
                  </a:lnTo>
                  <a:lnTo>
                    <a:pt x="1234" y="831"/>
                  </a:lnTo>
                  <a:lnTo>
                    <a:pt x="1236" y="831"/>
                  </a:lnTo>
                  <a:lnTo>
                    <a:pt x="1238" y="832"/>
                  </a:lnTo>
                  <a:lnTo>
                    <a:pt x="1238" y="833"/>
                  </a:lnTo>
                  <a:lnTo>
                    <a:pt x="1236" y="834"/>
                  </a:lnTo>
                  <a:lnTo>
                    <a:pt x="1235" y="834"/>
                  </a:lnTo>
                  <a:lnTo>
                    <a:pt x="1233" y="835"/>
                  </a:lnTo>
                  <a:lnTo>
                    <a:pt x="1234" y="836"/>
                  </a:lnTo>
                  <a:lnTo>
                    <a:pt x="1236" y="836"/>
                  </a:lnTo>
                  <a:lnTo>
                    <a:pt x="1239" y="838"/>
                  </a:lnTo>
                  <a:lnTo>
                    <a:pt x="1239" y="840"/>
                  </a:lnTo>
                  <a:lnTo>
                    <a:pt x="1241" y="841"/>
                  </a:lnTo>
                  <a:lnTo>
                    <a:pt x="1241" y="842"/>
                  </a:lnTo>
                  <a:lnTo>
                    <a:pt x="1242" y="843"/>
                  </a:lnTo>
                  <a:lnTo>
                    <a:pt x="1243" y="844"/>
                  </a:lnTo>
                  <a:lnTo>
                    <a:pt x="1246" y="843"/>
                  </a:lnTo>
                  <a:lnTo>
                    <a:pt x="1246" y="846"/>
                  </a:lnTo>
                  <a:lnTo>
                    <a:pt x="1248" y="846"/>
                  </a:lnTo>
                  <a:lnTo>
                    <a:pt x="1248" y="844"/>
                  </a:lnTo>
                  <a:lnTo>
                    <a:pt x="1248" y="843"/>
                  </a:lnTo>
                  <a:lnTo>
                    <a:pt x="1248" y="841"/>
                  </a:lnTo>
                  <a:lnTo>
                    <a:pt x="1249" y="841"/>
                  </a:lnTo>
                  <a:lnTo>
                    <a:pt x="1250" y="842"/>
                  </a:lnTo>
                  <a:lnTo>
                    <a:pt x="1250" y="843"/>
                  </a:lnTo>
                  <a:lnTo>
                    <a:pt x="1251" y="843"/>
                  </a:lnTo>
                  <a:lnTo>
                    <a:pt x="1252" y="842"/>
                  </a:lnTo>
                  <a:lnTo>
                    <a:pt x="1251" y="841"/>
                  </a:lnTo>
                  <a:lnTo>
                    <a:pt x="1251" y="839"/>
                  </a:lnTo>
                  <a:lnTo>
                    <a:pt x="1252" y="839"/>
                  </a:lnTo>
                  <a:lnTo>
                    <a:pt x="1254" y="839"/>
                  </a:lnTo>
                  <a:lnTo>
                    <a:pt x="1254" y="840"/>
                  </a:lnTo>
                  <a:lnTo>
                    <a:pt x="1255" y="841"/>
                  </a:lnTo>
                  <a:lnTo>
                    <a:pt x="1255" y="840"/>
                  </a:lnTo>
                  <a:lnTo>
                    <a:pt x="1256" y="839"/>
                  </a:lnTo>
                  <a:lnTo>
                    <a:pt x="1256" y="838"/>
                  </a:lnTo>
                  <a:lnTo>
                    <a:pt x="1256" y="836"/>
                  </a:lnTo>
                  <a:lnTo>
                    <a:pt x="1256" y="835"/>
                  </a:lnTo>
                  <a:lnTo>
                    <a:pt x="1258" y="835"/>
                  </a:lnTo>
                  <a:lnTo>
                    <a:pt x="1259" y="836"/>
                  </a:lnTo>
                  <a:lnTo>
                    <a:pt x="1260" y="836"/>
                  </a:lnTo>
                  <a:lnTo>
                    <a:pt x="1262" y="836"/>
                  </a:lnTo>
                  <a:lnTo>
                    <a:pt x="1263" y="836"/>
                  </a:lnTo>
                  <a:lnTo>
                    <a:pt x="1264" y="836"/>
                  </a:lnTo>
                  <a:lnTo>
                    <a:pt x="1265" y="835"/>
                  </a:lnTo>
                  <a:lnTo>
                    <a:pt x="1265" y="834"/>
                  </a:lnTo>
                  <a:lnTo>
                    <a:pt x="1266" y="834"/>
                  </a:lnTo>
                  <a:lnTo>
                    <a:pt x="1267" y="834"/>
                  </a:lnTo>
                  <a:lnTo>
                    <a:pt x="1267" y="835"/>
                  </a:lnTo>
                  <a:lnTo>
                    <a:pt x="1270" y="836"/>
                  </a:lnTo>
                  <a:lnTo>
                    <a:pt x="1271" y="836"/>
                  </a:lnTo>
                  <a:lnTo>
                    <a:pt x="1272" y="835"/>
                  </a:lnTo>
                  <a:lnTo>
                    <a:pt x="1273" y="836"/>
                  </a:lnTo>
                  <a:lnTo>
                    <a:pt x="1275" y="835"/>
                  </a:lnTo>
                  <a:lnTo>
                    <a:pt x="1276" y="835"/>
                  </a:lnTo>
                  <a:lnTo>
                    <a:pt x="1278" y="834"/>
                  </a:lnTo>
                  <a:lnTo>
                    <a:pt x="1279" y="834"/>
                  </a:lnTo>
                  <a:lnTo>
                    <a:pt x="1280" y="834"/>
                  </a:lnTo>
                  <a:lnTo>
                    <a:pt x="1281" y="833"/>
                  </a:lnTo>
                  <a:lnTo>
                    <a:pt x="1282" y="833"/>
                  </a:lnTo>
                  <a:lnTo>
                    <a:pt x="1284" y="833"/>
                  </a:lnTo>
                  <a:lnTo>
                    <a:pt x="1284" y="834"/>
                  </a:lnTo>
                  <a:lnTo>
                    <a:pt x="1286" y="835"/>
                  </a:lnTo>
                  <a:lnTo>
                    <a:pt x="1286" y="836"/>
                  </a:lnTo>
                  <a:lnTo>
                    <a:pt x="1288" y="838"/>
                  </a:lnTo>
                  <a:lnTo>
                    <a:pt x="1289" y="838"/>
                  </a:lnTo>
                  <a:lnTo>
                    <a:pt x="1290" y="836"/>
                  </a:lnTo>
                  <a:lnTo>
                    <a:pt x="1291" y="835"/>
                  </a:lnTo>
                  <a:lnTo>
                    <a:pt x="1291" y="836"/>
                  </a:lnTo>
                  <a:lnTo>
                    <a:pt x="1291" y="838"/>
                  </a:lnTo>
                  <a:lnTo>
                    <a:pt x="1291" y="839"/>
                  </a:lnTo>
                  <a:lnTo>
                    <a:pt x="1292" y="840"/>
                  </a:lnTo>
                  <a:lnTo>
                    <a:pt x="1295" y="839"/>
                  </a:lnTo>
                  <a:lnTo>
                    <a:pt x="1295" y="836"/>
                  </a:lnTo>
                  <a:lnTo>
                    <a:pt x="1296" y="835"/>
                  </a:lnTo>
                  <a:lnTo>
                    <a:pt x="1298" y="835"/>
                  </a:lnTo>
                  <a:lnTo>
                    <a:pt x="1300" y="836"/>
                  </a:lnTo>
                  <a:lnTo>
                    <a:pt x="1299" y="838"/>
                  </a:lnTo>
                  <a:lnTo>
                    <a:pt x="1298" y="839"/>
                  </a:lnTo>
                  <a:lnTo>
                    <a:pt x="1298" y="840"/>
                  </a:lnTo>
                  <a:lnTo>
                    <a:pt x="1297" y="840"/>
                  </a:lnTo>
                  <a:lnTo>
                    <a:pt x="1298" y="841"/>
                  </a:lnTo>
                  <a:lnTo>
                    <a:pt x="1299" y="841"/>
                  </a:lnTo>
                  <a:lnTo>
                    <a:pt x="1300" y="840"/>
                  </a:lnTo>
                  <a:lnTo>
                    <a:pt x="1303" y="841"/>
                  </a:lnTo>
                  <a:lnTo>
                    <a:pt x="1304" y="841"/>
                  </a:lnTo>
                  <a:lnTo>
                    <a:pt x="1305" y="840"/>
                  </a:lnTo>
                  <a:lnTo>
                    <a:pt x="1307" y="840"/>
                  </a:lnTo>
                  <a:lnTo>
                    <a:pt x="1310" y="840"/>
                  </a:lnTo>
                  <a:lnTo>
                    <a:pt x="1312" y="840"/>
                  </a:lnTo>
                  <a:lnTo>
                    <a:pt x="1315" y="840"/>
                  </a:lnTo>
                  <a:lnTo>
                    <a:pt x="1316" y="839"/>
                  </a:lnTo>
                  <a:lnTo>
                    <a:pt x="1318" y="839"/>
                  </a:lnTo>
                  <a:lnTo>
                    <a:pt x="1319" y="838"/>
                  </a:lnTo>
                  <a:lnTo>
                    <a:pt x="1320" y="836"/>
                  </a:lnTo>
                  <a:lnTo>
                    <a:pt x="1321" y="836"/>
                  </a:lnTo>
                  <a:lnTo>
                    <a:pt x="1323" y="835"/>
                  </a:lnTo>
                  <a:lnTo>
                    <a:pt x="1324" y="834"/>
                  </a:lnTo>
                  <a:lnTo>
                    <a:pt x="1328" y="834"/>
                  </a:lnTo>
                  <a:lnTo>
                    <a:pt x="1330" y="834"/>
                  </a:lnTo>
                  <a:lnTo>
                    <a:pt x="1331" y="834"/>
                  </a:lnTo>
                  <a:lnTo>
                    <a:pt x="1334" y="833"/>
                  </a:lnTo>
                  <a:lnTo>
                    <a:pt x="1336" y="834"/>
                  </a:lnTo>
                  <a:lnTo>
                    <a:pt x="1338" y="834"/>
                  </a:lnTo>
                  <a:lnTo>
                    <a:pt x="1339" y="834"/>
                  </a:lnTo>
                  <a:lnTo>
                    <a:pt x="1343" y="835"/>
                  </a:lnTo>
                  <a:lnTo>
                    <a:pt x="1345" y="835"/>
                  </a:lnTo>
                  <a:lnTo>
                    <a:pt x="1346" y="835"/>
                  </a:lnTo>
                  <a:lnTo>
                    <a:pt x="1347" y="836"/>
                  </a:lnTo>
                  <a:lnTo>
                    <a:pt x="1348" y="838"/>
                  </a:lnTo>
                  <a:lnTo>
                    <a:pt x="1351" y="838"/>
                  </a:lnTo>
                  <a:lnTo>
                    <a:pt x="1351" y="836"/>
                  </a:lnTo>
                  <a:lnTo>
                    <a:pt x="1353" y="836"/>
                  </a:lnTo>
                  <a:lnTo>
                    <a:pt x="1354" y="836"/>
                  </a:lnTo>
                  <a:lnTo>
                    <a:pt x="1355" y="835"/>
                  </a:lnTo>
                  <a:lnTo>
                    <a:pt x="1358" y="834"/>
                  </a:lnTo>
                  <a:lnTo>
                    <a:pt x="1359" y="833"/>
                  </a:lnTo>
                  <a:lnTo>
                    <a:pt x="1361" y="833"/>
                  </a:lnTo>
                  <a:lnTo>
                    <a:pt x="1362" y="832"/>
                  </a:lnTo>
                  <a:lnTo>
                    <a:pt x="1366" y="831"/>
                  </a:lnTo>
                  <a:lnTo>
                    <a:pt x="1368" y="831"/>
                  </a:lnTo>
                  <a:lnTo>
                    <a:pt x="1370" y="830"/>
                  </a:lnTo>
                  <a:lnTo>
                    <a:pt x="1374" y="828"/>
                  </a:lnTo>
                  <a:lnTo>
                    <a:pt x="1377" y="828"/>
                  </a:lnTo>
                  <a:lnTo>
                    <a:pt x="1382" y="827"/>
                  </a:lnTo>
                  <a:lnTo>
                    <a:pt x="1388" y="827"/>
                  </a:lnTo>
                  <a:lnTo>
                    <a:pt x="1384" y="828"/>
                  </a:lnTo>
                  <a:lnTo>
                    <a:pt x="1376" y="830"/>
                  </a:lnTo>
                  <a:lnTo>
                    <a:pt x="1369" y="832"/>
                  </a:lnTo>
                  <a:lnTo>
                    <a:pt x="1366" y="833"/>
                  </a:lnTo>
                  <a:lnTo>
                    <a:pt x="1364" y="834"/>
                  </a:lnTo>
                  <a:lnTo>
                    <a:pt x="1362" y="834"/>
                  </a:lnTo>
                  <a:lnTo>
                    <a:pt x="1360" y="835"/>
                  </a:lnTo>
                  <a:lnTo>
                    <a:pt x="1356" y="838"/>
                  </a:lnTo>
                  <a:lnTo>
                    <a:pt x="1354" y="838"/>
                  </a:lnTo>
                  <a:lnTo>
                    <a:pt x="1352" y="839"/>
                  </a:lnTo>
                  <a:lnTo>
                    <a:pt x="1348" y="840"/>
                  </a:lnTo>
                  <a:lnTo>
                    <a:pt x="1344" y="840"/>
                  </a:lnTo>
                  <a:lnTo>
                    <a:pt x="1339" y="840"/>
                  </a:lnTo>
                  <a:lnTo>
                    <a:pt x="1335" y="839"/>
                  </a:lnTo>
                  <a:lnTo>
                    <a:pt x="1329" y="838"/>
                  </a:lnTo>
                  <a:lnTo>
                    <a:pt x="1327" y="838"/>
                  </a:lnTo>
                  <a:lnTo>
                    <a:pt x="1323" y="839"/>
                  </a:lnTo>
                  <a:lnTo>
                    <a:pt x="1321" y="841"/>
                  </a:lnTo>
                  <a:lnTo>
                    <a:pt x="1319" y="844"/>
                  </a:lnTo>
                  <a:lnTo>
                    <a:pt x="1318" y="847"/>
                  </a:lnTo>
                  <a:lnTo>
                    <a:pt x="1318" y="849"/>
                  </a:lnTo>
                  <a:lnTo>
                    <a:pt x="1316" y="851"/>
                  </a:lnTo>
                  <a:lnTo>
                    <a:pt x="1315" y="854"/>
                  </a:lnTo>
                  <a:lnTo>
                    <a:pt x="1315" y="856"/>
                  </a:lnTo>
                  <a:lnTo>
                    <a:pt x="1313" y="857"/>
                  </a:lnTo>
                  <a:lnTo>
                    <a:pt x="1312" y="858"/>
                  </a:lnTo>
                  <a:lnTo>
                    <a:pt x="1310" y="858"/>
                  </a:lnTo>
                  <a:lnTo>
                    <a:pt x="1305" y="859"/>
                  </a:lnTo>
                  <a:lnTo>
                    <a:pt x="1305" y="862"/>
                  </a:lnTo>
                  <a:lnTo>
                    <a:pt x="1304" y="864"/>
                  </a:lnTo>
                  <a:lnTo>
                    <a:pt x="1302" y="865"/>
                  </a:lnTo>
                  <a:lnTo>
                    <a:pt x="1299" y="865"/>
                  </a:lnTo>
                  <a:lnTo>
                    <a:pt x="1298" y="867"/>
                  </a:lnTo>
                  <a:lnTo>
                    <a:pt x="1296" y="872"/>
                  </a:lnTo>
                  <a:lnTo>
                    <a:pt x="1295" y="873"/>
                  </a:lnTo>
                  <a:lnTo>
                    <a:pt x="1295" y="876"/>
                  </a:lnTo>
                  <a:lnTo>
                    <a:pt x="1294" y="878"/>
                  </a:lnTo>
                  <a:lnTo>
                    <a:pt x="1292" y="878"/>
                  </a:lnTo>
                  <a:lnTo>
                    <a:pt x="1290" y="878"/>
                  </a:lnTo>
                  <a:lnTo>
                    <a:pt x="1287" y="879"/>
                  </a:lnTo>
                  <a:lnTo>
                    <a:pt x="1283" y="880"/>
                  </a:lnTo>
                  <a:lnTo>
                    <a:pt x="1280" y="886"/>
                  </a:lnTo>
                  <a:lnTo>
                    <a:pt x="1279" y="888"/>
                  </a:lnTo>
                  <a:lnTo>
                    <a:pt x="1278" y="888"/>
                  </a:lnTo>
                  <a:lnTo>
                    <a:pt x="1278" y="889"/>
                  </a:lnTo>
                  <a:lnTo>
                    <a:pt x="1276" y="889"/>
                  </a:lnTo>
                  <a:lnTo>
                    <a:pt x="1275" y="891"/>
                  </a:lnTo>
                  <a:lnTo>
                    <a:pt x="1274" y="894"/>
                  </a:lnTo>
                  <a:lnTo>
                    <a:pt x="1273" y="894"/>
                  </a:lnTo>
                  <a:lnTo>
                    <a:pt x="1272" y="895"/>
                  </a:lnTo>
                  <a:lnTo>
                    <a:pt x="1272" y="896"/>
                  </a:lnTo>
                  <a:lnTo>
                    <a:pt x="1271" y="897"/>
                  </a:lnTo>
                  <a:lnTo>
                    <a:pt x="1270" y="898"/>
                  </a:lnTo>
                  <a:lnTo>
                    <a:pt x="1268" y="899"/>
                  </a:lnTo>
                  <a:lnTo>
                    <a:pt x="1270" y="900"/>
                  </a:lnTo>
                  <a:lnTo>
                    <a:pt x="1271" y="900"/>
                  </a:lnTo>
                  <a:lnTo>
                    <a:pt x="1272" y="900"/>
                  </a:lnTo>
                  <a:lnTo>
                    <a:pt x="1273" y="900"/>
                  </a:lnTo>
                  <a:lnTo>
                    <a:pt x="1274" y="900"/>
                  </a:lnTo>
                  <a:lnTo>
                    <a:pt x="1276" y="899"/>
                  </a:lnTo>
                  <a:lnTo>
                    <a:pt x="1276" y="898"/>
                  </a:lnTo>
                  <a:lnTo>
                    <a:pt x="1279" y="897"/>
                  </a:lnTo>
                  <a:lnTo>
                    <a:pt x="1280" y="897"/>
                  </a:lnTo>
                  <a:lnTo>
                    <a:pt x="1282" y="896"/>
                  </a:lnTo>
                  <a:lnTo>
                    <a:pt x="1283" y="895"/>
                  </a:lnTo>
                  <a:lnTo>
                    <a:pt x="1286" y="894"/>
                  </a:lnTo>
                  <a:lnTo>
                    <a:pt x="1288" y="892"/>
                  </a:lnTo>
                  <a:lnTo>
                    <a:pt x="1290" y="892"/>
                  </a:lnTo>
                  <a:lnTo>
                    <a:pt x="1291" y="892"/>
                  </a:lnTo>
                  <a:lnTo>
                    <a:pt x="1291" y="891"/>
                  </a:lnTo>
                  <a:lnTo>
                    <a:pt x="1292" y="890"/>
                  </a:lnTo>
                  <a:lnTo>
                    <a:pt x="1294" y="890"/>
                  </a:lnTo>
                  <a:lnTo>
                    <a:pt x="1295" y="891"/>
                  </a:lnTo>
                  <a:lnTo>
                    <a:pt x="1296" y="892"/>
                  </a:lnTo>
                  <a:lnTo>
                    <a:pt x="1298" y="894"/>
                  </a:lnTo>
                  <a:lnTo>
                    <a:pt x="1299" y="894"/>
                  </a:lnTo>
                  <a:lnTo>
                    <a:pt x="1300" y="895"/>
                  </a:lnTo>
                  <a:lnTo>
                    <a:pt x="1302" y="896"/>
                  </a:lnTo>
                  <a:lnTo>
                    <a:pt x="1304" y="897"/>
                  </a:lnTo>
                  <a:lnTo>
                    <a:pt x="1305" y="898"/>
                  </a:lnTo>
                  <a:lnTo>
                    <a:pt x="1306" y="898"/>
                  </a:lnTo>
                  <a:lnTo>
                    <a:pt x="1307" y="897"/>
                  </a:lnTo>
                  <a:lnTo>
                    <a:pt x="1308" y="897"/>
                  </a:lnTo>
                  <a:lnTo>
                    <a:pt x="1308" y="898"/>
                  </a:lnTo>
                  <a:lnTo>
                    <a:pt x="1308" y="899"/>
                  </a:lnTo>
                  <a:lnTo>
                    <a:pt x="1311" y="900"/>
                  </a:lnTo>
                  <a:lnTo>
                    <a:pt x="1310" y="902"/>
                  </a:lnTo>
                  <a:lnTo>
                    <a:pt x="1308" y="903"/>
                  </a:lnTo>
                  <a:lnTo>
                    <a:pt x="1308" y="904"/>
                  </a:lnTo>
                  <a:lnTo>
                    <a:pt x="1306" y="904"/>
                  </a:lnTo>
                  <a:lnTo>
                    <a:pt x="1305" y="903"/>
                  </a:lnTo>
                  <a:lnTo>
                    <a:pt x="1304" y="902"/>
                  </a:lnTo>
                  <a:lnTo>
                    <a:pt x="1302" y="902"/>
                  </a:lnTo>
                  <a:lnTo>
                    <a:pt x="1299" y="905"/>
                  </a:lnTo>
                  <a:lnTo>
                    <a:pt x="1298" y="907"/>
                  </a:lnTo>
                  <a:lnTo>
                    <a:pt x="1297" y="907"/>
                  </a:lnTo>
                  <a:lnTo>
                    <a:pt x="1296" y="906"/>
                  </a:lnTo>
                  <a:lnTo>
                    <a:pt x="1297" y="905"/>
                  </a:lnTo>
                  <a:lnTo>
                    <a:pt x="1295" y="904"/>
                  </a:lnTo>
                  <a:lnTo>
                    <a:pt x="1292" y="904"/>
                  </a:lnTo>
                  <a:lnTo>
                    <a:pt x="1291" y="902"/>
                  </a:lnTo>
                  <a:lnTo>
                    <a:pt x="1292" y="899"/>
                  </a:lnTo>
                  <a:lnTo>
                    <a:pt x="1294" y="898"/>
                  </a:lnTo>
                  <a:lnTo>
                    <a:pt x="1292" y="897"/>
                  </a:lnTo>
                  <a:lnTo>
                    <a:pt x="1290" y="897"/>
                  </a:lnTo>
                  <a:lnTo>
                    <a:pt x="1287" y="898"/>
                  </a:lnTo>
                  <a:lnTo>
                    <a:pt x="1286" y="898"/>
                  </a:lnTo>
                  <a:lnTo>
                    <a:pt x="1281" y="903"/>
                  </a:lnTo>
                  <a:lnTo>
                    <a:pt x="1276" y="908"/>
                  </a:lnTo>
                  <a:lnTo>
                    <a:pt x="1274" y="911"/>
                  </a:lnTo>
                  <a:lnTo>
                    <a:pt x="1272" y="914"/>
                  </a:lnTo>
                  <a:lnTo>
                    <a:pt x="1270" y="916"/>
                  </a:lnTo>
                  <a:lnTo>
                    <a:pt x="1268" y="919"/>
                  </a:lnTo>
                  <a:lnTo>
                    <a:pt x="1270" y="921"/>
                  </a:lnTo>
                  <a:lnTo>
                    <a:pt x="1270" y="922"/>
                  </a:lnTo>
                  <a:lnTo>
                    <a:pt x="1271" y="924"/>
                  </a:lnTo>
                  <a:lnTo>
                    <a:pt x="1272" y="926"/>
                  </a:lnTo>
                  <a:lnTo>
                    <a:pt x="1274" y="926"/>
                  </a:lnTo>
                  <a:lnTo>
                    <a:pt x="1276" y="926"/>
                  </a:lnTo>
                  <a:lnTo>
                    <a:pt x="1278" y="926"/>
                  </a:lnTo>
                  <a:lnTo>
                    <a:pt x="1280" y="926"/>
                  </a:lnTo>
                  <a:lnTo>
                    <a:pt x="1281" y="926"/>
                  </a:lnTo>
                  <a:lnTo>
                    <a:pt x="1283" y="924"/>
                  </a:lnTo>
                  <a:lnTo>
                    <a:pt x="1284" y="923"/>
                  </a:lnTo>
                  <a:lnTo>
                    <a:pt x="1284" y="924"/>
                  </a:lnTo>
                  <a:lnTo>
                    <a:pt x="1284" y="926"/>
                  </a:lnTo>
                  <a:lnTo>
                    <a:pt x="1286" y="927"/>
                  </a:lnTo>
                  <a:lnTo>
                    <a:pt x="1287" y="928"/>
                  </a:lnTo>
                  <a:lnTo>
                    <a:pt x="1289" y="929"/>
                  </a:lnTo>
                  <a:lnTo>
                    <a:pt x="1291" y="930"/>
                  </a:lnTo>
                  <a:lnTo>
                    <a:pt x="1292" y="931"/>
                  </a:lnTo>
                  <a:lnTo>
                    <a:pt x="1294" y="932"/>
                  </a:lnTo>
                  <a:lnTo>
                    <a:pt x="1292" y="932"/>
                  </a:lnTo>
                  <a:lnTo>
                    <a:pt x="1290" y="932"/>
                  </a:lnTo>
                  <a:lnTo>
                    <a:pt x="1289" y="931"/>
                  </a:lnTo>
                  <a:lnTo>
                    <a:pt x="1286" y="930"/>
                  </a:lnTo>
                  <a:lnTo>
                    <a:pt x="1283" y="930"/>
                  </a:lnTo>
                  <a:lnTo>
                    <a:pt x="1280" y="929"/>
                  </a:lnTo>
                  <a:lnTo>
                    <a:pt x="1279" y="928"/>
                  </a:lnTo>
                  <a:lnTo>
                    <a:pt x="1278" y="928"/>
                  </a:lnTo>
                  <a:lnTo>
                    <a:pt x="1276" y="928"/>
                  </a:lnTo>
                  <a:lnTo>
                    <a:pt x="1275" y="928"/>
                  </a:lnTo>
                  <a:lnTo>
                    <a:pt x="1274" y="929"/>
                  </a:lnTo>
                  <a:lnTo>
                    <a:pt x="1274" y="931"/>
                  </a:lnTo>
                  <a:lnTo>
                    <a:pt x="1274" y="934"/>
                  </a:lnTo>
                  <a:lnTo>
                    <a:pt x="1274" y="935"/>
                  </a:lnTo>
                  <a:lnTo>
                    <a:pt x="1275" y="936"/>
                  </a:lnTo>
                  <a:lnTo>
                    <a:pt x="1276" y="938"/>
                  </a:lnTo>
                  <a:lnTo>
                    <a:pt x="1276" y="939"/>
                  </a:lnTo>
                  <a:lnTo>
                    <a:pt x="1278" y="939"/>
                  </a:lnTo>
                  <a:lnTo>
                    <a:pt x="1279" y="940"/>
                  </a:lnTo>
                  <a:lnTo>
                    <a:pt x="1279" y="942"/>
                  </a:lnTo>
                  <a:lnTo>
                    <a:pt x="1278" y="942"/>
                  </a:lnTo>
                  <a:lnTo>
                    <a:pt x="1276" y="940"/>
                  </a:lnTo>
                  <a:lnTo>
                    <a:pt x="1274" y="939"/>
                  </a:lnTo>
                  <a:lnTo>
                    <a:pt x="1274" y="937"/>
                  </a:lnTo>
                  <a:lnTo>
                    <a:pt x="1273" y="936"/>
                  </a:lnTo>
                  <a:lnTo>
                    <a:pt x="1273" y="934"/>
                  </a:lnTo>
                  <a:lnTo>
                    <a:pt x="1271" y="934"/>
                  </a:lnTo>
                  <a:lnTo>
                    <a:pt x="1270" y="935"/>
                  </a:lnTo>
                  <a:lnTo>
                    <a:pt x="1268" y="935"/>
                  </a:lnTo>
                  <a:lnTo>
                    <a:pt x="1267" y="937"/>
                  </a:lnTo>
                  <a:lnTo>
                    <a:pt x="1266" y="938"/>
                  </a:lnTo>
                  <a:lnTo>
                    <a:pt x="1264" y="938"/>
                  </a:lnTo>
                  <a:lnTo>
                    <a:pt x="1263" y="938"/>
                  </a:lnTo>
                  <a:lnTo>
                    <a:pt x="1262" y="939"/>
                  </a:lnTo>
                  <a:lnTo>
                    <a:pt x="1262" y="940"/>
                  </a:lnTo>
                  <a:lnTo>
                    <a:pt x="1263" y="942"/>
                  </a:lnTo>
                  <a:lnTo>
                    <a:pt x="1264" y="942"/>
                  </a:lnTo>
                  <a:lnTo>
                    <a:pt x="1267" y="943"/>
                  </a:lnTo>
                  <a:lnTo>
                    <a:pt x="1267" y="945"/>
                  </a:lnTo>
                  <a:lnTo>
                    <a:pt x="1266" y="945"/>
                  </a:lnTo>
                  <a:lnTo>
                    <a:pt x="1266" y="946"/>
                  </a:lnTo>
                  <a:lnTo>
                    <a:pt x="1267" y="947"/>
                  </a:lnTo>
                  <a:lnTo>
                    <a:pt x="1265" y="948"/>
                  </a:lnTo>
                  <a:lnTo>
                    <a:pt x="1266" y="950"/>
                  </a:lnTo>
                  <a:lnTo>
                    <a:pt x="1267" y="951"/>
                  </a:lnTo>
                  <a:lnTo>
                    <a:pt x="1268" y="952"/>
                  </a:lnTo>
                  <a:lnTo>
                    <a:pt x="1268" y="954"/>
                  </a:lnTo>
                  <a:lnTo>
                    <a:pt x="1267" y="956"/>
                  </a:lnTo>
                  <a:lnTo>
                    <a:pt x="1267" y="958"/>
                  </a:lnTo>
                  <a:lnTo>
                    <a:pt x="1266" y="959"/>
                  </a:lnTo>
                  <a:lnTo>
                    <a:pt x="1267" y="959"/>
                  </a:lnTo>
                  <a:lnTo>
                    <a:pt x="1268" y="959"/>
                  </a:lnTo>
                  <a:lnTo>
                    <a:pt x="1270" y="958"/>
                  </a:lnTo>
                  <a:lnTo>
                    <a:pt x="1271" y="956"/>
                  </a:lnTo>
                  <a:lnTo>
                    <a:pt x="1272" y="956"/>
                  </a:lnTo>
                  <a:lnTo>
                    <a:pt x="1274" y="955"/>
                  </a:lnTo>
                  <a:lnTo>
                    <a:pt x="1276" y="956"/>
                  </a:lnTo>
                  <a:lnTo>
                    <a:pt x="1276" y="959"/>
                  </a:lnTo>
                  <a:lnTo>
                    <a:pt x="1276" y="960"/>
                  </a:lnTo>
                  <a:lnTo>
                    <a:pt x="1276" y="961"/>
                  </a:lnTo>
                  <a:lnTo>
                    <a:pt x="1278" y="962"/>
                  </a:lnTo>
                  <a:lnTo>
                    <a:pt x="1279" y="964"/>
                  </a:lnTo>
                  <a:lnTo>
                    <a:pt x="1280" y="966"/>
                  </a:lnTo>
                  <a:lnTo>
                    <a:pt x="1281" y="967"/>
                  </a:lnTo>
                  <a:lnTo>
                    <a:pt x="1282" y="968"/>
                  </a:lnTo>
                  <a:lnTo>
                    <a:pt x="1284" y="971"/>
                  </a:lnTo>
                  <a:lnTo>
                    <a:pt x="1284" y="974"/>
                  </a:lnTo>
                  <a:lnTo>
                    <a:pt x="1284" y="975"/>
                  </a:lnTo>
                  <a:lnTo>
                    <a:pt x="1284" y="976"/>
                  </a:lnTo>
                  <a:lnTo>
                    <a:pt x="1286" y="977"/>
                  </a:lnTo>
                  <a:lnTo>
                    <a:pt x="1287" y="978"/>
                  </a:lnTo>
                  <a:lnTo>
                    <a:pt x="1288" y="979"/>
                  </a:lnTo>
                  <a:lnTo>
                    <a:pt x="1289" y="980"/>
                  </a:lnTo>
                  <a:lnTo>
                    <a:pt x="1290" y="979"/>
                  </a:lnTo>
                  <a:lnTo>
                    <a:pt x="1291" y="979"/>
                  </a:lnTo>
                  <a:lnTo>
                    <a:pt x="1291" y="980"/>
                  </a:lnTo>
                  <a:lnTo>
                    <a:pt x="1290" y="982"/>
                  </a:lnTo>
                  <a:lnTo>
                    <a:pt x="1290" y="983"/>
                  </a:lnTo>
                  <a:lnTo>
                    <a:pt x="1290" y="984"/>
                  </a:lnTo>
                  <a:lnTo>
                    <a:pt x="1291" y="985"/>
                  </a:lnTo>
                  <a:lnTo>
                    <a:pt x="1292" y="985"/>
                  </a:lnTo>
                  <a:lnTo>
                    <a:pt x="1294" y="984"/>
                  </a:lnTo>
                  <a:lnTo>
                    <a:pt x="1296" y="983"/>
                  </a:lnTo>
                  <a:lnTo>
                    <a:pt x="1297" y="983"/>
                  </a:lnTo>
                  <a:lnTo>
                    <a:pt x="1298" y="982"/>
                  </a:lnTo>
                  <a:lnTo>
                    <a:pt x="1299" y="980"/>
                  </a:lnTo>
                  <a:lnTo>
                    <a:pt x="1302" y="979"/>
                  </a:lnTo>
                  <a:lnTo>
                    <a:pt x="1303" y="978"/>
                  </a:lnTo>
                  <a:lnTo>
                    <a:pt x="1303" y="977"/>
                  </a:lnTo>
                  <a:lnTo>
                    <a:pt x="1304" y="976"/>
                  </a:lnTo>
                  <a:lnTo>
                    <a:pt x="1305" y="975"/>
                  </a:lnTo>
                  <a:lnTo>
                    <a:pt x="1305" y="974"/>
                  </a:lnTo>
                  <a:lnTo>
                    <a:pt x="1306" y="972"/>
                  </a:lnTo>
                  <a:lnTo>
                    <a:pt x="1306" y="970"/>
                  </a:lnTo>
                  <a:lnTo>
                    <a:pt x="1308" y="970"/>
                  </a:lnTo>
                  <a:lnTo>
                    <a:pt x="1307" y="971"/>
                  </a:lnTo>
                  <a:lnTo>
                    <a:pt x="1307" y="972"/>
                  </a:lnTo>
                  <a:lnTo>
                    <a:pt x="1307" y="974"/>
                  </a:lnTo>
                  <a:lnTo>
                    <a:pt x="1308" y="974"/>
                  </a:lnTo>
                  <a:lnTo>
                    <a:pt x="1310" y="974"/>
                  </a:lnTo>
                  <a:lnTo>
                    <a:pt x="1311" y="974"/>
                  </a:lnTo>
                  <a:lnTo>
                    <a:pt x="1313" y="972"/>
                  </a:lnTo>
                  <a:lnTo>
                    <a:pt x="1314" y="971"/>
                  </a:lnTo>
                  <a:lnTo>
                    <a:pt x="1316" y="974"/>
                  </a:lnTo>
                  <a:lnTo>
                    <a:pt x="1314" y="975"/>
                  </a:lnTo>
                  <a:lnTo>
                    <a:pt x="1314" y="976"/>
                  </a:lnTo>
                  <a:lnTo>
                    <a:pt x="1312" y="977"/>
                  </a:lnTo>
                  <a:lnTo>
                    <a:pt x="1310" y="977"/>
                  </a:lnTo>
                  <a:lnTo>
                    <a:pt x="1308" y="978"/>
                  </a:lnTo>
                  <a:lnTo>
                    <a:pt x="1306" y="979"/>
                  </a:lnTo>
                  <a:lnTo>
                    <a:pt x="1305" y="979"/>
                  </a:lnTo>
                  <a:lnTo>
                    <a:pt x="1305" y="980"/>
                  </a:lnTo>
                  <a:lnTo>
                    <a:pt x="1304" y="982"/>
                  </a:lnTo>
                  <a:lnTo>
                    <a:pt x="1303" y="983"/>
                  </a:lnTo>
                  <a:lnTo>
                    <a:pt x="1302" y="984"/>
                  </a:lnTo>
                  <a:lnTo>
                    <a:pt x="1298" y="985"/>
                  </a:lnTo>
                  <a:lnTo>
                    <a:pt x="1297" y="985"/>
                  </a:lnTo>
                  <a:lnTo>
                    <a:pt x="1296" y="987"/>
                  </a:lnTo>
                  <a:lnTo>
                    <a:pt x="1297" y="987"/>
                  </a:lnTo>
                  <a:lnTo>
                    <a:pt x="1298" y="987"/>
                  </a:lnTo>
                  <a:lnTo>
                    <a:pt x="1299" y="988"/>
                  </a:lnTo>
                  <a:lnTo>
                    <a:pt x="1300" y="990"/>
                  </a:lnTo>
                  <a:lnTo>
                    <a:pt x="1302" y="992"/>
                  </a:lnTo>
                  <a:lnTo>
                    <a:pt x="1300" y="994"/>
                  </a:lnTo>
                  <a:lnTo>
                    <a:pt x="1300" y="996"/>
                  </a:lnTo>
                  <a:lnTo>
                    <a:pt x="1302" y="996"/>
                  </a:lnTo>
                  <a:lnTo>
                    <a:pt x="1303" y="998"/>
                  </a:lnTo>
                  <a:lnTo>
                    <a:pt x="1306" y="999"/>
                  </a:lnTo>
                  <a:lnTo>
                    <a:pt x="1307" y="998"/>
                  </a:lnTo>
                  <a:lnTo>
                    <a:pt x="1306" y="996"/>
                  </a:lnTo>
                  <a:lnTo>
                    <a:pt x="1305" y="995"/>
                  </a:lnTo>
                  <a:lnTo>
                    <a:pt x="1304" y="994"/>
                  </a:lnTo>
                  <a:lnTo>
                    <a:pt x="1306" y="994"/>
                  </a:lnTo>
                  <a:lnTo>
                    <a:pt x="1308" y="995"/>
                  </a:lnTo>
                  <a:lnTo>
                    <a:pt x="1311" y="996"/>
                  </a:lnTo>
                  <a:lnTo>
                    <a:pt x="1312" y="995"/>
                  </a:lnTo>
                  <a:lnTo>
                    <a:pt x="1312" y="994"/>
                  </a:lnTo>
                  <a:lnTo>
                    <a:pt x="1314" y="993"/>
                  </a:lnTo>
                  <a:lnTo>
                    <a:pt x="1315" y="991"/>
                  </a:lnTo>
                  <a:lnTo>
                    <a:pt x="1316" y="990"/>
                  </a:lnTo>
                  <a:lnTo>
                    <a:pt x="1318" y="988"/>
                  </a:lnTo>
                  <a:lnTo>
                    <a:pt x="1319" y="987"/>
                  </a:lnTo>
                  <a:lnTo>
                    <a:pt x="1320" y="990"/>
                  </a:lnTo>
                  <a:lnTo>
                    <a:pt x="1321" y="991"/>
                  </a:lnTo>
                  <a:lnTo>
                    <a:pt x="1322" y="992"/>
                  </a:lnTo>
                  <a:lnTo>
                    <a:pt x="1322" y="993"/>
                  </a:lnTo>
                  <a:lnTo>
                    <a:pt x="1320" y="995"/>
                  </a:lnTo>
                  <a:lnTo>
                    <a:pt x="1319" y="996"/>
                  </a:lnTo>
                  <a:lnTo>
                    <a:pt x="1319" y="998"/>
                  </a:lnTo>
                  <a:lnTo>
                    <a:pt x="1321" y="999"/>
                  </a:lnTo>
                  <a:lnTo>
                    <a:pt x="1322" y="999"/>
                  </a:lnTo>
                  <a:lnTo>
                    <a:pt x="1323" y="1002"/>
                  </a:lnTo>
                  <a:lnTo>
                    <a:pt x="1324" y="1003"/>
                  </a:lnTo>
                  <a:lnTo>
                    <a:pt x="1326" y="1006"/>
                  </a:lnTo>
                  <a:lnTo>
                    <a:pt x="1324" y="1008"/>
                  </a:lnTo>
                  <a:lnTo>
                    <a:pt x="1324" y="1009"/>
                  </a:lnTo>
                  <a:lnTo>
                    <a:pt x="1326" y="1010"/>
                  </a:lnTo>
                  <a:lnTo>
                    <a:pt x="1328" y="1009"/>
                  </a:lnTo>
                  <a:lnTo>
                    <a:pt x="1330" y="1008"/>
                  </a:lnTo>
                  <a:lnTo>
                    <a:pt x="1330" y="1007"/>
                  </a:lnTo>
                  <a:lnTo>
                    <a:pt x="1330" y="1004"/>
                  </a:lnTo>
                  <a:lnTo>
                    <a:pt x="1330" y="1003"/>
                  </a:lnTo>
                  <a:lnTo>
                    <a:pt x="1329" y="1002"/>
                  </a:lnTo>
                  <a:lnTo>
                    <a:pt x="1328" y="1000"/>
                  </a:lnTo>
                  <a:lnTo>
                    <a:pt x="1329" y="998"/>
                  </a:lnTo>
                  <a:lnTo>
                    <a:pt x="1330" y="996"/>
                  </a:lnTo>
                  <a:lnTo>
                    <a:pt x="1330" y="998"/>
                  </a:lnTo>
                  <a:lnTo>
                    <a:pt x="1330" y="1000"/>
                  </a:lnTo>
                  <a:lnTo>
                    <a:pt x="1330" y="1001"/>
                  </a:lnTo>
                  <a:lnTo>
                    <a:pt x="1331" y="1002"/>
                  </a:lnTo>
                  <a:lnTo>
                    <a:pt x="1331" y="1004"/>
                  </a:lnTo>
                  <a:lnTo>
                    <a:pt x="1331" y="1007"/>
                  </a:lnTo>
                  <a:lnTo>
                    <a:pt x="1331" y="1009"/>
                  </a:lnTo>
                  <a:lnTo>
                    <a:pt x="1331" y="1010"/>
                  </a:lnTo>
                  <a:lnTo>
                    <a:pt x="1330" y="1012"/>
                  </a:lnTo>
                  <a:lnTo>
                    <a:pt x="1329" y="1015"/>
                  </a:lnTo>
                  <a:lnTo>
                    <a:pt x="1327" y="1016"/>
                  </a:lnTo>
                  <a:lnTo>
                    <a:pt x="1326" y="1016"/>
                  </a:lnTo>
                  <a:lnTo>
                    <a:pt x="1323" y="1016"/>
                  </a:lnTo>
                  <a:lnTo>
                    <a:pt x="1320" y="1015"/>
                  </a:lnTo>
                  <a:lnTo>
                    <a:pt x="1318" y="1014"/>
                  </a:lnTo>
                  <a:lnTo>
                    <a:pt x="1311" y="1012"/>
                  </a:lnTo>
                  <a:lnTo>
                    <a:pt x="1308" y="1014"/>
                  </a:lnTo>
                  <a:lnTo>
                    <a:pt x="1307" y="1014"/>
                  </a:lnTo>
                  <a:lnTo>
                    <a:pt x="1306" y="1014"/>
                  </a:lnTo>
                  <a:lnTo>
                    <a:pt x="1305" y="1014"/>
                  </a:lnTo>
                  <a:lnTo>
                    <a:pt x="1303" y="1014"/>
                  </a:lnTo>
                  <a:lnTo>
                    <a:pt x="1302" y="1014"/>
                  </a:lnTo>
                  <a:lnTo>
                    <a:pt x="1299" y="1015"/>
                  </a:lnTo>
                  <a:lnTo>
                    <a:pt x="1298" y="1014"/>
                  </a:lnTo>
                  <a:lnTo>
                    <a:pt x="1297" y="1011"/>
                  </a:lnTo>
                  <a:lnTo>
                    <a:pt x="1296" y="1011"/>
                  </a:lnTo>
                  <a:lnTo>
                    <a:pt x="1295" y="1010"/>
                  </a:lnTo>
                  <a:lnTo>
                    <a:pt x="1295" y="1009"/>
                  </a:lnTo>
                  <a:lnTo>
                    <a:pt x="1295" y="1008"/>
                  </a:lnTo>
                  <a:lnTo>
                    <a:pt x="1295" y="1006"/>
                  </a:lnTo>
                  <a:lnTo>
                    <a:pt x="1297" y="1004"/>
                  </a:lnTo>
                  <a:lnTo>
                    <a:pt x="1297" y="1003"/>
                  </a:lnTo>
                  <a:lnTo>
                    <a:pt x="1295" y="1001"/>
                  </a:lnTo>
                  <a:lnTo>
                    <a:pt x="1295" y="1000"/>
                  </a:lnTo>
                  <a:lnTo>
                    <a:pt x="1294" y="998"/>
                  </a:lnTo>
                  <a:lnTo>
                    <a:pt x="1294" y="995"/>
                  </a:lnTo>
                  <a:lnTo>
                    <a:pt x="1291" y="994"/>
                  </a:lnTo>
                  <a:lnTo>
                    <a:pt x="1290" y="994"/>
                  </a:lnTo>
                  <a:lnTo>
                    <a:pt x="1288" y="994"/>
                  </a:lnTo>
                  <a:lnTo>
                    <a:pt x="1287" y="995"/>
                  </a:lnTo>
                  <a:lnTo>
                    <a:pt x="1287" y="998"/>
                  </a:lnTo>
                  <a:lnTo>
                    <a:pt x="1286" y="998"/>
                  </a:lnTo>
                  <a:lnTo>
                    <a:pt x="1284" y="999"/>
                  </a:lnTo>
                  <a:lnTo>
                    <a:pt x="1286" y="1001"/>
                  </a:lnTo>
                  <a:lnTo>
                    <a:pt x="1287" y="1001"/>
                  </a:lnTo>
                  <a:lnTo>
                    <a:pt x="1290" y="1002"/>
                  </a:lnTo>
                  <a:lnTo>
                    <a:pt x="1289" y="1004"/>
                  </a:lnTo>
                  <a:lnTo>
                    <a:pt x="1289" y="1006"/>
                  </a:lnTo>
                  <a:lnTo>
                    <a:pt x="1291" y="1006"/>
                  </a:lnTo>
                  <a:lnTo>
                    <a:pt x="1292" y="1007"/>
                  </a:lnTo>
                  <a:lnTo>
                    <a:pt x="1291" y="1009"/>
                  </a:lnTo>
                  <a:lnTo>
                    <a:pt x="1291" y="1010"/>
                  </a:lnTo>
                  <a:lnTo>
                    <a:pt x="1291" y="1011"/>
                  </a:lnTo>
                  <a:lnTo>
                    <a:pt x="1288" y="1011"/>
                  </a:lnTo>
                  <a:lnTo>
                    <a:pt x="1288" y="1012"/>
                  </a:lnTo>
                  <a:lnTo>
                    <a:pt x="1289" y="1014"/>
                  </a:lnTo>
                  <a:lnTo>
                    <a:pt x="1292" y="1014"/>
                  </a:lnTo>
                  <a:lnTo>
                    <a:pt x="1292" y="1015"/>
                  </a:lnTo>
                  <a:lnTo>
                    <a:pt x="1291" y="1017"/>
                  </a:lnTo>
                  <a:lnTo>
                    <a:pt x="1292" y="1017"/>
                  </a:lnTo>
                  <a:lnTo>
                    <a:pt x="1294" y="1018"/>
                  </a:lnTo>
                  <a:lnTo>
                    <a:pt x="1292" y="1019"/>
                  </a:lnTo>
                  <a:lnTo>
                    <a:pt x="1295" y="1020"/>
                  </a:lnTo>
                  <a:lnTo>
                    <a:pt x="1295" y="1024"/>
                  </a:lnTo>
                  <a:lnTo>
                    <a:pt x="1296" y="1025"/>
                  </a:lnTo>
                  <a:lnTo>
                    <a:pt x="1296" y="1026"/>
                  </a:lnTo>
                  <a:lnTo>
                    <a:pt x="1296" y="1028"/>
                  </a:lnTo>
                  <a:lnTo>
                    <a:pt x="1296" y="1031"/>
                  </a:lnTo>
                  <a:lnTo>
                    <a:pt x="1297" y="1032"/>
                  </a:lnTo>
                  <a:lnTo>
                    <a:pt x="1297" y="1034"/>
                  </a:lnTo>
                  <a:lnTo>
                    <a:pt x="1298" y="1035"/>
                  </a:lnTo>
                  <a:lnTo>
                    <a:pt x="1300" y="1035"/>
                  </a:lnTo>
                  <a:lnTo>
                    <a:pt x="1302" y="1035"/>
                  </a:lnTo>
                  <a:lnTo>
                    <a:pt x="1304" y="1035"/>
                  </a:lnTo>
                  <a:lnTo>
                    <a:pt x="1302" y="1033"/>
                  </a:lnTo>
                  <a:lnTo>
                    <a:pt x="1302" y="1032"/>
                  </a:lnTo>
                  <a:lnTo>
                    <a:pt x="1305" y="1031"/>
                  </a:lnTo>
                  <a:lnTo>
                    <a:pt x="1305" y="1032"/>
                  </a:lnTo>
                  <a:lnTo>
                    <a:pt x="1306" y="1032"/>
                  </a:lnTo>
                  <a:lnTo>
                    <a:pt x="1307" y="1032"/>
                  </a:lnTo>
                  <a:lnTo>
                    <a:pt x="1310" y="1033"/>
                  </a:lnTo>
                  <a:lnTo>
                    <a:pt x="1311" y="1032"/>
                  </a:lnTo>
                  <a:lnTo>
                    <a:pt x="1312" y="1032"/>
                  </a:lnTo>
                  <a:lnTo>
                    <a:pt x="1314" y="1031"/>
                  </a:lnTo>
                  <a:lnTo>
                    <a:pt x="1314" y="1030"/>
                  </a:lnTo>
                  <a:lnTo>
                    <a:pt x="1312" y="1030"/>
                  </a:lnTo>
                  <a:lnTo>
                    <a:pt x="1312" y="1027"/>
                  </a:lnTo>
                  <a:lnTo>
                    <a:pt x="1313" y="1026"/>
                  </a:lnTo>
                  <a:lnTo>
                    <a:pt x="1314" y="1025"/>
                  </a:lnTo>
                  <a:lnTo>
                    <a:pt x="1315" y="1026"/>
                  </a:lnTo>
                  <a:lnTo>
                    <a:pt x="1315" y="1027"/>
                  </a:lnTo>
                  <a:lnTo>
                    <a:pt x="1316" y="1028"/>
                  </a:lnTo>
                  <a:lnTo>
                    <a:pt x="1318" y="1028"/>
                  </a:lnTo>
                  <a:lnTo>
                    <a:pt x="1318" y="1031"/>
                  </a:lnTo>
                  <a:lnTo>
                    <a:pt x="1320" y="1031"/>
                  </a:lnTo>
                  <a:lnTo>
                    <a:pt x="1322" y="1033"/>
                  </a:lnTo>
                  <a:lnTo>
                    <a:pt x="1324" y="1033"/>
                  </a:lnTo>
                  <a:lnTo>
                    <a:pt x="1326" y="1032"/>
                  </a:lnTo>
                  <a:lnTo>
                    <a:pt x="1328" y="1031"/>
                  </a:lnTo>
                  <a:lnTo>
                    <a:pt x="1330" y="1032"/>
                  </a:lnTo>
                  <a:lnTo>
                    <a:pt x="1331" y="1032"/>
                  </a:lnTo>
                  <a:lnTo>
                    <a:pt x="1334" y="1031"/>
                  </a:lnTo>
                  <a:lnTo>
                    <a:pt x="1335" y="1031"/>
                  </a:lnTo>
                  <a:lnTo>
                    <a:pt x="1337" y="1031"/>
                  </a:lnTo>
                  <a:lnTo>
                    <a:pt x="1336" y="1033"/>
                  </a:lnTo>
                  <a:lnTo>
                    <a:pt x="1337" y="1033"/>
                  </a:lnTo>
                  <a:lnTo>
                    <a:pt x="1338" y="1033"/>
                  </a:lnTo>
                  <a:lnTo>
                    <a:pt x="1338" y="1035"/>
                  </a:lnTo>
                  <a:lnTo>
                    <a:pt x="1337" y="1036"/>
                  </a:lnTo>
                  <a:lnTo>
                    <a:pt x="1335" y="1036"/>
                  </a:lnTo>
                  <a:lnTo>
                    <a:pt x="1331" y="1038"/>
                  </a:lnTo>
                  <a:lnTo>
                    <a:pt x="1328" y="1039"/>
                  </a:lnTo>
                  <a:lnTo>
                    <a:pt x="1327" y="1041"/>
                  </a:lnTo>
                  <a:lnTo>
                    <a:pt x="1324" y="1043"/>
                  </a:lnTo>
                  <a:lnTo>
                    <a:pt x="1323" y="1044"/>
                  </a:lnTo>
                  <a:lnTo>
                    <a:pt x="1322" y="1046"/>
                  </a:lnTo>
                  <a:lnTo>
                    <a:pt x="1321" y="1049"/>
                  </a:lnTo>
                  <a:lnTo>
                    <a:pt x="1323" y="1049"/>
                  </a:lnTo>
                  <a:lnTo>
                    <a:pt x="1324" y="1050"/>
                  </a:lnTo>
                  <a:lnTo>
                    <a:pt x="1322" y="1050"/>
                  </a:lnTo>
                  <a:lnTo>
                    <a:pt x="1321" y="1050"/>
                  </a:lnTo>
                  <a:lnTo>
                    <a:pt x="1318" y="1049"/>
                  </a:lnTo>
                  <a:lnTo>
                    <a:pt x="1315" y="1050"/>
                  </a:lnTo>
                  <a:lnTo>
                    <a:pt x="1314" y="1049"/>
                  </a:lnTo>
                  <a:lnTo>
                    <a:pt x="1312" y="1048"/>
                  </a:lnTo>
                  <a:lnTo>
                    <a:pt x="1313" y="1046"/>
                  </a:lnTo>
                  <a:lnTo>
                    <a:pt x="1313" y="1044"/>
                  </a:lnTo>
                  <a:lnTo>
                    <a:pt x="1311" y="1046"/>
                  </a:lnTo>
                  <a:lnTo>
                    <a:pt x="1310" y="1044"/>
                  </a:lnTo>
                  <a:lnTo>
                    <a:pt x="1311" y="1042"/>
                  </a:lnTo>
                  <a:lnTo>
                    <a:pt x="1311" y="1040"/>
                  </a:lnTo>
                  <a:lnTo>
                    <a:pt x="1308" y="1040"/>
                  </a:lnTo>
                  <a:lnTo>
                    <a:pt x="1308" y="1041"/>
                  </a:lnTo>
                  <a:lnTo>
                    <a:pt x="1308" y="1043"/>
                  </a:lnTo>
                  <a:lnTo>
                    <a:pt x="1307" y="1043"/>
                  </a:lnTo>
                  <a:lnTo>
                    <a:pt x="1306" y="1044"/>
                  </a:lnTo>
                  <a:lnTo>
                    <a:pt x="1307" y="1047"/>
                  </a:lnTo>
                  <a:lnTo>
                    <a:pt x="1305" y="1048"/>
                  </a:lnTo>
                  <a:lnTo>
                    <a:pt x="1304" y="1049"/>
                  </a:lnTo>
                  <a:lnTo>
                    <a:pt x="1305" y="1050"/>
                  </a:lnTo>
                  <a:lnTo>
                    <a:pt x="1306" y="1051"/>
                  </a:lnTo>
                  <a:lnTo>
                    <a:pt x="1308" y="1051"/>
                  </a:lnTo>
                  <a:lnTo>
                    <a:pt x="1310" y="1051"/>
                  </a:lnTo>
                  <a:lnTo>
                    <a:pt x="1311" y="1054"/>
                  </a:lnTo>
                  <a:lnTo>
                    <a:pt x="1312" y="1055"/>
                  </a:lnTo>
                  <a:lnTo>
                    <a:pt x="1313" y="1057"/>
                  </a:lnTo>
                  <a:lnTo>
                    <a:pt x="1314" y="1060"/>
                  </a:lnTo>
                  <a:lnTo>
                    <a:pt x="1314" y="1063"/>
                  </a:lnTo>
                  <a:lnTo>
                    <a:pt x="1314" y="1065"/>
                  </a:lnTo>
                  <a:lnTo>
                    <a:pt x="1315" y="1065"/>
                  </a:lnTo>
                  <a:lnTo>
                    <a:pt x="1316" y="1065"/>
                  </a:lnTo>
                  <a:lnTo>
                    <a:pt x="1319" y="1066"/>
                  </a:lnTo>
                  <a:lnTo>
                    <a:pt x="1320" y="1068"/>
                  </a:lnTo>
                  <a:lnTo>
                    <a:pt x="1320" y="1071"/>
                  </a:lnTo>
                  <a:lnTo>
                    <a:pt x="1321" y="1073"/>
                  </a:lnTo>
                  <a:lnTo>
                    <a:pt x="1322" y="1074"/>
                  </a:lnTo>
                  <a:lnTo>
                    <a:pt x="1321" y="1076"/>
                  </a:lnTo>
                  <a:lnTo>
                    <a:pt x="1322" y="1079"/>
                  </a:lnTo>
                  <a:lnTo>
                    <a:pt x="1324" y="1079"/>
                  </a:lnTo>
                  <a:lnTo>
                    <a:pt x="1326" y="1080"/>
                  </a:lnTo>
                  <a:lnTo>
                    <a:pt x="1328" y="1079"/>
                  </a:lnTo>
                  <a:lnTo>
                    <a:pt x="1328" y="1076"/>
                  </a:lnTo>
                  <a:lnTo>
                    <a:pt x="1328" y="1074"/>
                  </a:lnTo>
                  <a:lnTo>
                    <a:pt x="1330" y="1073"/>
                  </a:lnTo>
                  <a:lnTo>
                    <a:pt x="1330" y="1071"/>
                  </a:lnTo>
                  <a:lnTo>
                    <a:pt x="1331" y="1068"/>
                  </a:lnTo>
                  <a:lnTo>
                    <a:pt x="1334" y="1067"/>
                  </a:lnTo>
                  <a:lnTo>
                    <a:pt x="1336" y="1066"/>
                  </a:lnTo>
                  <a:lnTo>
                    <a:pt x="1337" y="1065"/>
                  </a:lnTo>
                  <a:lnTo>
                    <a:pt x="1339" y="1064"/>
                  </a:lnTo>
                  <a:lnTo>
                    <a:pt x="1340" y="1064"/>
                  </a:lnTo>
                  <a:lnTo>
                    <a:pt x="1339" y="1065"/>
                  </a:lnTo>
                  <a:lnTo>
                    <a:pt x="1338" y="1066"/>
                  </a:lnTo>
                  <a:lnTo>
                    <a:pt x="1339" y="1067"/>
                  </a:lnTo>
                  <a:lnTo>
                    <a:pt x="1338" y="1070"/>
                  </a:lnTo>
                  <a:lnTo>
                    <a:pt x="1336" y="1071"/>
                  </a:lnTo>
                  <a:lnTo>
                    <a:pt x="1336" y="1072"/>
                  </a:lnTo>
                  <a:lnTo>
                    <a:pt x="1338" y="1073"/>
                  </a:lnTo>
                  <a:lnTo>
                    <a:pt x="1339" y="1074"/>
                  </a:lnTo>
                  <a:lnTo>
                    <a:pt x="1337" y="1076"/>
                  </a:lnTo>
                  <a:lnTo>
                    <a:pt x="1337" y="1079"/>
                  </a:lnTo>
                  <a:lnTo>
                    <a:pt x="1338" y="1079"/>
                  </a:lnTo>
                  <a:lnTo>
                    <a:pt x="1338" y="1080"/>
                  </a:lnTo>
                  <a:lnTo>
                    <a:pt x="1337" y="1082"/>
                  </a:lnTo>
                  <a:lnTo>
                    <a:pt x="1338" y="1083"/>
                  </a:lnTo>
                  <a:lnTo>
                    <a:pt x="1339" y="1084"/>
                  </a:lnTo>
                  <a:lnTo>
                    <a:pt x="1342" y="1084"/>
                  </a:lnTo>
                  <a:lnTo>
                    <a:pt x="1343" y="1083"/>
                  </a:lnTo>
                  <a:lnTo>
                    <a:pt x="1345" y="1082"/>
                  </a:lnTo>
                  <a:lnTo>
                    <a:pt x="1346" y="1080"/>
                  </a:lnTo>
                  <a:lnTo>
                    <a:pt x="1347" y="1080"/>
                  </a:lnTo>
                  <a:lnTo>
                    <a:pt x="1350" y="1079"/>
                  </a:lnTo>
                  <a:lnTo>
                    <a:pt x="1351" y="1081"/>
                  </a:lnTo>
                  <a:lnTo>
                    <a:pt x="1351" y="1083"/>
                  </a:lnTo>
                  <a:lnTo>
                    <a:pt x="1352" y="1084"/>
                  </a:lnTo>
                  <a:lnTo>
                    <a:pt x="1352" y="1087"/>
                  </a:lnTo>
                  <a:lnTo>
                    <a:pt x="1353" y="1087"/>
                  </a:lnTo>
                  <a:lnTo>
                    <a:pt x="1355" y="1088"/>
                  </a:lnTo>
                  <a:lnTo>
                    <a:pt x="1358" y="1089"/>
                  </a:lnTo>
                  <a:lnTo>
                    <a:pt x="1358" y="1090"/>
                  </a:lnTo>
                  <a:lnTo>
                    <a:pt x="1358" y="1091"/>
                  </a:lnTo>
                  <a:lnTo>
                    <a:pt x="1354" y="1092"/>
                  </a:lnTo>
                  <a:lnTo>
                    <a:pt x="1351" y="1092"/>
                  </a:lnTo>
                  <a:lnTo>
                    <a:pt x="1347" y="1094"/>
                  </a:lnTo>
                  <a:lnTo>
                    <a:pt x="1345" y="1096"/>
                  </a:lnTo>
                  <a:lnTo>
                    <a:pt x="1343" y="1096"/>
                  </a:lnTo>
                  <a:lnTo>
                    <a:pt x="1338" y="1098"/>
                  </a:lnTo>
                  <a:lnTo>
                    <a:pt x="1336" y="1098"/>
                  </a:lnTo>
                  <a:lnTo>
                    <a:pt x="1334" y="1099"/>
                  </a:lnTo>
                  <a:lnTo>
                    <a:pt x="1332" y="1098"/>
                  </a:lnTo>
                  <a:lnTo>
                    <a:pt x="1331" y="1097"/>
                  </a:lnTo>
                  <a:lnTo>
                    <a:pt x="1330" y="1096"/>
                  </a:lnTo>
                  <a:lnTo>
                    <a:pt x="1329" y="1096"/>
                  </a:lnTo>
                  <a:lnTo>
                    <a:pt x="1330" y="1098"/>
                  </a:lnTo>
                  <a:lnTo>
                    <a:pt x="1330" y="1100"/>
                  </a:lnTo>
                  <a:lnTo>
                    <a:pt x="1329" y="1102"/>
                  </a:lnTo>
                  <a:lnTo>
                    <a:pt x="1330" y="1105"/>
                  </a:lnTo>
                  <a:lnTo>
                    <a:pt x="1331" y="1110"/>
                  </a:lnTo>
                  <a:lnTo>
                    <a:pt x="1331" y="1113"/>
                  </a:lnTo>
                  <a:lnTo>
                    <a:pt x="1332" y="1115"/>
                  </a:lnTo>
                  <a:lnTo>
                    <a:pt x="1334" y="1116"/>
                  </a:lnTo>
                  <a:lnTo>
                    <a:pt x="1335" y="1118"/>
                  </a:lnTo>
                  <a:lnTo>
                    <a:pt x="1335" y="1120"/>
                  </a:lnTo>
                  <a:lnTo>
                    <a:pt x="1337" y="1121"/>
                  </a:lnTo>
                  <a:lnTo>
                    <a:pt x="1338" y="1121"/>
                  </a:lnTo>
                  <a:lnTo>
                    <a:pt x="1339" y="1119"/>
                  </a:lnTo>
                  <a:lnTo>
                    <a:pt x="1339" y="1118"/>
                  </a:lnTo>
                  <a:lnTo>
                    <a:pt x="1340" y="1116"/>
                  </a:lnTo>
                  <a:lnTo>
                    <a:pt x="1342" y="1114"/>
                  </a:lnTo>
                  <a:lnTo>
                    <a:pt x="1342" y="1113"/>
                  </a:lnTo>
                  <a:lnTo>
                    <a:pt x="1344" y="1112"/>
                  </a:lnTo>
                  <a:lnTo>
                    <a:pt x="1344" y="1111"/>
                  </a:lnTo>
                  <a:lnTo>
                    <a:pt x="1345" y="1110"/>
                  </a:lnTo>
                  <a:lnTo>
                    <a:pt x="1347" y="1107"/>
                  </a:lnTo>
                  <a:lnTo>
                    <a:pt x="1348" y="1107"/>
                  </a:lnTo>
                  <a:lnTo>
                    <a:pt x="1348" y="1110"/>
                  </a:lnTo>
                  <a:lnTo>
                    <a:pt x="1347" y="1112"/>
                  </a:lnTo>
                  <a:lnTo>
                    <a:pt x="1346" y="1114"/>
                  </a:lnTo>
                  <a:lnTo>
                    <a:pt x="1344" y="1118"/>
                  </a:lnTo>
                  <a:lnTo>
                    <a:pt x="1343" y="1119"/>
                  </a:lnTo>
                  <a:lnTo>
                    <a:pt x="1343" y="1121"/>
                  </a:lnTo>
                  <a:lnTo>
                    <a:pt x="1344" y="1122"/>
                  </a:lnTo>
                  <a:lnTo>
                    <a:pt x="1345" y="1123"/>
                  </a:lnTo>
                  <a:lnTo>
                    <a:pt x="1346" y="1123"/>
                  </a:lnTo>
                  <a:lnTo>
                    <a:pt x="1348" y="1124"/>
                  </a:lnTo>
                  <a:lnTo>
                    <a:pt x="1348" y="1127"/>
                  </a:lnTo>
                  <a:lnTo>
                    <a:pt x="1346" y="1128"/>
                  </a:lnTo>
                  <a:lnTo>
                    <a:pt x="1343" y="1128"/>
                  </a:lnTo>
                  <a:lnTo>
                    <a:pt x="1342" y="1127"/>
                  </a:lnTo>
                  <a:lnTo>
                    <a:pt x="1340" y="1128"/>
                  </a:lnTo>
                  <a:lnTo>
                    <a:pt x="1340" y="1131"/>
                  </a:lnTo>
                  <a:lnTo>
                    <a:pt x="1342" y="1134"/>
                  </a:lnTo>
                  <a:lnTo>
                    <a:pt x="1342" y="1139"/>
                  </a:lnTo>
                  <a:lnTo>
                    <a:pt x="1342" y="1143"/>
                  </a:lnTo>
                  <a:lnTo>
                    <a:pt x="1342" y="1147"/>
                  </a:lnTo>
                  <a:lnTo>
                    <a:pt x="1340" y="1151"/>
                  </a:lnTo>
                  <a:lnTo>
                    <a:pt x="1340" y="1153"/>
                  </a:lnTo>
                  <a:lnTo>
                    <a:pt x="1339" y="1155"/>
                  </a:lnTo>
                  <a:lnTo>
                    <a:pt x="1339" y="1158"/>
                  </a:lnTo>
                  <a:lnTo>
                    <a:pt x="1342" y="1159"/>
                  </a:lnTo>
                  <a:lnTo>
                    <a:pt x="1343" y="1161"/>
                  </a:lnTo>
                  <a:lnTo>
                    <a:pt x="1342" y="1163"/>
                  </a:lnTo>
                  <a:lnTo>
                    <a:pt x="1339" y="1163"/>
                  </a:lnTo>
                  <a:lnTo>
                    <a:pt x="1335" y="1167"/>
                  </a:lnTo>
                  <a:lnTo>
                    <a:pt x="1340" y="1168"/>
                  </a:lnTo>
                  <a:lnTo>
                    <a:pt x="1343" y="1170"/>
                  </a:lnTo>
                  <a:lnTo>
                    <a:pt x="1344" y="1171"/>
                  </a:lnTo>
                  <a:lnTo>
                    <a:pt x="1345" y="1174"/>
                  </a:lnTo>
                  <a:lnTo>
                    <a:pt x="1344" y="1176"/>
                  </a:lnTo>
                  <a:lnTo>
                    <a:pt x="1342" y="1176"/>
                  </a:lnTo>
                  <a:lnTo>
                    <a:pt x="1342" y="1178"/>
                  </a:lnTo>
                  <a:lnTo>
                    <a:pt x="1345" y="1182"/>
                  </a:lnTo>
                  <a:lnTo>
                    <a:pt x="1346" y="1185"/>
                  </a:lnTo>
                  <a:lnTo>
                    <a:pt x="1347" y="1188"/>
                  </a:lnTo>
                  <a:lnTo>
                    <a:pt x="1347" y="1192"/>
                  </a:lnTo>
                  <a:lnTo>
                    <a:pt x="1346" y="1195"/>
                  </a:lnTo>
                  <a:lnTo>
                    <a:pt x="1344" y="1194"/>
                  </a:lnTo>
                  <a:lnTo>
                    <a:pt x="1340" y="1192"/>
                  </a:lnTo>
                  <a:lnTo>
                    <a:pt x="1337" y="1194"/>
                  </a:lnTo>
                  <a:lnTo>
                    <a:pt x="1338" y="1196"/>
                  </a:lnTo>
                  <a:lnTo>
                    <a:pt x="1342" y="1199"/>
                  </a:lnTo>
                  <a:lnTo>
                    <a:pt x="1342" y="1201"/>
                  </a:lnTo>
                  <a:lnTo>
                    <a:pt x="1339" y="1202"/>
                  </a:lnTo>
                  <a:lnTo>
                    <a:pt x="1337" y="1202"/>
                  </a:lnTo>
                  <a:lnTo>
                    <a:pt x="1335" y="1201"/>
                  </a:lnTo>
                  <a:lnTo>
                    <a:pt x="1334" y="1200"/>
                  </a:lnTo>
                  <a:lnTo>
                    <a:pt x="1331" y="1200"/>
                  </a:lnTo>
                  <a:lnTo>
                    <a:pt x="1327" y="1198"/>
                  </a:lnTo>
                  <a:lnTo>
                    <a:pt x="1322" y="1198"/>
                  </a:lnTo>
                  <a:lnTo>
                    <a:pt x="1322" y="1200"/>
                  </a:lnTo>
                  <a:lnTo>
                    <a:pt x="1322" y="1202"/>
                  </a:lnTo>
                  <a:lnTo>
                    <a:pt x="1322" y="1204"/>
                  </a:lnTo>
                  <a:lnTo>
                    <a:pt x="1320" y="1206"/>
                  </a:lnTo>
                  <a:lnTo>
                    <a:pt x="1319" y="1206"/>
                  </a:lnTo>
                  <a:lnTo>
                    <a:pt x="1315" y="1204"/>
                  </a:lnTo>
                  <a:lnTo>
                    <a:pt x="1314" y="1204"/>
                  </a:lnTo>
                  <a:lnTo>
                    <a:pt x="1312" y="1206"/>
                  </a:lnTo>
                  <a:lnTo>
                    <a:pt x="1311" y="1206"/>
                  </a:lnTo>
                  <a:lnTo>
                    <a:pt x="1310" y="1208"/>
                  </a:lnTo>
                  <a:lnTo>
                    <a:pt x="1308" y="1210"/>
                  </a:lnTo>
                  <a:lnTo>
                    <a:pt x="1308" y="1212"/>
                  </a:lnTo>
                  <a:lnTo>
                    <a:pt x="1310" y="1215"/>
                  </a:lnTo>
                  <a:lnTo>
                    <a:pt x="1311" y="1216"/>
                  </a:lnTo>
                  <a:lnTo>
                    <a:pt x="1310" y="1217"/>
                  </a:lnTo>
                  <a:lnTo>
                    <a:pt x="1308" y="1218"/>
                  </a:lnTo>
                  <a:lnTo>
                    <a:pt x="1307" y="1219"/>
                  </a:lnTo>
                  <a:lnTo>
                    <a:pt x="1315" y="1218"/>
                  </a:lnTo>
                  <a:lnTo>
                    <a:pt x="1318" y="1218"/>
                  </a:lnTo>
                  <a:lnTo>
                    <a:pt x="1321" y="1217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28" name="RJ"/>
            <p:cNvSpPr>
              <a:spLocks/>
            </p:cNvSpPr>
            <p:nvPr/>
          </p:nvSpPr>
          <p:spPr bwMode="auto">
            <a:xfrm>
              <a:off x="5470357" y="2660790"/>
              <a:ext cx="971069" cy="763073"/>
            </a:xfrm>
            <a:custGeom>
              <a:avLst/>
              <a:gdLst>
                <a:gd name="T0" fmla="*/ 1972 w 2421"/>
                <a:gd name="T1" fmla="*/ 1179 h 1964"/>
                <a:gd name="T2" fmla="*/ 2156 w 2421"/>
                <a:gd name="T3" fmla="*/ 1080 h 1964"/>
                <a:gd name="T4" fmla="*/ 2365 w 2421"/>
                <a:gd name="T5" fmla="*/ 955 h 1964"/>
                <a:gd name="T6" fmla="*/ 2286 w 2421"/>
                <a:gd name="T7" fmla="*/ 899 h 1964"/>
                <a:gd name="T8" fmla="*/ 2286 w 2421"/>
                <a:gd name="T9" fmla="*/ 869 h 1964"/>
                <a:gd name="T10" fmla="*/ 2226 w 2421"/>
                <a:gd name="T11" fmla="*/ 781 h 1964"/>
                <a:gd name="T12" fmla="*/ 2142 w 2421"/>
                <a:gd name="T13" fmla="*/ 655 h 1964"/>
                <a:gd name="T14" fmla="*/ 2057 w 2421"/>
                <a:gd name="T15" fmla="*/ 593 h 1964"/>
                <a:gd name="T16" fmla="*/ 1949 w 2421"/>
                <a:gd name="T17" fmla="*/ 609 h 1964"/>
                <a:gd name="T18" fmla="*/ 1866 w 2421"/>
                <a:gd name="T19" fmla="*/ 651 h 1964"/>
                <a:gd name="T20" fmla="*/ 1802 w 2421"/>
                <a:gd name="T21" fmla="*/ 564 h 1964"/>
                <a:gd name="T22" fmla="*/ 1682 w 2421"/>
                <a:gd name="T23" fmla="*/ 431 h 1964"/>
                <a:gd name="T24" fmla="*/ 1637 w 2421"/>
                <a:gd name="T25" fmla="*/ 280 h 1964"/>
                <a:gd name="T26" fmla="*/ 1508 w 2421"/>
                <a:gd name="T27" fmla="*/ 225 h 1964"/>
                <a:gd name="T28" fmla="*/ 1416 w 2421"/>
                <a:gd name="T29" fmla="*/ 167 h 1964"/>
                <a:gd name="T30" fmla="*/ 1336 w 2421"/>
                <a:gd name="T31" fmla="*/ 63 h 1964"/>
                <a:gd name="T32" fmla="*/ 1098 w 2421"/>
                <a:gd name="T33" fmla="*/ 59 h 1964"/>
                <a:gd name="T34" fmla="*/ 388 w 2421"/>
                <a:gd name="T35" fmla="*/ 680 h 1964"/>
                <a:gd name="T36" fmla="*/ 105 w 2421"/>
                <a:gd name="T37" fmla="*/ 996 h 1964"/>
                <a:gd name="T38" fmla="*/ 193 w 2421"/>
                <a:gd name="T39" fmla="*/ 1217 h 1964"/>
                <a:gd name="T40" fmla="*/ 321 w 2421"/>
                <a:gd name="T41" fmla="*/ 1329 h 1964"/>
                <a:gd name="T42" fmla="*/ 446 w 2421"/>
                <a:gd name="T43" fmla="*/ 1515 h 1964"/>
                <a:gd name="T44" fmla="*/ 557 w 2421"/>
                <a:gd name="T45" fmla="*/ 1517 h 1964"/>
                <a:gd name="T46" fmla="*/ 652 w 2421"/>
                <a:gd name="T47" fmla="*/ 1535 h 1964"/>
                <a:gd name="T48" fmla="*/ 709 w 2421"/>
                <a:gd name="T49" fmla="*/ 1511 h 1964"/>
                <a:gd name="T50" fmla="*/ 790 w 2421"/>
                <a:gd name="T51" fmla="*/ 1532 h 1964"/>
                <a:gd name="T52" fmla="*/ 828 w 2421"/>
                <a:gd name="T53" fmla="*/ 1575 h 1964"/>
                <a:gd name="T54" fmla="*/ 908 w 2421"/>
                <a:gd name="T55" fmla="*/ 1603 h 1964"/>
                <a:gd name="T56" fmla="*/ 992 w 2421"/>
                <a:gd name="T57" fmla="*/ 1575 h 1964"/>
                <a:gd name="T58" fmla="*/ 1001 w 2421"/>
                <a:gd name="T59" fmla="*/ 1649 h 1964"/>
                <a:gd name="T60" fmla="*/ 1095 w 2421"/>
                <a:gd name="T61" fmla="*/ 1712 h 1964"/>
                <a:gd name="T62" fmla="*/ 1137 w 2421"/>
                <a:gd name="T63" fmla="*/ 1802 h 1964"/>
                <a:gd name="T64" fmla="*/ 1197 w 2421"/>
                <a:gd name="T65" fmla="*/ 1857 h 1964"/>
                <a:gd name="T66" fmla="*/ 1279 w 2421"/>
                <a:gd name="T67" fmla="*/ 1904 h 1964"/>
                <a:gd name="T68" fmla="*/ 1380 w 2421"/>
                <a:gd name="T69" fmla="*/ 1960 h 1964"/>
                <a:gd name="T70" fmla="*/ 1424 w 2421"/>
                <a:gd name="T71" fmla="*/ 1912 h 1964"/>
                <a:gd name="T72" fmla="*/ 1454 w 2421"/>
                <a:gd name="T73" fmla="*/ 1835 h 1964"/>
                <a:gd name="T74" fmla="*/ 1505 w 2421"/>
                <a:gd name="T75" fmla="*/ 1757 h 1964"/>
                <a:gd name="T76" fmla="*/ 1463 w 2421"/>
                <a:gd name="T77" fmla="*/ 1636 h 1964"/>
                <a:gd name="T78" fmla="*/ 1470 w 2421"/>
                <a:gd name="T79" fmla="*/ 1531 h 1964"/>
                <a:gd name="T80" fmla="*/ 1477 w 2421"/>
                <a:gd name="T81" fmla="*/ 1447 h 1964"/>
                <a:gd name="T82" fmla="*/ 1577 w 2421"/>
                <a:gd name="T83" fmla="*/ 1417 h 1964"/>
                <a:gd name="T84" fmla="*/ 1610 w 2421"/>
                <a:gd name="T85" fmla="*/ 1468 h 1964"/>
                <a:gd name="T86" fmla="*/ 1592 w 2421"/>
                <a:gd name="T87" fmla="*/ 1465 h 1964"/>
                <a:gd name="T88" fmla="*/ 1661 w 2421"/>
                <a:gd name="T89" fmla="*/ 1513 h 1964"/>
                <a:gd name="T90" fmla="*/ 1750 w 2421"/>
                <a:gd name="T91" fmla="*/ 1536 h 1964"/>
                <a:gd name="T92" fmla="*/ 1742 w 2421"/>
                <a:gd name="T93" fmla="*/ 1576 h 1964"/>
                <a:gd name="T94" fmla="*/ 1749 w 2421"/>
                <a:gd name="T95" fmla="*/ 1677 h 1964"/>
                <a:gd name="T96" fmla="*/ 1652 w 2421"/>
                <a:gd name="T97" fmla="*/ 1712 h 1964"/>
                <a:gd name="T98" fmla="*/ 1738 w 2421"/>
                <a:gd name="T99" fmla="*/ 1741 h 1964"/>
                <a:gd name="T100" fmla="*/ 1840 w 2421"/>
                <a:gd name="T101" fmla="*/ 1665 h 1964"/>
                <a:gd name="T102" fmla="*/ 1903 w 2421"/>
                <a:gd name="T103" fmla="*/ 1637 h 1964"/>
                <a:gd name="T104" fmla="*/ 1996 w 2421"/>
                <a:gd name="T105" fmla="*/ 1632 h 1964"/>
                <a:gd name="T106" fmla="*/ 2063 w 2421"/>
                <a:gd name="T107" fmla="*/ 1656 h 1964"/>
                <a:gd name="T108" fmla="*/ 2053 w 2421"/>
                <a:gd name="T109" fmla="*/ 1562 h 1964"/>
                <a:gd name="T110" fmla="*/ 2101 w 2421"/>
                <a:gd name="T111" fmla="*/ 1519 h 1964"/>
                <a:gd name="T112" fmla="*/ 2026 w 2421"/>
                <a:gd name="T113" fmla="*/ 1479 h 1964"/>
                <a:gd name="T114" fmla="*/ 2042 w 2421"/>
                <a:gd name="T115" fmla="*/ 1424 h 1964"/>
                <a:gd name="T116" fmla="*/ 2175 w 2421"/>
                <a:gd name="T117" fmla="*/ 1405 h 1964"/>
                <a:gd name="T118" fmla="*/ 2170 w 2421"/>
                <a:gd name="T119" fmla="*/ 1331 h 1964"/>
                <a:gd name="T120" fmla="*/ 2119 w 2421"/>
                <a:gd name="T121" fmla="*/ 1346 h 1964"/>
                <a:gd name="T122" fmla="*/ 2031 w 2421"/>
                <a:gd name="T123" fmla="*/ 1338 h 1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21" h="1964">
                  <a:moveTo>
                    <a:pt x="1951" y="1301"/>
                  </a:moveTo>
                  <a:lnTo>
                    <a:pt x="1948" y="1299"/>
                  </a:lnTo>
                  <a:lnTo>
                    <a:pt x="1944" y="1297"/>
                  </a:lnTo>
                  <a:lnTo>
                    <a:pt x="1943" y="1292"/>
                  </a:lnTo>
                  <a:lnTo>
                    <a:pt x="1943" y="1288"/>
                  </a:lnTo>
                  <a:lnTo>
                    <a:pt x="1943" y="1285"/>
                  </a:lnTo>
                  <a:lnTo>
                    <a:pt x="1943" y="1283"/>
                  </a:lnTo>
                  <a:lnTo>
                    <a:pt x="1944" y="1280"/>
                  </a:lnTo>
                  <a:lnTo>
                    <a:pt x="1946" y="1276"/>
                  </a:lnTo>
                  <a:lnTo>
                    <a:pt x="1949" y="1272"/>
                  </a:lnTo>
                  <a:lnTo>
                    <a:pt x="1950" y="1267"/>
                  </a:lnTo>
                  <a:lnTo>
                    <a:pt x="1951" y="1264"/>
                  </a:lnTo>
                  <a:lnTo>
                    <a:pt x="1951" y="1258"/>
                  </a:lnTo>
                  <a:lnTo>
                    <a:pt x="1950" y="1256"/>
                  </a:lnTo>
                  <a:lnTo>
                    <a:pt x="1948" y="1251"/>
                  </a:lnTo>
                  <a:lnTo>
                    <a:pt x="1946" y="1250"/>
                  </a:lnTo>
                  <a:lnTo>
                    <a:pt x="1942" y="1245"/>
                  </a:lnTo>
                  <a:lnTo>
                    <a:pt x="1937" y="1243"/>
                  </a:lnTo>
                  <a:lnTo>
                    <a:pt x="1935" y="1242"/>
                  </a:lnTo>
                  <a:lnTo>
                    <a:pt x="1932" y="1240"/>
                  </a:lnTo>
                  <a:lnTo>
                    <a:pt x="1930" y="1239"/>
                  </a:lnTo>
                  <a:lnTo>
                    <a:pt x="1929" y="1236"/>
                  </a:lnTo>
                  <a:lnTo>
                    <a:pt x="1929" y="1232"/>
                  </a:lnTo>
                  <a:lnTo>
                    <a:pt x="1932" y="1227"/>
                  </a:lnTo>
                  <a:lnTo>
                    <a:pt x="1936" y="1225"/>
                  </a:lnTo>
                  <a:lnTo>
                    <a:pt x="1937" y="1224"/>
                  </a:lnTo>
                  <a:lnTo>
                    <a:pt x="1940" y="1223"/>
                  </a:lnTo>
                  <a:lnTo>
                    <a:pt x="1943" y="1220"/>
                  </a:lnTo>
                  <a:lnTo>
                    <a:pt x="1946" y="1217"/>
                  </a:lnTo>
                  <a:lnTo>
                    <a:pt x="1950" y="1215"/>
                  </a:lnTo>
                  <a:lnTo>
                    <a:pt x="1952" y="1212"/>
                  </a:lnTo>
                  <a:lnTo>
                    <a:pt x="1954" y="1208"/>
                  </a:lnTo>
                  <a:lnTo>
                    <a:pt x="1956" y="1207"/>
                  </a:lnTo>
                  <a:lnTo>
                    <a:pt x="1958" y="1203"/>
                  </a:lnTo>
                  <a:lnTo>
                    <a:pt x="1960" y="1201"/>
                  </a:lnTo>
                  <a:lnTo>
                    <a:pt x="1962" y="1196"/>
                  </a:lnTo>
                  <a:lnTo>
                    <a:pt x="1964" y="1193"/>
                  </a:lnTo>
                  <a:lnTo>
                    <a:pt x="1965" y="1189"/>
                  </a:lnTo>
                  <a:lnTo>
                    <a:pt x="1966" y="1186"/>
                  </a:lnTo>
                  <a:lnTo>
                    <a:pt x="1969" y="1184"/>
                  </a:lnTo>
                  <a:lnTo>
                    <a:pt x="1972" y="1179"/>
                  </a:lnTo>
                  <a:lnTo>
                    <a:pt x="1973" y="1177"/>
                  </a:lnTo>
                  <a:lnTo>
                    <a:pt x="1977" y="1172"/>
                  </a:lnTo>
                  <a:lnTo>
                    <a:pt x="1980" y="1171"/>
                  </a:lnTo>
                  <a:lnTo>
                    <a:pt x="1982" y="1171"/>
                  </a:lnTo>
                  <a:lnTo>
                    <a:pt x="1984" y="1171"/>
                  </a:lnTo>
                  <a:lnTo>
                    <a:pt x="1985" y="1172"/>
                  </a:lnTo>
                  <a:lnTo>
                    <a:pt x="1988" y="1173"/>
                  </a:lnTo>
                  <a:lnTo>
                    <a:pt x="1991" y="1175"/>
                  </a:lnTo>
                  <a:lnTo>
                    <a:pt x="1994" y="1175"/>
                  </a:lnTo>
                  <a:lnTo>
                    <a:pt x="1997" y="1177"/>
                  </a:lnTo>
                  <a:lnTo>
                    <a:pt x="1998" y="1177"/>
                  </a:lnTo>
                  <a:lnTo>
                    <a:pt x="2002" y="1178"/>
                  </a:lnTo>
                  <a:lnTo>
                    <a:pt x="2005" y="1179"/>
                  </a:lnTo>
                  <a:lnTo>
                    <a:pt x="2008" y="1178"/>
                  </a:lnTo>
                  <a:lnTo>
                    <a:pt x="2015" y="1176"/>
                  </a:lnTo>
                  <a:lnTo>
                    <a:pt x="2024" y="1165"/>
                  </a:lnTo>
                  <a:lnTo>
                    <a:pt x="2034" y="1153"/>
                  </a:lnTo>
                  <a:lnTo>
                    <a:pt x="2039" y="1147"/>
                  </a:lnTo>
                  <a:lnTo>
                    <a:pt x="2042" y="1144"/>
                  </a:lnTo>
                  <a:lnTo>
                    <a:pt x="2046" y="1140"/>
                  </a:lnTo>
                  <a:lnTo>
                    <a:pt x="2048" y="1138"/>
                  </a:lnTo>
                  <a:lnTo>
                    <a:pt x="2052" y="1136"/>
                  </a:lnTo>
                  <a:lnTo>
                    <a:pt x="2055" y="1133"/>
                  </a:lnTo>
                  <a:lnTo>
                    <a:pt x="2058" y="1131"/>
                  </a:lnTo>
                  <a:lnTo>
                    <a:pt x="2069" y="1129"/>
                  </a:lnTo>
                  <a:lnTo>
                    <a:pt x="2073" y="1123"/>
                  </a:lnTo>
                  <a:lnTo>
                    <a:pt x="2077" y="1122"/>
                  </a:lnTo>
                  <a:lnTo>
                    <a:pt x="2081" y="1116"/>
                  </a:lnTo>
                  <a:lnTo>
                    <a:pt x="2086" y="1113"/>
                  </a:lnTo>
                  <a:lnTo>
                    <a:pt x="2089" y="1111"/>
                  </a:lnTo>
                  <a:lnTo>
                    <a:pt x="2094" y="1109"/>
                  </a:lnTo>
                  <a:lnTo>
                    <a:pt x="2101" y="1108"/>
                  </a:lnTo>
                  <a:lnTo>
                    <a:pt x="2108" y="1105"/>
                  </a:lnTo>
                  <a:lnTo>
                    <a:pt x="2111" y="1100"/>
                  </a:lnTo>
                  <a:lnTo>
                    <a:pt x="2116" y="1098"/>
                  </a:lnTo>
                  <a:lnTo>
                    <a:pt x="2121" y="1096"/>
                  </a:lnTo>
                  <a:lnTo>
                    <a:pt x="2128" y="1095"/>
                  </a:lnTo>
                  <a:lnTo>
                    <a:pt x="2137" y="1091"/>
                  </a:lnTo>
                  <a:lnTo>
                    <a:pt x="2145" y="1088"/>
                  </a:lnTo>
                  <a:lnTo>
                    <a:pt x="2151" y="1084"/>
                  </a:lnTo>
                  <a:lnTo>
                    <a:pt x="2156" y="1080"/>
                  </a:lnTo>
                  <a:lnTo>
                    <a:pt x="2160" y="1074"/>
                  </a:lnTo>
                  <a:lnTo>
                    <a:pt x="2164" y="1072"/>
                  </a:lnTo>
                  <a:lnTo>
                    <a:pt x="2169" y="1068"/>
                  </a:lnTo>
                  <a:lnTo>
                    <a:pt x="2173" y="1061"/>
                  </a:lnTo>
                  <a:lnTo>
                    <a:pt x="2177" y="1060"/>
                  </a:lnTo>
                  <a:lnTo>
                    <a:pt x="2181" y="1053"/>
                  </a:lnTo>
                  <a:lnTo>
                    <a:pt x="2185" y="1049"/>
                  </a:lnTo>
                  <a:lnTo>
                    <a:pt x="2192" y="1045"/>
                  </a:lnTo>
                  <a:lnTo>
                    <a:pt x="2198" y="1040"/>
                  </a:lnTo>
                  <a:lnTo>
                    <a:pt x="2201" y="1037"/>
                  </a:lnTo>
                  <a:lnTo>
                    <a:pt x="2204" y="1035"/>
                  </a:lnTo>
                  <a:lnTo>
                    <a:pt x="2208" y="1034"/>
                  </a:lnTo>
                  <a:lnTo>
                    <a:pt x="2214" y="1035"/>
                  </a:lnTo>
                  <a:lnTo>
                    <a:pt x="2221" y="1037"/>
                  </a:lnTo>
                  <a:lnTo>
                    <a:pt x="2229" y="1037"/>
                  </a:lnTo>
                  <a:lnTo>
                    <a:pt x="2233" y="1035"/>
                  </a:lnTo>
                  <a:lnTo>
                    <a:pt x="2238" y="1029"/>
                  </a:lnTo>
                  <a:lnTo>
                    <a:pt x="2240" y="1026"/>
                  </a:lnTo>
                  <a:lnTo>
                    <a:pt x="2241" y="1020"/>
                  </a:lnTo>
                  <a:lnTo>
                    <a:pt x="2246" y="1016"/>
                  </a:lnTo>
                  <a:lnTo>
                    <a:pt x="2256" y="1012"/>
                  </a:lnTo>
                  <a:lnTo>
                    <a:pt x="2262" y="1012"/>
                  </a:lnTo>
                  <a:lnTo>
                    <a:pt x="2268" y="1012"/>
                  </a:lnTo>
                  <a:lnTo>
                    <a:pt x="2276" y="1010"/>
                  </a:lnTo>
                  <a:lnTo>
                    <a:pt x="2280" y="1008"/>
                  </a:lnTo>
                  <a:lnTo>
                    <a:pt x="2288" y="1002"/>
                  </a:lnTo>
                  <a:lnTo>
                    <a:pt x="2293" y="995"/>
                  </a:lnTo>
                  <a:lnTo>
                    <a:pt x="2297" y="991"/>
                  </a:lnTo>
                  <a:lnTo>
                    <a:pt x="2303" y="985"/>
                  </a:lnTo>
                  <a:lnTo>
                    <a:pt x="2308" y="984"/>
                  </a:lnTo>
                  <a:lnTo>
                    <a:pt x="2312" y="984"/>
                  </a:lnTo>
                  <a:lnTo>
                    <a:pt x="2317" y="984"/>
                  </a:lnTo>
                  <a:lnTo>
                    <a:pt x="2322" y="983"/>
                  </a:lnTo>
                  <a:lnTo>
                    <a:pt x="2327" y="977"/>
                  </a:lnTo>
                  <a:lnTo>
                    <a:pt x="2336" y="969"/>
                  </a:lnTo>
                  <a:lnTo>
                    <a:pt x="2340" y="964"/>
                  </a:lnTo>
                  <a:lnTo>
                    <a:pt x="2343" y="959"/>
                  </a:lnTo>
                  <a:lnTo>
                    <a:pt x="2350" y="959"/>
                  </a:lnTo>
                  <a:lnTo>
                    <a:pt x="2354" y="956"/>
                  </a:lnTo>
                  <a:lnTo>
                    <a:pt x="2360" y="954"/>
                  </a:lnTo>
                  <a:lnTo>
                    <a:pt x="2365" y="955"/>
                  </a:lnTo>
                  <a:lnTo>
                    <a:pt x="2372" y="956"/>
                  </a:lnTo>
                  <a:lnTo>
                    <a:pt x="2376" y="957"/>
                  </a:lnTo>
                  <a:lnTo>
                    <a:pt x="2381" y="957"/>
                  </a:lnTo>
                  <a:lnTo>
                    <a:pt x="2384" y="956"/>
                  </a:lnTo>
                  <a:lnTo>
                    <a:pt x="2385" y="951"/>
                  </a:lnTo>
                  <a:lnTo>
                    <a:pt x="2396" y="937"/>
                  </a:lnTo>
                  <a:lnTo>
                    <a:pt x="2399" y="932"/>
                  </a:lnTo>
                  <a:lnTo>
                    <a:pt x="2399" y="928"/>
                  </a:lnTo>
                  <a:lnTo>
                    <a:pt x="2400" y="924"/>
                  </a:lnTo>
                  <a:lnTo>
                    <a:pt x="2405" y="920"/>
                  </a:lnTo>
                  <a:lnTo>
                    <a:pt x="2407" y="917"/>
                  </a:lnTo>
                  <a:lnTo>
                    <a:pt x="2406" y="915"/>
                  </a:lnTo>
                  <a:lnTo>
                    <a:pt x="2406" y="909"/>
                  </a:lnTo>
                  <a:lnTo>
                    <a:pt x="2410" y="906"/>
                  </a:lnTo>
                  <a:lnTo>
                    <a:pt x="2415" y="904"/>
                  </a:lnTo>
                  <a:lnTo>
                    <a:pt x="2418" y="903"/>
                  </a:lnTo>
                  <a:lnTo>
                    <a:pt x="2421" y="899"/>
                  </a:lnTo>
                  <a:lnTo>
                    <a:pt x="2420" y="896"/>
                  </a:lnTo>
                  <a:lnTo>
                    <a:pt x="2415" y="897"/>
                  </a:lnTo>
                  <a:lnTo>
                    <a:pt x="2410" y="898"/>
                  </a:lnTo>
                  <a:lnTo>
                    <a:pt x="2405" y="896"/>
                  </a:lnTo>
                  <a:lnTo>
                    <a:pt x="2391" y="896"/>
                  </a:lnTo>
                  <a:lnTo>
                    <a:pt x="2388" y="896"/>
                  </a:lnTo>
                  <a:lnTo>
                    <a:pt x="2385" y="896"/>
                  </a:lnTo>
                  <a:lnTo>
                    <a:pt x="2383" y="899"/>
                  </a:lnTo>
                  <a:lnTo>
                    <a:pt x="2380" y="903"/>
                  </a:lnTo>
                  <a:lnTo>
                    <a:pt x="2375" y="900"/>
                  </a:lnTo>
                  <a:lnTo>
                    <a:pt x="2370" y="898"/>
                  </a:lnTo>
                  <a:lnTo>
                    <a:pt x="2367" y="901"/>
                  </a:lnTo>
                  <a:lnTo>
                    <a:pt x="2366" y="905"/>
                  </a:lnTo>
                  <a:lnTo>
                    <a:pt x="2359" y="905"/>
                  </a:lnTo>
                  <a:lnTo>
                    <a:pt x="2354" y="903"/>
                  </a:lnTo>
                  <a:lnTo>
                    <a:pt x="2348" y="900"/>
                  </a:lnTo>
                  <a:lnTo>
                    <a:pt x="2342" y="901"/>
                  </a:lnTo>
                  <a:lnTo>
                    <a:pt x="2334" y="904"/>
                  </a:lnTo>
                  <a:lnTo>
                    <a:pt x="2321" y="904"/>
                  </a:lnTo>
                  <a:lnTo>
                    <a:pt x="2317" y="901"/>
                  </a:lnTo>
                  <a:lnTo>
                    <a:pt x="2306" y="899"/>
                  </a:lnTo>
                  <a:lnTo>
                    <a:pt x="2301" y="899"/>
                  </a:lnTo>
                  <a:lnTo>
                    <a:pt x="2289" y="896"/>
                  </a:lnTo>
                  <a:lnTo>
                    <a:pt x="2286" y="899"/>
                  </a:lnTo>
                  <a:lnTo>
                    <a:pt x="2278" y="900"/>
                  </a:lnTo>
                  <a:lnTo>
                    <a:pt x="2272" y="901"/>
                  </a:lnTo>
                  <a:lnTo>
                    <a:pt x="2268" y="905"/>
                  </a:lnTo>
                  <a:lnTo>
                    <a:pt x="2262" y="911"/>
                  </a:lnTo>
                  <a:lnTo>
                    <a:pt x="2257" y="916"/>
                  </a:lnTo>
                  <a:lnTo>
                    <a:pt x="2249" y="920"/>
                  </a:lnTo>
                  <a:lnTo>
                    <a:pt x="2244" y="920"/>
                  </a:lnTo>
                  <a:lnTo>
                    <a:pt x="2230" y="923"/>
                  </a:lnTo>
                  <a:lnTo>
                    <a:pt x="2225" y="923"/>
                  </a:lnTo>
                  <a:lnTo>
                    <a:pt x="2221" y="924"/>
                  </a:lnTo>
                  <a:lnTo>
                    <a:pt x="2217" y="927"/>
                  </a:lnTo>
                  <a:lnTo>
                    <a:pt x="2215" y="938"/>
                  </a:lnTo>
                  <a:lnTo>
                    <a:pt x="2214" y="944"/>
                  </a:lnTo>
                  <a:lnTo>
                    <a:pt x="2213" y="946"/>
                  </a:lnTo>
                  <a:lnTo>
                    <a:pt x="2208" y="945"/>
                  </a:lnTo>
                  <a:lnTo>
                    <a:pt x="2205" y="943"/>
                  </a:lnTo>
                  <a:lnTo>
                    <a:pt x="2202" y="938"/>
                  </a:lnTo>
                  <a:lnTo>
                    <a:pt x="2200" y="937"/>
                  </a:lnTo>
                  <a:lnTo>
                    <a:pt x="2198" y="936"/>
                  </a:lnTo>
                  <a:lnTo>
                    <a:pt x="2197" y="932"/>
                  </a:lnTo>
                  <a:lnTo>
                    <a:pt x="2197" y="929"/>
                  </a:lnTo>
                  <a:lnTo>
                    <a:pt x="2197" y="928"/>
                  </a:lnTo>
                  <a:lnTo>
                    <a:pt x="2196" y="925"/>
                  </a:lnTo>
                  <a:lnTo>
                    <a:pt x="2194" y="920"/>
                  </a:lnTo>
                  <a:lnTo>
                    <a:pt x="2194" y="915"/>
                  </a:lnTo>
                  <a:lnTo>
                    <a:pt x="2198" y="912"/>
                  </a:lnTo>
                  <a:lnTo>
                    <a:pt x="2201" y="908"/>
                  </a:lnTo>
                  <a:lnTo>
                    <a:pt x="2210" y="903"/>
                  </a:lnTo>
                  <a:lnTo>
                    <a:pt x="2217" y="900"/>
                  </a:lnTo>
                  <a:lnTo>
                    <a:pt x="2223" y="899"/>
                  </a:lnTo>
                  <a:lnTo>
                    <a:pt x="2229" y="897"/>
                  </a:lnTo>
                  <a:lnTo>
                    <a:pt x="2236" y="893"/>
                  </a:lnTo>
                  <a:lnTo>
                    <a:pt x="2244" y="888"/>
                  </a:lnTo>
                  <a:lnTo>
                    <a:pt x="2252" y="887"/>
                  </a:lnTo>
                  <a:lnTo>
                    <a:pt x="2257" y="884"/>
                  </a:lnTo>
                  <a:lnTo>
                    <a:pt x="2263" y="883"/>
                  </a:lnTo>
                  <a:lnTo>
                    <a:pt x="2270" y="881"/>
                  </a:lnTo>
                  <a:lnTo>
                    <a:pt x="2281" y="876"/>
                  </a:lnTo>
                  <a:lnTo>
                    <a:pt x="2287" y="875"/>
                  </a:lnTo>
                  <a:lnTo>
                    <a:pt x="2289" y="872"/>
                  </a:lnTo>
                  <a:lnTo>
                    <a:pt x="2286" y="869"/>
                  </a:lnTo>
                  <a:lnTo>
                    <a:pt x="2284" y="867"/>
                  </a:lnTo>
                  <a:lnTo>
                    <a:pt x="2279" y="868"/>
                  </a:lnTo>
                  <a:lnTo>
                    <a:pt x="2276" y="871"/>
                  </a:lnTo>
                  <a:lnTo>
                    <a:pt x="2270" y="867"/>
                  </a:lnTo>
                  <a:lnTo>
                    <a:pt x="2264" y="867"/>
                  </a:lnTo>
                  <a:lnTo>
                    <a:pt x="2261" y="869"/>
                  </a:lnTo>
                  <a:lnTo>
                    <a:pt x="2257" y="872"/>
                  </a:lnTo>
                  <a:lnTo>
                    <a:pt x="2253" y="871"/>
                  </a:lnTo>
                  <a:lnTo>
                    <a:pt x="2245" y="864"/>
                  </a:lnTo>
                  <a:lnTo>
                    <a:pt x="2241" y="863"/>
                  </a:lnTo>
                  <a:lnTo>
                    <a:pt x="2238" y="860"/>
                  </a:lnTo>
                  <a:lnTo>
                    <a:pt x="2237" y="859"/>
                  </a:lnTo>
                  <a:lnTo>
                    <a:pt x="2233" y="855"/>
                  </a:lnTo>
                  <a:lnTo>
                    <a:pt x="2228" y="855"/>
                  </a:lnTo>
                  <a:lnTo>
                    <a:pt x="2224" y="853"/>
                  </a:lnTo>
                  <a:lnTo>
                    <a:pt x="2222" y="851"/>
                  </a:lnTo>
                  <a:lnTo>
                    <a:pt x="2222" y="849"/>
                  </a:lnTo>
                  <a:lnTo>
                    <a:pt x="2226" y="847"/>
                  </a:lnTo>
                  <a:lnTo>
                    <a:pt x="2231" y="847"/>
                  </a:lnTo>
                  <a:lnTo>
                    <a:pt x="2236" y="845"/>
                  </a:lnTo>
                  <a:lnTo>
                    <a:pt x="2241" y="843"/>
                  </a:lnTo>
                  <a:lnTo>
                    <a:pt x="2245" y="841"/>
                  </a:lnTo>
                  <a:lnTo>
                    <a:pt x="2249" y="837"/>
                  </a:lnTo>
                  <a:lnTo>
                    <a:pt x="2256" y="835"/>
                  </a:lnTo>
                  <a:lnTo>
                    <a:pt x="2261" y="834"/>
                  </a:lnTo>
                  <a:lnTo>
                    <a:pt x="2265" y="832"/>
                  </a:lnTo>
                  <a:lnTo>
                    <a:pt x="2269" y="831"/>
                  </a:lnTo>
                  <a:lnTo>
                    <a:pt x="2270" y="828"/>
                  </a:lnTo>
                  <a:lnTo>
                    <a:pt x="2271" y="825"/>
                  </a:lnTo>
                  <a:lnTo>
                    <a:pt x="2271" y="820"/>
                  </a:lnTo>
                  <a:lnTo>
                    <a:pt x="2270" y="817"/>
                  </a:lnTo>
                  <a:lnTo>
                    <a:pt x="2265" y="815"/>
                  </a:lnTo>
                  <a:lnTo>
                    <a:pt x="2258" y="808"/>
                  </a:lnTo>
                  <a:lnTo>
                    <a:pt x="2256" y="804"/>
                  </a:lnTo>
                  <a:lnTo>
                    <a:pt x="2249" y="796"/>
                  </a:lnTo>
                  <a:lnTo>
                    <a:pt x="2249" y="792"/>
                  </a:lnTo>
                  <a:lnTo>
                    <a:pt x="2246" y="788"/>
                  </a:lnTo>
                  <a:lnTo>
                    <a:pt x="2240" y="786"/>
                  </a:lnTo>
                  <a:lnTo>
                    <a:pt x="2234" y="784"/>
                  </a:lnTo>
                  <a:lnTo>
                    <a:pt x="2231" y="783"/>
                  </a:lnTo>
                  <a:lnTo>
                    <a:pt x="2226" y="781"/>
                  </a:lnTo>
                  <a:lnTo>
                    <a:pt x="2224" y="778"/>
                  </a:lnTo>
                  <a:lnTo>
                    <a:pt x="2224" y="773"/>
                  </a:lnTo>
                  <a:lnTo>
                    <a:pt x="2220" y="772"/>
                  </a:lnTo>
                  <a:lnTo>
                    <a:pt x="2213" y="770"/>
                  </a:lnTo>
                  <a:lnTo>
                    <a:pt x="2208" y="770"/>
                  </a:lnTo>
                  <a:lnTo>
                    <a:pt x="2202" y="770"/>
                  </a:lnTo>
                  <a:lnTo>
                    <a:pt x="2199" y="767"/>
                  </a:lnTo>
                  <a:lnTo>
                    <a:pt x="2199" y="763"/>
                  </a:lnTo>
                  <a:lnTo>
                    <a:pt x="2200" y="759"/>
                  </a:lnTo>
                  <a:lnTo>
                    <a:pt x="2201" y="752"/>
                  </a:lnTo>
                  <a:lnTo>
                    <a:pt x="2201" y="748"/>
                  </a:lnTo>
                  <a:lnTo>
                    <a:pt x="2198" y="745"/>
                  </a:lnTo>
                  <a:lnTo>
                    <a:pt x="2190" y="739"/>
                  </a:lnTo>
                  <a:lnTo>
                    <a:pt x="2181" y="735"/>
                  </a:lnTo>
                  <a:lnTo>
                    <a:pt x="2177" y="732"/>
                  </a:lnTo>
                  <a:lnTo>
                    <a:pt x="2177" y="729"/>
                  </a:lnTo>
                  <a:lnTo>
                    <a:pt x="2175" y="725"/>
                  </a:lnTo>
                  <a:lnTo>
                    <a:pt x="2174" y="720"/>
                  </a:lnTo>
                  <a:lnTo>
                    <a:pt x="2176" y="716"/>
                  </a:lnTo>
                  <a:lnTo>
                    <a:pt x="2175" y="714"/>
                  </a:lnTo>
                  <a:lnTo>
                    <a:pt x="2172" y="714"/>
                  </a:lnTo>
                  <a:lnTo>
                    <a:pt x="2168" y="713"/>
                  </a:lnTo>
                  <a:lnTo>
                    <a:pt x="2166" y="711"/>
                  </a:lnTo>
                  <a:lnTo>
                    <a:pt x="2168" y="706"/>
                  </a:lnTo>
                  <a:lnTo>
                    <a:pt x="2172" y="703"/>
                  </a:lnTo>
                  <a:lnTo>
                    <a:pt x="2174" y="701"/>
                  </a:lnTo>
                  <a:lnTo>
                    <a:pt x="2175" y="693"/>
                  </a:lnTo>
                  <a:lnTo>
                    <a:pt x="2173" y="689"/>
                  </a:lnTo>
                  <a:lnTo>
                    <a:pt x="2170" y="683"/>
                  </a:lnTo>
                  <a:lnTo>
                    <a:pt x="2166" y="680"/>
                  </a:lnTo>
                  <a:lnTo>
                    <a:pt x="2164" y="677"/>
                  </a:lnTo>
                  <a:lnTo>
                    <a:pt x="2164" y="675"/>
                  </a:lnTo>
                  <a:lnTo>
                    <a:pt x="2165" y="674"/>
                  </a:lnTo>
                  <a:lnTo>
                    <a:pt x="2162" y="672"/>
                  </a:lnTo>
                  <a:lnTo>
                    <a:pt x="2162" y="668"/>
                  </a:lnTo>
                  <a:lnTo>
                    <a:pt x="2164" y="664"/>
                  </a:lnTo>
                  <a:lnTo>
                    <a:pt x="2162" y="660"/>
                  </a:lnTo>
                  <a:lnTo>
                    <a:pt x="2158" y="659"/>
                  </a:lnTo>
                  <a:lnTo>
                    <a:pt x="2152" y="655"/>
                  </a:lnTo>
                  <a:lnTo>
                    <a:pt x="2145" y="656"/>
                  </a:lnTo>
                  <a:lnTo>
                    <a:pt x="2142" y="655"/>
                  </a:lnTo>
                  <a:lnTo>
                    <a:pt x="2137" y="655"/>
                  </a:lnTo>
                  <a:lnTo>
                    <a:pt x="2133" y="659"/>
                  </a:lnTo>
                  <a:lnTo>
                    <a:pt x="2119" y="659"/>
                  </a:lnTo>
                  <a:lnTo>
                    <a:pt x="2111" y="659"/>
                  </a:lnTo>
                  <a:lnTo>
                    <a:pt x="2106" y="658"/>
                  </a:lnTo>
                  <a:lnTo>
                    <a:pt x="2102" y="657"/>
                  </a:lnTo>
                  <a:lnTo>
                    <a:pt x="2097" y="655"/>
                  </a:lnTo>
                  <a:lnTo>
                    <a:pt x="2093" y="652"/>
                  </a:lnTo>
                  <a:lnTo>
                    <a:pt x="2088" y="653"/>
                  </a:lnTo>
                  <a:lnTo>
                    <a:pt x="2093" y="660"/>
                  </a:lnTo>
                  <a:lnTo>
                    <a:pt x="2094" y="665"/>
                  </a:lnTo>
                  <a:lnTo>
                    <a:pt x="2092" y="668"/>
                  </a:lnTo>
                  <a:lnTo>
                    <a:pt x="2088" y="671"/>
                  </a:lnTo>
                  <a:lnTo>
                    <a:pt x="2084" y="672"/>
                  </a:lnTo>
                  <a:lnTo>
                    <a:pt x="2079" y="674"/>
                  </a:lnTo>
                  <a:lnTo>
                    <a:pt x="2076" y="684"/>
                  </a:lnTo>
                  <a:lnTo>
                    <a:pt x="2077" y="689"/>
                  </a:lnTo>
                  <a:lnTo>
                    <a:pt x="2076" y="693"/>
                  </a:lnTo>
                  <a:lnTo>
                    <a:pt x="2068" y="695"/>
                  </a:lnTo>
                  <a:lnTo>
                    <a:pt x="2064" y="692"/>
                  </a:lnTo>
                  <a:lnTo>
                    <a:pt x="2062" y="690"/>
                  </a:lnTo>
                  <a:lnTo>
                    <a:pt x="2058" y="691"/>
                  </a:lnTo>
                  <a:lnTo>
                    <a:pt x="2053" y="691"/>
                  </a:lnTo>
                  <a:lnTo>
                    <a:pt x="2054" y="688"/>
                  </a:lnTo>
                  <a:lnTo>
                    <a:pt x="2055" y="684"/>
                  </a:lnTo>
                  <a:lnTo>
                    <a:pt x="2053" y="681"/>
                  </a:lnTo>
                  <a:lnTo>
                    <a:pt x="2052" y="676"/>
                  </a:lnTo>
                  <a:lnTo>
                    <a:pt x="2050" y="669"/>
                  </a:lnTo>
                  <a:lnTo>
                    <a:pt x="2052" y="659"/>
                  </a:lnTo>
                  <a:lnTo>
                    <a:pt x="2053" y="653"/>
                  </a:lnTo>
                  <a:lnTo>
                    <a:pt x="2056" y="649"/>
                  </a:lnTo>
                  <a:lnTo>
                    <a:pt x="2061" y="643"/>
                  </a:lnTo>
                  <a:lnTo>
                    <a:pt x="2065" y="640"/>
                  </a:lnTo>
                  <a:lnTo>
                    <a:pt x="2066" y="636"/>
                  </a:lnTo>
                  <a:lnTo>
                    <a:pt x="2068" y="632"/>
                  </a:lnTo>
                  <a:lnTo>
                    <a:pt x="2066" y="628"/>
                  </a:lnTo>
                  <a:lnTo>
                    <a:pt x="2063" y="619"/>
                  </a:lnTo>
                  <a:lnTo>
                    <a:pt x="2060" y="613"/>
                  </a:lnTo>
                  <a:lnTo>
                    <a:pt x="2057" y="608"/>
                  </a:lnTo>
                  <a:lnTo>
                    <a:pt x="2056" y="602"/>
                  </a:lnTo>
                  <a:lnTo>
                    <a:pt x="2057" y="593"/>
                  </a:lnTo>
                  <a:lnTo>
                    <a:pt x="2058" y="588"/>
                  </a:lnTo>
                  <a:lnTo>
                    <a:pt x="2062" y="583"/>
                  </a:lnTo>
                  <a:lnTo>
                    <a:pt x="2065" y="577"/>
                  </a:lnTo>
                  <a:lnTo>
                    <a:pt x="2068" y="572"/>
                  </a:lnTo>
                  <a:lnTo>
                    <a:pt x="2070" y="569"/>
                  </a:lnTo>
                  <a:lnTo>
                    <a:pt x="2071" y="564"/>
                  </a:lnTo>
                  <a:lnTo>
                    <a:pt x="2070" y="561"/>
                  </a:lnTo>
                  <a:lnTo>
                    <a:pt x="2065" y="557"/>
                  </a:lnTo>
                  <a:lnTo>
                    <a:pt x="2062" y="555"/>
                  </a:lnTo>
                  <a:lnTo>
                    <a:pt x="2054" y="552"/>
                  </a:lnTo>
                  <a:lnTo>
                    <a:pt x="2052" y="547"/>
                  </a:lnTo>
                  <a:lnTo>
                    <a:pt x="2048" y="544"/>
                  </a:lnTo>
                  <a:lnTo>
                    <a:pt x="2044" y="544"/>
                  </a:lnTo>
                  <a:lnTo>
                    <a:pt x="2040" y="544"/>
                  </a:lnTo>
                  <a:lnTo>
                    <a:pt x="2036" y="544"/>
                  </a:lnTo>
                  <a:lnTo>
                    <a:pt x="2031" y="543"/>
                  </a:lnTo>
                  <a:lnTo>
                    <a:pt x="2028" y="546"/>
                  </a:lnTo>
                  <a:lnTo>
                    <a:pt x="2023" y="552"/>
                  </a:lnTo>
                  <a:lnTo>
                    <a:pt x="2020" y="555"/>
                  </a:lnTo>
                  <a:lnTo>
                    <a:pt x="2020" y="560"/>
                  </a:lnTo>
                  <a:lnTo>
                    <a:pt x="2016" y="564"/>
                  </a:lnTo>
                  <a:lnTo>
                    <a:pt x="2010" y="568"/>
                  </a:lnTo>
                  <a:lnTo>
                    <a:pt x="2006" y="572"/>
                  </a:lnTo>
                  <a:lnTo>
                    <a:pt x="2005" y="577"/>
                  </a:lnTo>
                  <a:lnTo>
                    <a:pt x="2005" y="580"/>
                  </a:lnTo>
                  <a:lnTo>
                    <a:pt x="2006" y="584"/>
                  </a:lnTo>
                  <a:lnTo>
                    <a:pt x="2004" y="588"/>
                  </a:lnTo>
                  <a:lnTo>
                    <a:pt x="2004" y="592"/>
                  </a:lnTo>
                  <a:lnTo>
                    <a:pt x="2004" y="594"/>
                  </a:lnTo>
                  <a:lnTo>
                    <a:pt x="2002" y="599"/>
                  </a:lnTo>
                  <a:lnTo>
                    <a:pt x="2000" y="602"/>
                  </a:lnTo>
                  <a:lnTo>
                    <a:pt x="1994" y="603"/>
                  </a:lnTo>
                  <a:lnTo>
                    <a:pt x="1989" y="604"/>
                  </a:lnTo>
                  <a:lnTo>
                    <a:pt x="1982" y="602"/>
                  </a:lnTo>
                  <a:lnTo>
                    <a:pt x="1975" y="601"/>
                  </a:lnTo>
                  <a:lnTo>
                    <a:pt x="1972" y="602"/>
                  </a:lnTo>
                  <a:lnTo>
                    <a:pt x="1965" y="602"/>
                  </a:lnTo>
                  <a:lnTo>
                    <a:pt x="1961" y="605"/>
                  </a:lnTo>
                  <a:lnTo>
                    <a:pt x="1960" y="609"/>
                  </a:lnTo>
                  <a:lnTo>
                    <a:pt x="1954" y="610"/>
                  </a:lnTo>
                  <a:lnTo>
                    <a:pt x="1949" y="609"/>
                  </a:lnTo>
                  <a:lnTo>
                    <a:pt x="1946" y="604"/>
                  </a:lnTo>
                  <a:lnTo>
                    <a:pt x="1929" y="587"/>
                  </a:lnTo>
                  <a:lnTo>
                    <a:pt x="1932" y="585"/>
                  </a:lnTo>
                  <a:lnTo>
                    <a:pt x="1933" y="579"/>
                  </a:lnTo>
                  <a:lnTo>
                    <a:pt x="1936" y="575"/>
                  </a:lnTo>
                  <a:lnTo>
                    <a:pt x="1938" y="572"/>
                  </a:lnTo>
                  <a:lnTo>
                    <a:pt x="1943" y="573"/>
                  </a:lnTo>
                  <a:lnTo>
                    <a:pt x="1948" y="571"/>
                  </a:lnTo>
                  <a:lnTo>
                    <a:pt x="1944" y="568"/>
                  </a:lnTo>
                  <a:lnTo>
                    <a:pt x="1937" y="564"/>
                  </a:lnTo>
                  <a:lnTo>
                    <a:pt x="1929" y="563"/>
                  </a:lnTo>
                  <a:lnTo>
                    <a:pt x="1922" y="562"/>
                  </a:lnTo>
                  <a:lnTo>
                    <a:pt x="1917" y="563"/>
                  </a:lnTo>
                  <a:lnTo>
                    <a:pt x="1912" y="565"/>
                  </a:lnTo>
                  <a:lnTo>
                    <a:pt x="1906" y="569"/>
                  </a:lnTo>
                  <a:lnTo>
                    <a:pt x="1898" y="568"/>
                  </a:lnTo>
                  <a:lnTo>
                    <a:pt x="1893" y="569"/>
                  </a:lnTo>
                  <a:lnTo>
                    <a:pt x="1890" y="571"/>
                  </a:lnTo>
                  <a:lnTo>
                    <a:pt x="1893" y="576"/>
                  </a:lnTo>
                  <a:lnTo>
                    <a:pt x="1901" y="581"/>
                  </a:lnTo>
                  <a:lnTo>
                    <a:pt x="1901" y="584"/>
                  </a:lnTo>
                  <a:lnTo>
                    <a:pt x="1894" y="586"/>
                  </a:lnTo>
                  <a:lnTo>
                    <a:pt x="1884" y="586"/>
                  </a:lnTo>
                  <a:lnTo>
                    <a:pt x="1880" y="585"/>
                  </a:lnTo>
                  <a:lnTo>
                    <a:pt x="1877" y="584"/>
                  </a:lnTo>
                  <a:lnTo>
                    <a:pt x="1869" y="588"/>
                  </a:lnTo>
                  <a:lnTo>
                    <a:pt x="1864" y="588"/>
                  </a:lnTo>
                  <a:lnTo>
                    <a:pt x="1858" y="586"/>
                  </a:lnTo>
                  <a:lnTo>
                    <a:pt x="1853" y="587"/>
                  </a:lnTo>
                  <a:lnTo>
                    <a:pt x="1849" y="593"/>
                  </a:lnTo>
                  <a:lnTo>
                    <a:pt x="1848" y="599"/>
                  </a:lnTo>
                  <a:lnTo>
                    <a:pt x="1849" y="605"/>
                  </a:lnTo>
                  <a:lnTo>
                    <a:pt x="1855" y="612"/>
                  </a:lnTo>
                  <a:lnTo>
                    <a:pt x="1855" y="617"/>
                  </a:lnTo>
                  <a:lnTo>
                    <a:pt x="1852" y="623"/>
                  </a:lnTo>
                  <a:lnTo>
                    <a:pt x="1853" y="627"/>
                  </a:lnTo>
                  <a:lnTo>
                    <a:pt x="1855" y="631"/>
                  </a:lnTo>
                  <a:lnTo>
                    <a:pt x="1856" y="637"/>
                  </a:lnTo>
                  <a:lnTo>
                    <a:pt x="1860" y="642"/>
                  </a:lnTo>
                  <a:lnTo>
                    <a:pt x="1865" y="644"/>
                  </a:lnTo>
                  <a:lnTo>
                    <a:pt x="1866" y="651"/>
                  </a:lnTo>
                  <a:lnTo>
                    <a:pt x="1863" y="655"/>
                  </a:lnTo>
                  <a:lnTo>
                    <a:pt x="1860" y="657"/>
                  </a:lnTo>
                  <a:lnTo>
                    <a:pt x="1855" y="660"/>
                  </a:lnTo>
                  <a:lnTo>
                    <a:pt x="1850" y="659"/>
                  </a:lnTo>
                  <a:lnTo>
                    <a:pt x="1846" y="653"/>
                  </a:lnTo>
                  <a:lnTo>
                    <a:pt x="1844" y="650"/>
                  </a:lnTo>
                  <a:lnTo>
                    <a:pt x="1842" y="645"/>
                  </a:lnTo>
                  <a:lnTo>
                    <a:pt x="1838" y="642"/>
                  </a:lnTo>
                  <a:lnTo>
                    <a:pt x="1833" y="643"/>
                  </a:lnTo>
                  <a:lnTo>
                    <a:pt x="1826" y="644"/>
                  </a:lnTo>
                  <a:lnTo>
                    <a:pt x="1820" y="648"/>
                  </a:lnTo>
                  <a:lnTo>
                    <a:pt x="1813" y="648"/>
                  </a:lnTo>
                  <a:lnTo>
                    <a:pt x="1808" y="647"/>
                  </a:lnTo>
                  <a:lnTo>
                    <a:pt x="1806" y="643"/>
                  </a:lnTo>
                  <a:lnTo>
                    <a:pt x="1805" y="641"/>
                  </a:lnTo>
                  <a:lnTo>
                    <a:pt x="1801" y="633"/>
                  </a:lnTo>
                  <a:lnTo>
                    <a:pt x="1800" y="629"/>
                  </a:lnTo>
                  <a:lnTo>
                    <a:pt x="1806" y="621"/>
                  </a:lnTo>
                  <a:lnTo>
                    <a:pt x="1806" y="616"/>
                  </a:lnTo>
                  <a:lnTo>
                    <a:pt x="1802" y="609"/>
                  </a:lnTo>
                  <a:lnTo>
                    <a:pt x="1801" y="605"/>
                  </a:lnTo>
                  <a:lnTo>
                    <a:pt x="1801" y="602"/>
                  </a:lnTo>
                  <a:lnTo>
                    <a:pt x="1794" y="601"/>
                  </a:lnTo>
                  <a:lnTo>
                    <a:pt x="1797" y="596"/>
                  </a:lnTo>
                  <a:lnTo>
                    <a:pt x="1800" y="594"/>
                  </a:lnTo>
                  <a:lnTo>
                    <a:pt x="1805" y="594"/>
                  </a:lnTo>
                  <a:lnTo>
                    <a:pt x="1808" y="592"/>
                  </a:lnTo>
                  <a:lnTo>
                    <a:pt x="1813" y="588"/>
                  </a:lnTo>
                  <a:lnTo>
                    <a:pt x="1818" y="587"/>
                  </a:lnTo>
                  <a:lnTo>
                    <a:pt x="1821" y="584"/>
                  </a:lnTo>
                  <a:lnTo>
                    <a:pt x="1818" y="580"/>
                  </a:lnTo>
                  <a:lnTo>
                    <a:pt x="1812" y="580"/>
                  </a:lnTo>
                  <a:lnTo>
                    <a:pt x="1804" y="581"/>
                  </a:lnTo>
                  <a:lnTo>
                    <a:pt x="1797" y="580"/>
                  </a:lnTo>
                  <a:lnTo>
                    <a:pt x="1792" y="583"/>
                  </a:lnTo>
                  <a:lnTo>
                    <a:pt x="1788" y="584"/>
                  </a:lnTo>
                  <a:lnTo>
                    <a:pt x="1783" y="578"/>
                  </a:lnTo>
                  <a:lnTo>
                    <a:pt x="1785" y="573"/>
                  </a:lnTo>
                  <a:lnTo>
                    <a:pt x="1790" y="571"/>
                  </a:lnTo>
                  <a:lnTo>
                    <a:pt x="1793" y="569"/>
                  </a:lnTo>
                  <a:lnTo>
                    <a:pt x="1802" y="564"/>
                  </a:lnTo>
                  <a:lnTo>
                    <a:pt x="1810" y="559"/>
                  </a:lnTo>
                  <a:lnTo>
                    <a:pt x="1815" y="557"/>
                  </a:lnTo>
                  <a:lnTo>
                    <a:pt x="1820" y="557"/>
                  </a:lnTo>
                  <a:lnTo>
                    <a:pt x="1824" y="556"/>
                  </a:lnTo>
                  <a:lnTo>
                    <a:pt x="1823" y="555"/>
                  </a:lnTo>
                  <a:lnTo>
                    <a:pt x="1822" y="552"/>
                  </a:lnTo>
                  <a:lnTo>
                    <a:pt x="1818" y="548"/>
                  </a:lnTo>
                  <a:lnTo>
                    <a:pt x="1816" y="545"/>
                  </a:lnTo>
                  <a:lnTo>
                    <a:pt x="1809" y="538"/>
                  </a:lnTo>
                  <a:lnTo>
                    <a:pt x="1804" y="531"/>
                  </a:lnTo>
                  <a:lnTo>
                    <a:pt x="1801" y="528"/>
                  </a:lnTo>
                  <a:lnTo>
                    <a:pt x="1793" y="520"/>
                  </a:lnTo>
                  <a:lnTo>
                    <a:pt x="1785" y="512"/>
                  </a:lnTo>
                  <a:lnTo>
                    <a:pt x="1781" y="508"/>
                  </a:lnTo>
                  <a:lnTo>
                    <a:pt x="1777" y="503"/>
                  </a:lnTo>
                  <a:lnTo>
                    <a:pt x="1773" y="500"/>
                  </a:lnTo>
                  <a:lnTo>
                    <a:pt x="1769" y="500"/>
                  </a:lnTo>
                  <a:lnTo>
                    <a:pt x="1762" y="498"/>
                  </a:lnTo>
                  <a:lnTo>
                    <a:pt x="1758" y="495"/>
                  </a:lnTo>
                  <a:lnTo>
                    <a:pt x="1752" y="495"/>
                  </a:lnTo>
                  <a:lnTo>
                    <a:pt x="1746" y="495"/>
                  </a:lnTo>
                  <a:lnTo>
                    <a:pt x="1741" y="495"/>
                  </a:lnTo>
                  <a:lnTo>
                    <a:pt x="1738" y="491"/>
                  </a:lnTo>
                  <a:lnTo>
                    <a:pt x="1738" y="488"/>
                  </a:lnTo>
                  <a:lnTo>
                    <a:pt x="1737" y="483"/>
                  </a:lnTo>
                  <a:lnTo>
                    <a:pt x="1737" y="479"/>
                  </a:lnTo>
                  <a:lnTo>
                    <a:pt x="1735" y="476"/>
                  </a:lnTo>
                  <a:lnTo>
                    <a:pt x="1732" y="474"/>
                  </a:lnTo>
                  <a:lnTo>
                    <a:pt x="1728" y="471"/>
                  </a:lnTo>
                  <a:lnTo>
                    <a:pt x="1726" y="466"/>
                  </a:lnTo>
                  <a:lnTo>
                    <a:pt x="1722" y="465"/>
                  </a:lnTo>
                  <a:lnTo>
                    <a:pt x="1718" y="464"/>
                  </a:lnTo>
                  <a:lnTo>
                    <a:pt x="1712" y="457"/>
                  </a:lnTo>
                  <a:lnTo>
                    <a:pt x="1706" y="455"/>
                  </a:lnTo>
                  <a:lnTo>
                    <a:pt x="1703" y="451"/>
                  </a:lnTo>
                  <a:lnTo>
                    <a:pt x="1700" y="448"/>
                  </a:lnTo>
                  <a:lnTo>
                    <a:pt x="1698" y="444"/>
                  </a:lnTo>
                  <a:lnTo>
                    <a:pt x="1695" y="440"/>
                  </a:lnTo>
                  <a:lnTo>
                    <a:pt x="1690" y="437"/>
                  </a:lnTo>
                  <a:lnTo>
                    <a:pt x="1686" y="434"/>
                  </a:lnTo>
                  <a:lnTo>
                    <a:pt x="1682" y="431"/>
                  </a:lnTo>
                  <a:lnTo>
                    <a:pt x="1680" y="424"/>
                  </a:lnTo>
                  <a:lnTo>
                    <a:pt x="1678" y="413"/>
                  </a:lnTo>
                  <a:lnTo>
                    <a:pt x="1679" y="410"/>
                  </a:lnTo>
                  <a:lnTo>
                    <a:pt x="1678" y="402"/>
                  </a:lnTo>
                  <a:lnTo>
                    <a:pt x="1676" y="397"/>
                  </a:lnTo>
                  <a:lnTo>
                    <a:pt x="1672" y="393"/>
                  </a:lnTo>
                  <a:lnTo>
                    <a:pt x="1670" y="391"/>
                  </a:lnTo>
                  <a:lnTo>
                    <a:pt x="1669" y="383"/>
                  </a:lnTo>
                  <a:lnTo>
                    <a:pt x="1666" y="373"/>
                  </a:lnTo>
                  <a:lnTo>
                    <a:pt x="1668" y="370"/>
                  </a:lnTo>
                  <a:lnTo>
                    <a:pt x="1668" y="365"/>
                  </a:lnTo>
                  <a:lnTo>
                    <a:pt x="1668" y="359"/>
                  </a:lnTo>
                  <a:lnTo>
                    <a:pt x="1664" y="356"/>
                  </a:lnTo>
                  <a:lnTo>
                    <a:pt x="1663" y="354"/>
                  </a:lnTo>
                  <a:lnTo>
                    <a:pt x="1660" y="352"/>
                  </a:lnTo>
                  <a:lnTo>
                    <a:pt x="1658" y="351"/>
                  </a:lnTo>
                  <a:lnTo>
                    <a:pt x="1660" y="348"/>
                  </a:lnTo>
                  <a:lnTo>
                    <a:pt x="1662" y="348"/>
                  </a:lnTo>
                  <a:lnTo>
                    <a:pt x="1666" y="349"/>
                  </a:lnTo>
                  <a:lnTo>
                    <a:pt x="1670" y="348"/>
                  </a:lnTo>
                  <a:lnTo>
                    <a:pt x="1671" y="345"/>
                  </a:lnTo>
                  <a:lnTo>
                    <a:pt x="1672" y="341"/>
                  </a:lnTo>
                  <a:lnTo>
                    <a:pt x="1674" y="336"/>
                  </a:lnTo>
                  <a:lnTo>
                    <a:pt x="1673" y="331"/>
                  </a:lnTo>
                  <a:lnTo>
                    <a:pt x="1670" y="325"/>
                  </a:lnTo>
                  <a:lnTo>
                    <a:pt x="1668" y="323"/>
                  </a:lnTo>
                  <a:lnTo>
                    <a:pt x="1664" y="323"/>
                  </a:lnTo>
                  <a:lnTo>
                    <a:pt x="1657" y="323"/>
                  </a:lnTo>
                  <a:lnTo>
                    <a:pt x="1654" y="323"/>
                  </a:lnTo>
                  <a:lnTo>
                    <a:pt x="1647" y="323"/>
                  </a:lnTo>
                  <a:lnTo>
                    <a:pt x="1642" y="317"/>
                  </a:lnTo>
                  <a:lnTo>
                    <a:pt x="1639" y="315"/>
                  </a:lnTo>
                  <a:lnTo>
                    <a:pt x="1638" y="312"/>
                  </a:lnTo>
                  <a:lnTo>
                    <a:pt x="1638" y="299"/>
                  </a:lnTo>
                  <a:lnTo>
                    <a:pt x="1637" y="295"/>
                  </a:lnTo>
                  <a:lnTo>
                    <a:pt x="1634" y="292"/>
                  </a:lnTo>
                  <a:lnTo>
                    <a:pt x="1631" y="292"/>
                  </a:lnTo>
                  <a:lnTo>
                    <a:pt x="1630" y="290"/>
                  </a:lnTo>
                  <a:lnTo>
                    <a:pt x="1630" y="284"/>
                  </a:lnTo>
                  <a:lnTo>
                    <a:pt x="1632" y="283"/>
                  </a:lnTo>
                  <a:lnTo>
                    <a:pt x="1637" y="280"/>
                  </a:lnTo>
                  <a:lnTo>
                    <a:pt x="1640" y="277"/>
                  </a:lnTo>
                  <a:lnTo>
                    <a:pt x="1638" y="273"/>
                  </a:lnTo>
                  <a:lnTo>
                    <a:pt x="1637" y="271"/>
                  </a:lnTo>
                  <a:lnTo>
                    <a:pt x="1637" y="268"/>
                  </a:lnTo>
                  <a:lnTo>
                    <a:pt x="1640" y="266"/>
                  </a:lnTo>
                  <a:lnTo>
                    <a:pt x="1640" y="263"/>
                  </a:lnTo>
                  <a:lnTo>
                    <a:pt x="1637" y="259"/>
                  </a:lnTo>
                  <a:lnTo>
                    <a:pt x="1633" y="260"/>
                  </a:lnTo>
                  <a:lnTo>
                    <a:pt x="1630" y="265"/>
                  </a:lnTo>
                  <a:lnTo>
                    <a:pt x="1624" y="269"/>
                  </a:lnTo>
                  <a:lnTo>
                    <a:pt x="1621" y="269"/>
                  </a:lnTo>
                  <a:lnTo>
                    <a:pt x="1618" y="265"/>
                  </a:lnTo>
                  <a:lnTo>
                    <a:pt x="1623" y="259"/>
                  </a:lnTo>
                  <a:lnTo>
                    <a:pt x="1624" y="256"/>
                  </a:lnTo>
                  <a:lnTo>
                    <a:pt x="1622" y="251"/>
                  </a:lnTo>
                  <a:lnTo>
                    <a:pt x="1616" y="250"/>
                  </a:lnTo>
                  <a:lnTo>
                    <a:pt x="1610" y="253"/>
                  </a:lnTo>
                  <a:lnTo>
                    <a:pt x="1605" y="258"/>
                  </a:lnTo>
                  <a:lnTo>
                    <a:pt x="1597" y="261"/>
                  </a:lnTo>
                  <a:lnTo>
                    <a:pt x="1590" y="266"/>
                  </a:lnTo>
                  <a:lnTo>
                    <a:pt x="1585" y="267"/>
                  </a:lnTo>
                  <a:lnTo>
                    <a:pt x="1583" y="265"/>
                  </a:lnTo>
                  <a:lnTo>
                    <a:pt x="1582" y="260"/>
                  </a:lnTo>
                  <a:lnTo>
                    <a:pt x="1581" y="258"/>
                  </a:lnTo>
                  <a:lnTo>
                    <a:pt x="1577" y="258"/>
                  </a:lnTo>
                  <a:lnTo>
                    <a:pt x="1573" y="259"/>
                  </a:lnTo>
                  <a:lnTo>
                    <a:pt x="1569" y="261"/>
                  </a:lnTo>
                  <a:lnTo>
                    <a:pt x="1562" y="264"/>
                  </a:lnTo>
                  <a:lnTo>
                    <a:pt x="1558" y="264"/>
                  </a:lnTo>
                  <a:lnTo>
                    <a:pt x="1553" y="263"/>
                  </a:lnTo>
                  <a:lnTo>
                    <a:pt x="1550" y="261"/>
                  </a:lnTo>
                  <a:lnTo>
                    <a:pt x="1544" y="258"/>
                  </a:lnTo>
                  <a:lnTo>
                    <a:pt x="1537" y="251"/>
                  </a:lnTo>
                  <a:lnTo>
                    <a:pt x="1532" y="252"/>
                  </a:lnTo>
                  <a:lnTo>
                    <a:pt x="1526" y="253"/>
                  </a:lnTo>
                  <a:lnTo>
                    <a:pt x="1520" y="252"/>
                  </a:lnTo>
                  <a:lnTo>
                    <a:pt x="1514" y="249"/>
                  </a:lnTo>
                  <a:lnTo>
                    <a:pt x="1510" y="240"/>
                  </a:lnTo>
                  <a:lnTo>
                    <a:pt x="1510" y="234"/>
                  </a:lnTo>
                  <a:lnTo>
                    <a:pt x="1509" y="228"/>
                  </a:lnTo>
                  <a:lnTo>
                    <a:pt x="1508" y="225"/>
                  </a:lnTo>
                  <a:lnTo>
                    <a:pt x="1506" y="224"/>
                  </a:lnTo>
                  <a:lnTo>
                    <a:pt x="1503" y="223"/>
                  </a:lnTo>
                  <a:lnTo>
                    <a:pt x="1496" y="223"/>
                  </a:lnTo>
                  <a:lnTo>
                    <a:pt x="1490" y="221"/>
                  </a:lnTo>
                  <a:lnTo>
                    <a:pt x="1486" y="219"/>
                  </a:lnTo>
                  <a:lnTo>
                    <a:pt x="1479" y="223"/>
                  </a:lnTo>
                  <a:lnTo>
                    <a:pt x="1474" y="227"/>
                  </a:lnTo>
                  <a:lnTo>
                    <a:pt x="1470" y="231"/>
                  </a:lnTo>
                  <a:lnTo>
                    <a:pt x="1465" y="232"/>
                  </a:lnTo>
                  <a:lnTo>
                    <a:pt x="1460" y="233"/>
                  </a:lnTo>
                  <a:lnTo>
                    <a:pt x="1455" y="231"/>
                  </a:lnTo>
                  <a:lnTo>
                    <a:pt x="1453" y="227"/>
                  </a:lnTo>
                  <a:lnTo>
                    <a:pt x="1448" y="227"/>
                  </a:lnTo>
                  <a:lnTo>
                    <a:pt x="1446" y="227"/>
                  </a:lnTo>
                  <a:lnTo>
                    <a:pt x="1440" y="227"/>
                  </a:lnTo>
                  <a:lnTo>
                    <a:pt x="1436" y="231"/>
                  </a:lnTo>
                  <a:lnTo>
                    <a:pt x="1433" y="236"/>
                  </a:lnTo>
                  <a:lnTo>
                    <a:pt x="1430" y="240"/>
                  </a:lnTo>
                  <a:lnTo>
                    <a:pt x="1426" y="242"/>
                  </a:lnTo>
                  <a:lnTo>
                    <a:pt x="1422" y="241"/>
                  </a:lnTo>
                  <a:lnTo>
                    <a:pt x="1421" y="234"/>
                  </a:lnTo>
                  <a:lnTo>
                    <a:pt x="1420" y="229"/>
                  </a:lnTo>
                  <a:lnTo>
                    <a:pt x="1413" y="225"/>
                  </a:lnTo>
                  <a:lnTo>
                    <a:pt x="1413" y="220"/>
                  </a:lnTo>
                  <a:lnTo>
                    <a:pt x="1410" y="216"/>
                  </a:lnTo>
                  <a:lnTo>
                    <a:pt x="1407" y="213"/>
                  </a:lnTo>
                  <a:lnTo>
                    <a:pt x="1405" y="212"/>
                  </a:lnTo>
                  <a:lnTo>
                    <a:pt x="1399" y="210"/>
                  </a:lnTo>
                  <a:lnTo>
                    <a:pt x="1401" y="208"/>
                  </a:lnTo>
                  <a:lnTo>
                    <a:pt x="1406" y="205"/>
                  </a:lnTo>
                  <a:lnTo>
                    <a:pt x="1409" y="202"/>
                  </a:lnTo>
                  <a:lnTo>
                    <a:pt x="1413" y="199"/>
                  </a:lnTo>
                  <a:lnTo>
                    <a:pt x="1415" y="202"/>
                  </a:lnTo>
                  <a:lnTo>
                    <a:pt x="1418" y="199"/>
                  </a:lnTo>
                  <a:lnTo>
                    <a:pt x="1421" y="194"/>
                  </a:lnTo>
                  <a:lnTo>
                    <a:pt x="1421" y="187"/>
                  </a:lnTo>
                  <a:lnTo>
                    <a:pt x="1420" y="183"/>
                  </a:lnTo>
                  <a:lnTo>
                    <a:pt x="1416" y="178"/>
                  </a:lnTo>
                  <a:lnTo>
                    <a:pt x="1415" y="175"/>
                  </a:lnTo>
                  <a:lnTo>
                    <a:pt x="1416" y="170"/>
                  </a:lnTo>
                  <a:lnTo>
                    <a:pt x="1416" y="167"/>
                  </a:lnTo>
                  <a:lnTo>
                    <a:pt x="1416" y="159"/>
                  </a:lnTo>
                  <a:lnTo>
                    <a:pt x="1417" y="149"/>
                  </a:lnTo>
                  <a:lnTo>
                    <a:pt x="1418" y="140"/>
                  </a:lnTo>
                  <a:lnTo>
                    <a:pt x="1422" y="129"/>
                  </a:lnTo>
                  <a:lnTo>
                    <a:pt x="1422" y="123"/>
                  </a:lnTo>
                  <a:lnTo>
                    <a:pt x="1420" y="121"/>
                  </a:lnTo>
                  <a:lnTo>
                    <a:pt x="1416" y="120"/>
                  </a:lnTo>
                  <a:lnTo>
                    <a:pt x="1413" y="120"/>
                  </a:lnTo>
                  <a:lnTo>
                    <a:pt x="1408" y="121"/>
                  </a:lnTo>
                  <a:lnTo>
                    <a:pt x="1401" y="124"/>
                  </a:lnTo>
                  <a:lnTo>
                    <a:pt x="1397" y="127"/>
                  </a:lnTo>
                  <a:lnTo>
                    <a:pt x="1392" y="128"/>
                  </a:lnTo>
                  <a:lnTo>
                    <a:pt x="1388" y="128"/>
                  </a:lnTo>
                  <a:lnTo>
                    <a:pt x="1383" y="127"/>
                  </a:lnTo>
                  <a:lnTo>
                    <a:pt x="1381" y="124"/>
                  </a:lnTo>
                  <a:lnTo>
                    <a:pt x="1381" y="121"/>
                  </a:lnTo>
                  <a:lnTo>
                    <a:pt x="1386" y="114"/>
                  </a:lnTo>
                  <a:lnTo>
                    <a:pt x="1390" y="108"/>
                  </a:lnTo>
                  <a:lnTo>
                    <a:pt x="1392" y="104"/>
                  </a:lnTo>
                  <a:lnTo>
                    <a:pt x="1398" y="97"/>
                  </a:lnTo>
                  <a:lnTo>
                    <a:pt x="1405" y="91"/>
                  </a:lnTo>
                  <a:lnTo>
                    <a:pt x="1410" y="87"/>
                  </a:lnTo>
                  <a:lnTo>
                    <a:pt x="1416" y="82"/>
                  </a:lnTo>
                  <a:lnTo>
                    <a:pt x="1420" y="81"/>
                  </a:lnTo>
                  <a:lnTo>
                    <a:pt x="1423" y="80"/>
                  </a:lnTo>
                  <a:lnTo>
                    <a:pt x="1425" y="77"/>
                  </a:lnTo>
                  <a:lnTo>
                    <a:pt x="1424" y="74"/>
                  </a:lnTo>
                  <a:lnTo>
                    <a:pt x="1415" y="73"/>
                  </a:lnTo>
                  <a:lnTo>
                    <a:pt x="1412" y="73"/>
                  </a:lnTo>
                  <a:lnTo>
                    <a:pt x="1407" y="72"/>
                  </a:lnTo>
                  <a:lnTo>
                    <a:pt x="1405" y="69"/>
                  </a:lnTo>
                  <a:lnTo>
                    <a:pt x="1400" y="68"/>
                  </a:lnTo>
                  <a:lnTo>
                    <a:pt x="1391" y="67"/>
                  </a:lnTo>
                  <a:lnTo>
                    <a:pt x="1384" y="66"/>
                  </a:lnTo>
                  <a:lnTo>
                    <a:pt x="1378" y="66"/>
                  </a:lnTo>
                  <a:lnTo>
                    <a:pt x="1373" y="65"/>
                  </a:lnTo>
                  <a:lnTo>
                    <a:pt x="1368" y="65"/>
                  </a:lnTo>
                  <a:lnTo>
                    <a:pt x="1360" y="65"/>
                  </a:lnTo>
                  <a:lnTo>
                    <a:pt x="1352" y="64"/>
                  </a:lnTo>
                  <a:lnTo>
                    <a:pt x="1343" y="64"/>
                  </a:lnTo>
                  <a:lnTo>
                    <a:pt x="1336" y="63"/>
                  </a:lnTo>
                  <a:lnTo>
                    <a:pt x="1329" y="61"/>
                  </a:lnTo>
                  <a:lnTo>
                    <a:pt x="1322" y="61"/>
                  </a:lnTo>
                  <a:lnTo>
                    <a:pt x="1316" y="61"/>
                  </a:lnTo>
                  <a:lnTo>
                    <a:pt x="1310" y="61"/>
                  </a:lnTo>
                  <a:lnTo>
                    <a:pt x="1305" y="61"/>
                  </a:lnTo>
                  <a:lnTo>
                    <a:pt x="1297" y="63"/>
                  </a:lnTo>
                  <a:lnTo>
                    <a:pt x="1290" y="61"/>
                  </a:lnTo>
                  <a:lnTo>
                    <a:pt x="1286" y="60"/>
                  </a:lnTo>
                  <a:lnTo>
                    <a:pt x="1274" y="60"/>
                  </a:lnTo>
                  <a:lnTo>
                    <a:pt x="1268" y="60"/>
                  </a:lnTo>
                  <a:lnTo>
                    <a:pt x="1263" y="60"/>
                  </a:lnTo>
                  <a:lnTo>
                    <a:pt x="1257" y="61"/>
                  </a:lnTo>
                  <a:lnTo>
                    <a:pt x="1252" y="60"/>
                  </a:lnTo>
                  <a:lnTo>
                    <a:pt x="1245" y="60"/>
                  </a:lnTo>
                  <a:lnTo>
                    <a:pt x="1238" y="60"/>
                  </a:lnTo>
                  <a:lnTo>
                    <a:pt x="1232" y="60"/>
                  </a:lnTo>
                  <a:lnTo>
                    <a:pt x="1226" y="61"/>
                  </a:lnTo>
                  <a:lnTo>
                    <a:pt x="1221" y="64"/>
                  </a:lnTo>
                  <a:lnTo>
                    <a:pt x="1217" y="64"/>
                  </a:lnTo>
                  <a:lnTo>
                    <a:pt x="1215" y="61"/>
                  </a:lnTo>
                  <a:lnTo>
                    <a:pt x="1213" y="55"/>
                  </a:lnTo>
                  <a:lnTo>
                    <a:pt x="1213" y="52"/>
                  </a:lnTo>
                  <a:lnTo>
                    <a:pt x="1214" y="48"/>
                  </a:lnTo>
                  <a:lnTo>
                    <a:pt x="1218" y="42"/>
                  </a:lnTo>
                  <a:lnTo>
                    <a:pt x="1221" y="39"/>
                  </a:lnTo>
                  <a:lnTo>
                    <a:pt x="1224" y="35"/>
                  </a:lnTo>
                  <a:lnTo>
                    <a:pt x="1228" y="32"/>
                  </a:lnTo>
                  <a:lnTo>
                    <a:pt x="1230" y="28"/>
                  </a:lnTo>
                  <a:lnTo>
                    <a:pt x="1231" y="25"/>
                  </a:lnTo>
                  <a:lnTo>
                    <a:pt x="1233" y="21"/>
                  </a:lnTo>
                  <a:lnTo>
                    <a:pt x="1234" y="19"/>
                  </a:lnTo>
                  <a:lnTo>
                    <a:pt x="1238" y="12"/>
                  </a:lnTo>
                  <a:lnTo>
                    <a:pt x="1237" y="9"/>
                  </a:lnTo>
                  <a:lnTo>
                    <a:pt x="1237" y="5"/>
                  </a:lnTo>
                  <a:lnTo>
                    <a:pt x="1233" y="2"/>
                  </a:lnTo>
                  <a:lnTo>
                    <a:pt x="1233" y="0"/>
                  </a:lnTo>
                  <a:lnTo>
                    <a:pt x="1209" y="23"/>
                  </a:lnTo>
                  <a:lnTo>
                    <a:pt x="1190" y="34"/>
                  </a:lnTo>
                  <a:lnTo>
                    <a:pt x="1135" y="44"/>
                  </a:lnTo>
                  <a:lnTo>
                    <a:pt x="1109" y="55"/>
                  </a:lnTo>
                  <a:lnTo>
                    <a:pt x="1098" y="59"/>
                  </a:lnTo>
                  <a:lnTo>
                    <a:pt x="1090" y="66"/>
                  </a:lnTo>
                  <a:lnTo>
                    <a:pt x="1069" y="106"/>
                  </a:lnTo>
                  <a:lnTo>
                    <a:pt x="1061" y="148"/>
                  </a:lnTo>
                  <a:lnTo>
                    <a:pt x="1054" y="167"/>
                  </a:lnTo>
                  <a:lnTo>
                    <a:pt x="1045" y="187"/>
                  </a:lnTo>
                  <a:lnTo>
                    <a:pt x="1025" y="217"/>
                  </a:lnTo>
                  <a:lnTo>
                    <a:pt x="1009" y="240"/>
                  </a:lnTo>
                  <a:lnTo>
                    <a:pt x="996" y="260"/>
                  </a:lnTo>
                  <a:lnTo>
                    <a:pt x="989" y="269"/>
                  </a:lnTo>
                  <a:lnTo>
                    <a:pt x="980" y="275"/>
                  </a:lnTo>
                  <a:lnTo>
                    <a:pt x="972" y="283"/>
                  </a:lnTo>
                  <a:lnTo>
                    <a:pt x="967" y="298"/>
                  </a:lnTo>
                  <a:lnTo>
                    <a:pt x="960" y="308"/>
                  </a:lnTo>
                  <a:lnTo>
                    <a:pt x="954" y="316"/>
                  </a:lnTo>
                  <a:lnTo>
                    <a:pt x="938" y="325"/>
                  </a:lnTo>
                  <a:lnTo>
                    <a:pt x="900" y="345"/>
                  </a:lnTo>
                  <a:lnTo>
                    <a:pt x="838" y="375"/>
                  </a:lnTo>
                  <a:lnTo>
                    <a:pt x="808" y="388"/>
                  </a:lnTo>
                  <a:lnTo>
                    <a:pt x="797" y="395"/>
                  </a:lnTo>
                  <a:lnTo>
                    <a:pt x="789" y="408"/>
                  </a:lnTo>
                  <a:lnTo>
                    <a:pt x="780" y="425"/>
                  </a:lnTo>
                  <a:lnTo>
                    <a:pt x="770" y="447"/>
                  </a:lnTo>
                  <a:lnTo>
                    <a:pt x="758" y="479"/>
                  </a:lnTo>
                  <a:lnTo>
                    <a:pt x="750" y="495"/>
                  </a:lnTo>
                  <a:lnTo>
                    <a:pt x="725" y="521"/>
                  </a:lnTo>
                  <a:lnTo>
                    <a:pt x="703" y="537"/>
                  </a:lnTo>
                  <a:lnTo>
                    <a:pt x="687" y="554"/>
                  </a:lnTo>
                  <a:lnTo>
                    <a:pt x="677" y="573"/>
                  </a:lnTo>
                  <a:lnTo>
                    <a:pt x="672" y="593"/>
                  </a:lnTo>
                  <a:lnTo>
                    <a:pt x="669" y="604"/>
                  </a:lnTo>
                  <a:lnTo>
                    <a:pt x="664" y="612"/>
                  </a:lnTo>
                  <a:lnTo>
                    <a:pt x="660" y="617"/>
                  </a:lnTo>
                  <a:lnTo>
                    <a:pt x="646" y="623"/>
                  </a:lnTo>
                  <a:lnTo>
                    <a:pt x="623" y="631"/>
                  </a:lnTo>
                  <a:lnTo>
                    <a:pt x="599" y="636"/>
                  </a:lnTo>
                  <a:lnTo>
                    <a:pt x="573" y="639"/>
                  </a:lnTo>
                  <a:lnTo>
                    <a:pt x="529" y="641"/>
                  </a:lnTo>
                  <a:lnTo>
                    <a:pt x="505" y="644"/>
                  </a:lnTo>
                  <a:lnTo>
                    <a:pt x="473" y="653"/>
                  </a:lnTo>
                  <a:lnTo>
                    <a:pt x="432" y="665"/>
                  </a:lnTo>
                  <a:lnTo>
                    <a:pt x="388" y="680"/>
                  </a:lnTo>
                  <a:lnTo>
                    <a:pt x="375" y="681"/>
                  </a:lnTo>
                  <a:lnTo>
                    <a:pt x="360" y="680"/>
                  </a:lnTo>
                  <a:lnTo>
                    <a:pt x="351" y="676"/>
                  </a:lnTo>
                  <a:lnTo>
                    <a:pt x="343" y="667"/>
                  </a:lnTo>
                  <a:lnTo>
                    <a:pt x="335" y="657"/>
                  </a:lnTo>
                  <a:lnTo>
                    <a:pt x="332" y="648"/>
                  </a:lnTo>
                  <a:lnTo>
                    <a:pt x="330" y="632"/>
                  </a:lnTo>
                  <a:lnTo>
                    <a:pt x="326" y="623"/>
                  </a:lnTo>
                  <a:lnTo>
                    <a:pt x="319" y="615"/>
                  </a:lnTo>
                  <a:lnTo>
                    <a:pt x="309" y="605"/>
                  </a:lnTo>
                  <a:lnTo>
                    <a:pt x="302" y="600"/>
                  </a:lnTo>
                  <a:lnTo>
                    <a:pt x="294" y="599"/>
                  </a:lnTo>
                  <a:lnTo>
                    <a:pt x="284" y="596"/>
                  </a:lnTo>
                  <a:lnTo>
                    <a:pt x="274" y="599"/>
                  </a:lnTo>
                  <a:lnTo>
                    <a:pt x="241" y="610"/>
                  </a:lnTo>
                  <a:lnTo>
                    <a:pt x="212" y="629"/>
                  </a:lnTo>
                  <a:lnTo>
                    <a:pt x="191" y="643"/>
                  </a:lnTo>
                  <a:lnTo>
                    <a:pt x="174" y="668"/>
                  </a:lnTo>
                  <a:lnTo>
                    <a:pt x="158" y="706"/>
                  </a:lnTo>
                  <a:lnTo>
                    <a:pt x="151" y="719"/>
                  </a:lnTo>
                  <a:lnTo>
                    <a:pt x="144" y="724"/>
                  </a:lnTo>
                  <a:lnTo>
                    <a:pt x="136" y="732"/>
                  </a:lnTo>
                  <a:lnTo>
                    <a:pt x="127" y="739"/>
                  </a:lnTo>
                  <a:lnTo>
                    <a:pt x="119" y="751"/>
                  </a:lnTo>
                  <a:lnTo>
                    <a:pt x="110" y="762"/>
                  </a:lnTo>
                  <a:lnTo>
                    <a:pt x="98" y="772"/>
                  </a:lnTo>
                  <a:lnTo>
                    <a:pt x="71" y="791"/>
                  </a:lnTo>
                  <a:lnTo>
                    <a:pt x="47" y="810"/>
                  </a:lnTo>
                  <a:lnTo>
                    <a:pt x="31" y="824"/>
                  </a:lnTo>
                  <a:lnTo>
                    <a:pt x="21" y="841"/>
                  </a:lnTo>
                  <a:lnTo>
                    <a:pt x="8" y="881"/>
                  </a:lnTo>
                  <a:lnTo>
                    <a:pt x="2" y="920"/>
                  </a:lnTo>
                  <a:lnTo>
                    <a:pt x="0" y="936"/>
                  </a:lnTo>
                  <a:lnTo>
                    <a:pt x="2" y="943"/>
                  </a:lnTo>
                  <a:lnTo>
                    <a:pt x="7" y="948"/>
                  </a:lnTo>
                  <a:lnTo>
                    <a:pt x="13" y="953"/>
                  </a:lnTo>
                  <a:lnTo>
                    <a:pt x="21" y="956"/>
                  </a:lnTo>
                  <a:lnTo>
                    <a:pt x="33" y="961"/>
                  </a:lnTo>
                  <a:lnTo>
                    <a:pt x="60" y="970"/>
                  </a:lnTo>
                  <a:lnTo>
                    <a:pt x="100" y="995"/>
                  </a:lnTo>
                  <a:lnTo>
                    <a:pt x="105" y="996"/>
                  </a:lnTo>
                  <a:lnTo>
                    <a:pt x="110" y="997"/>
                  </a:lnTo>
                  <a:lnTo>
                    <a:pt x="116" y="999"/>
                  </a:lnTo>
                  <a:lnTo>
                    <a:pt x="122" y="997"/>
                  </a:lnTo>
                  <a:lnTo>
                    <a:pt x="132" y="995"/>
                  </a:lnTo>
                  <a:lnTo>
                    <a:pt x="138" y="993"/>
                  </a:lnTo>
                  <a:lnTo>
                    <a:pt x="148" y="991"/>
                  </a:lnTo>
                  <a:lnTo>
                    <a:pt x="156" y="989"/>
                  </a:lnTo>
                  <a:lnTo>
                    <a:pt x="164" y="991"/>
                  </a:lnTo>
                  <a:lnTo>
                    <a:pt x="174" y="993"/>
                  </a:lnTo>
                  <a:lnTo>
                    <a:pt x="181" y="995"/>
                  </a:lnTo>
                  <a:lnTo>
                    <a:pt x="185" y="999"/>
                  </a:lnTo>
                  <a:lnTo>
                    <a:pt x="189" y="1003"/>
                  </a:lnTo>
                  <a:lnTo>
                    <a:pt x="189" y="1008"/>
                  </a:lnTo>
                  <a:lnTo>
                    <a:pt x="190" y="1015"/>
                  </a:lnTo>
                  <a:lnTo>
                    <a:pt x="190" y="1023"/>
                  </a:lnTo>
                  <a:lnTo>
                    <a:pt x="190" y="1031"/>
                  </a:lnTo>
                  <a:lnTo>
                    <a:pt x="189" y="1040"/>
                  </a:lnTo>
                  <a:lnTo>
                    <a:pt x="189" y="1048"/>
                  </a:lnTo>
                  <a:lnTo>
                    <a:pt x="189" y="1057"/>
                  </a:lnTo>
                  <a:lnTo>
                    <a:pt x="189" y="1065"/>
                  </a:lnTo>
                  <a:lnTo>
                    <a:pt x="189" y="1073"/>
                  </a:lnTo>
                  <a:lnTo>
                    <a:pt x="188" y="1079"/>
                  </a:lnTo>
                  <a:lnTo>
                    <a:pt x="186" y="1089"/>
                  </a:lnTo>
                  <a:lnTo>
                    <a:pt x="186" y="1096"/>
                  </a:lnTo>
                  <a:lnTo>
                    <a:pt x="183" y="1104"/>
                  </a:lnTo>
                  <a:lnTo>
                    <a:pt x="181" y="1109"/>
                  </a:lnTo>
                  <a:lnTo>
                    <a:pt x="176" y="1114"/>
                  </a:lnTo>
                  <a:lnTo>
                    <a:pt x="173" y="1119"/>
                  </a:lnTo>
                  <a:lnTo>
                    <a:pt x="167" y="1123"/>
                  </a:lnTo>
                  <a:lnTo>
                    <a:pt x="164" y="1129"/>
                  </a:lnTo>
                  <a:lnTo>
                    <a:pt x="162" y="1132"/>
                  </a:lnTo>
                  <a:lnTo>
                    <a:pt x="159" y="1140"/>
                  </a:lnTo>
                  <a:lnTo>
                    <a:pt x="157" y="1148"/>
                  </a:lnTo>
                  <a:lnTo>
                    <a:pt x="158" y="1162"/>
                  </a:lnTo>
                  <a:lnTo>
                    <a:pt x="159" y="1170"/>
                  </a:lnTo>
                  <a:lnTo>
                    <a:pt x="160" y="1175"/>
                  </a:lnTo>
                  <a:lnTo>
                    <a:pt x="161" y="1177"/>
                  </a:lnTo>
                  <a:lnTo>
                    <a:pt x="164" y="1180"/>
                  </a:lnTo>
                  <a:lnTo>
                    <a:pt x="186" y="1210"/>
                  </a:lnTo>
                  <a:lnTo>
                    <a:pt x="190" y="1213"/>
                  </a:lnTo>
                  <a:lnTo>
                    <a:pt x="193" y="1217"/>
                  </a:lnTo>
                  <a:lnTo>
                    <a:pt x="196" y="1219"/>
                  </a:lnTo>
                  <a:lnTo>
                    <a:pt x="197" y="1223"/>
                  </a:lnTo>
                  <a:lnTo>
                    <a:pt x="200" y="1226"/>
                  </a:lnTo>
                  <a:lnTo>
                    <a:pt x="201" y="1228"/>
                  </a:lnTo>
                  <a:lnTo>
                    <a:pt x="204" y="1232"/>
                  </a:lnTo>
                  <a:lnTo>
                    <a:pt x="207" y="1235"/>
                  </a:lnTo>
                  <a:lnTo>
                    <a:pt x="208" y="1237"/>
                  </a:lnTo>
                  <a:lnTo>
                    <a:pt x="215" y="1242"/>
                  </a:lnTo>
                  <a:lnTo>
                    <a:pt x="220" y="1243"/>
                  </a:lnTo>
                  <a:lnTo>
                    <a:pt x="225" y="1244"/>
                  </a:lnTo>
                  <a:lnTo>
                    <a:pt x="232" y="1244"/>
                  </a:lnTo>
                  <a:lnTo>
                    <a:pt x="238" y="1245"/>
                  </a:lnTo>
                  <a:lnTo>
                    <a:pt x="246" y="1244"/>
                  </a:lnTo>
                  <a:lnTo>
                    <a:pt x="253" y="1244"/>
                  </a:lnTo>
                  <a:lnTo>
                    <a:pt x="261" y="1243"/>
                  </a:lnTo>
                  <a:lnTo>
                    <a:pt x="271" y="1242"/>
                  </a:lnTo>
                  <a:lnTo>
                    <a:pt x="281" y="1242"/>
                  </a:lnTo>
                  <a:lnTo>
                    <a:pt x="290" y="1241"/>
                  </a:lnTo>
                  <a:lnTo>
                    <a:pt x="297" y="1240"/>
                  </a:lnTo>
                  <a:lnTo>
                    <a:pt x="305" y="1240"/>
                  </a:lnTo>
                  <a:lnTo>
                    <a:pt x="310" y="1240"/>
                  </a:lnTo>
                  <a:lnTo>
                    <a:pt x="316" y="1241"/>
                  </a:lnTo>
                  <a:lnTo>
                    <a:pt x="319" y="1243"/>
                  </a:lnTo>
                  <a:lnTo>
                    <a:pt x="320" y="1249"/>
                  </a:lnTo>
                  <a:lnTo>
                    <a:pt x="322" y="1255"/>
                  </a:lnTo>
                  <a:lnTo>
                    <a:pt x="324" y="1260"/>
                  </a:lnTo>
                  <a:lnTo>
                    <a:pt x="321" y="1265"/>
                  </a:lnTo>
                  <a:lnTo>
                    <a:pt x="320" y="1268"/>
                  </a:lnTo>
                  <a:lnTo>
                    <a:pt x="320" y="1273"/>
                  </a:lnTo>
                  <a:lnTo>
                    <a:pt x="320" y="1280"/>
                  </a:lnTo>
                  <a:lnTo>
                    <a:pt x="320" y="1284"/>
                  </a:lnTo>
                  <a:lnTo>
                    <a:pt x="321" y="1289"/>
                  </a:lnTo>
                  <a:lnTo>
                    <a:pt x="322" y="1292"/>
                  </a:lnTo>
                  <a:lnTo>
                    <a:pt x="324" y="1296"/>
                  </a:lnTo>
                  <a:lnTo>
                    <a:pt x="324" y="1299"/>
                  </a:lnTo>
                  <a:lnTo>
                    <a:pt x="322" y="1306"/>
                  </a:lnTo>
                  <a:lnTo>
                    <a:pt x="322" y="1312"/>
                  </a:lnTo>
                  <a:lnTo>
                    <a:pt x="322" y="1315"/>
                  </a:lnTo>
                  <a:lnTo>
                    <a:pt x="321" y="1320"/>
                  </a:lnTo>
                  <a:lnTo>
                    <a:pt x="320" y="1323"/>
                  </a:lnTo>
                  <a:lnTo>
                    <a:pt x="321" y="1329"/>
                  </a:lnTo>
                  <a:lnTo>
                    <a:pt x="322" y="1330"/>
                  </a:lnTo>
                  <a:lnTo>
                    <a:pt x="326" y="1333"/>
                  </a:lnTo>
                  <a:lnTo>
                    <a:pt x="332" y="1336"/>
                  </a:lnTo>
                  <a:lnTo>
                    <a:pt x="335" y="1338"/>
                  </a:lnTo>
                  <a:lnTo>
                    <a:pt x="338" y="1340"/>
                  </a:lnTo>
                  <a:lnTo>
                    <a:pt x="341" y="1344"/>
                  </a:lnTo>
                  <a:lnTo>
                    <a:pt x="342" y="1349"/>
                  </a:lnTo>
                  <a:lnTo>
                    <a:pt x="344" y="1354"/>
                  </a:lnTo>
                  <a:lnTo>
                    <a:pt x="348" y="1360"/>
                  </a:lnTo>
                  <a:lnTo>
                    <a:pt x="351" y="1363"/>
                  </a:lnTo>
                  <a:lnTo>
                    <a:pt x="354" y="1367"/>
                  </a:lnTo>
                  <a:lnTo>
                    <a:pt x="361" y="1372"/>
                  </a:lnTo>
                  <a:lnTo>
                    <a:pt x="364" y="1373"/>
                  </a:lnTo>
                  <a:lnTo>
                    <a:pt x="367" y="1376"/>
                  </a:lnTo>
                  <a:lnTo>
                    <a:pt x="372" y="1379"/>
                  </a:lnTo>
                  <a:lnTo>
                    <a:pt x="383" y="1388"/>
                  </a:lnTo>
                  <a:lnTo>
                    <a:pt x="388" y="1392"/>
                  </a:lnTo>
                  <a:lnTo>
                    <a:pt x="389" y="1396"/>
                  </a:lnTo>
                  <a:lnTo>
                    <a:pt x="388" y="1408"/>
                  </a:lnTo>
                  <a:lnTo>
                    <a:pt x="389" y="1413"/>
                  </a:lnTo>
                  <a:lnTo>
                    <a:pt x="389" y="1418"/>
                  </a:lnTo>
                  <a:lnTo>
                    <a:pt x="391" y="1429"/>
                  </a:lnTo>
                  <a:lnTo>
                    <a:pt x="391" y="1436"/>
                  </a:lnTo>
                  <a:lnTo>
                    <a:pt x="392" y="1442"/>
                  </a:lnTo>
                  <a:lnTo>
                    <a:pt x="394" y="1445"/>
                  </a:lnTo>
                  <a:lnTo>
                    <a:pt x="399" y="1450"/>
                  </a:lnTo>
                  <a:lnTo>
                    <a:pt x="405" y="1460"/>
                  </a:lnTo>
                  <a:lnTo>
                    <a:pt x="407" y="1463"/>
                  </a:lnTo>
                  <a:lnTo>
                    <a:pt x="413" y="1466"/>
                  </a:lnTo>
                  <a:lnTo>
                    <a:pt x="418" y="1471"/>
                  </a:lnTo>
                  <a:lnTo>
                    <a:pt x="421" y="1474"/>
                  </a:lnTo>
                  <a:lnTo>
                    <a:pt x="424" y="1481"/>
                  </a:lnTo>
                  <a:lnTo>
                    <a:pt x="424" y="1484"/>
                  </a:lnTo>
                  <a:lnTo>
                    <a:pt x="430" y="1491"/>
                  </a:lnTo>
                  <a:lnTo>
                    <a:pt x="431" y="1495"/>
                  </a:lnTo>
                  <a:lnTo>
                    <a:pt x="433" y="1500"/>
                  </a:lnTo>
                  <a:lnTo>
                    <a:pt x="436" y="1504"/>
                  </a:lnTo>
                  <a:lnTo>
                    <a:pt x="437" y="1507"/>
                  </a:lnTo>
                  <a:lnTo>
                    <a:pt x="439" y="1509"/>
                  </a:lnTo>
                  <a:lnTo>
                    <a:pt x="442" y="1513"/>
                  </a:lnTo>
                  <a:lnTo>
                    <a:pt x="446" y="1515"/>
                  </a:lnTo>
                  <a:lnTo>
                    <a:pt x="447" y="1517"/>
                  </a:lnTo>
                  <a:lnTo>
                    <a:pt x="447" y="1520"/>
                  </a:lnTo>
                  <a:lnTo>
                    <a:pt x="447" y="1517"/>
                  </a:lnTo>
                  <a:lnTo>
                    <a:pt x="462" y="1523"/>
                  </a:lnTo>
                  <a:lnTo>
                    <a:pt x="464" y="1524"/>
                  </a:lnTo>
                  <a:lnTo>
                    <a:pt x="468" y="1527"/>
                  </a:lnTo>
                  <a:lnTo>
                    <a:pt x="471" y="1528"/>
                  </a:lnTo>
                  <a:lnTo>
                    <a:pt x="473" y="1528"/>
                  </a:lnTo>
                  <a:lnTo>
                    <a:pt x="479" y="1530"/>
                  </a:lnTo>
                  <a:lnTo>
                    <a:pt x="485" y="1532"/>
                  </a:lnTo>
                  <a:lnTo>
                    <a:pt x="489" y="1532"/>
                  </a:lnTo>
                  <a:lnTo>
                    <a:pt x="490" y="1533"/>
                  </a:lnTo>
                  <a:lnTo>
                    <a:pt x="493" y="1535"/>
                  </a:lnTo>
                  <a:lnTo>
                    <a:pt x="498" y="1537"/>
                  </a:lnTo>
                  <a:lnTo>
                    <a:pt x="500" y="1536"/>
                  </a:lnTo>
                  <a:lnTo>
                    <a:pt x="501" y="1535"/>
                  </a:lnTo>
                  <a:lnTo>
                    <a:pt x="502" y="1533"/>
                  </a:lnTo>
                  <a:lnTo>
                    <a:pt x="504" y="1531"/>
                  </a:lnTo>
                  <a:lnTo>
                    <a:pt x="506" y="1530"/>
                  </a:lnTo>
                  <a:lnTo>
                    <a:pt x="508" y="1528"/>
                  </a:lnTo>
                  <a:lnTo>
                    <a:pt x="510" y="1525"/>
                  </a:lnTo>
                  <a:lnTo>
                    <a:pt x="511" y="1524"/>
                  </a:lnTo>
                  <a:lnTo>
                    <a:pt x="513" y="1523"/>
                  </a:lnTo>
                  <a:lnTo>
                    <a:pt x="517" y="1522"/>
                  </a:lnTo>
                  <a:lnTo>
                    <a:pt x="520" y="1522"/>
                  </a:lnTo>
                  <a:lnTo>
                    <a:pt x="522" y="1523"/>
                  </a:lnTo>
                  <a:lnTo>
                    <a:pt x="525" y="1525"/>
                  </a:lnTo>
                  <a:lnTo>
                    <a:pt x="526" y="1527"/>
                  </a:lnTo>
                  <a:lnTo>
                    <a:pt x="528" y="1528"/>
                  </a:lnTo>
                  <a:lnTo>
                    <a:pt x="530" y="1527"/>
                  </a:lnTo>
                  <a:lnTo>
                    <a:pt x="532" y="1525"/>
                  </a:lnTo>
                  <a:lnTo>
                    <a:pt x="534" y="1525"/>
                  </a:lnTo>
                  <a:lnTo>
                    <a:pt x="536" y="1525"/>
                  </a:lnTo>
                  <a:lnTo>
                    <a:pt x="538" y="1524"/>
                  </a:lnTo>
                  <a:lnTo>
                    <a:pt x="545" y="1523"/>
                  </a:lnTo>
                  <a:lnTo>
                    <a:pt x="550" y="1522"/>
                  </a:lnTo>
                  <a:lnTo>
                    <a:pt x="551" y="1522"/>
                  </a:lnTo>
                  <a:lnTo>
                    <a:pt x="552" y="1521"/>
                  </a:lnTo>
                  <a:lnTo>
                    <a:pt x="554" y="1520"/>
                  </a:lnTo>
                  <a:lnTo>
                    <a:pt x="554" y="1519"/>
                  </a:lnTo>
                  <a:lnTo>
                    <a:pt x="557" y="1517"/>
                  </a:lnTo>
                  <a:lnTo>
                    <a:pt x="560" y="1517"/>
                  </a:lnTo>
                  <a:lnTo>
                    <a:pt x="561" y="1517"/>
                  </a:lnTo>
                  <a:lnTo>
                    <a:pt x="562" y="1519"/>
                  </a:lnTo>
                  <a:lnTo>
                    <a:pt x="566" y="1519"/>
                  </a:lnTo>
                  <a:lnTo>
                    <a:pt x="569" y="1520"/>
                  </a:lnTo>
                  <a:lnTo>
                    <a:pt x="572" y="1519"/>
                  </a:lnTo>
                  <a:lnTo>
                    <a:pt x="574" y="1519"/>
                  </a:lnTo>
                  <a:lnTo>
                    <a:pt x="576" y="1517"/>
                  </a:lnTo>
                  <a:lnTo>
                    <a:pt x="577" y="1517"/>
                  </a:lnTo>
                  <a:lnTo>
                    <a:pt x="578" y="1516"/>
                  </a:lnTo>
                  <a:lnTo>
                    <a:pt x="581" y="1517"/>
                  </a:lnTo>
                  <a:lnTo>
                    <a:pt x="582" y="1519"/>
                  </a:lnTo>
                  <a:lnTo>
                    <a:pt x="583" y="1520"/>
                  </a:lnTo>
                  <a:lnTo>
                    <a:pt x="585" y="1522"/>
                  </a:lnTo>
                  <a:lnTo>
                    <a:pt x="588" y="1522"/>
                  </a:lnTo>
                  <a:lnTo>
                    <a:pt x="590" y="1522"/>
                  </a:lnTo>
                  <a:lnTo>
                    <a:pt x="592" y="1521"/>
                  </a:lnTo>
                  <a:lnTo>
                    <a:pt x="594" y="1521"/>
                  </a:lnTo>
                  <a:lnTo>
                    <a:pt x="597" y="1522"/>
                  </a:lnTo>
                  <a:lnTo>
                    <a:pt x="599" y="1523"/>
                  </a:lnTo>
                  <a:lnTo>
                    <a:pt x="601" y="1524"/>
                  </a:lnTo>
                  <a:lnTo>
                    <a:pt x="604" y="1525"/>
                  </a:lnTo>
                  <a:lnTo>
                    <a:pt x="606" y="1528"/>
                  </a:lnTo>
                  <a:lnTo>
                    <a:pt x="609" y="1528"/>
                  </a:lnTo>
                  <a:lnTo>
                    <a:pt x="614" y="1528"/>
                  </a:lnTo>
                  <a:lnTo>
                    <a:pt x="616" y="1525"/>
                  </a:lnTo>
                  <a:lnTo>
                    <a:pt x="618" y="1524"/>
                  </a:lnTo>
                  <a:lnTo>
                    <a:pt x="622" y="1522"/>
                  </a:lnTo>
                  <a:lnTo>
                    <a:pt x="625" y="1523"/>
                  </a:lnTo>
                  <a:lnTo>
                    <a:pt x="628" y="1523"/>
                  </a:lnTo>
                  <a:lnTo>
                    <a:pt x="631" y="1522"/>
                  </a:lnTo>
                  <a:lnTo>
                    <a:pt x="633" y="1521"/>
                  </a:lnTo>
                  <a:lnTo>
                    <a:pt x="637" y="1520"/>
                  </a:lnTo>
                  <a:lnTo>
                    <a:pt x="640" y="1520"/>
                  </a:lnTo>
                  <a:lnTo>
                    <a:pt x="645" y="1521"/>
                  </a:lnTo>
                  <a:lnTo>
                    <a:pt x="646" y="1522"/>
                  </a:lnTo>
                  <a:lnTo>
                    <a:pt x="646" y="1528"/>
                  </a:lnTo>
                  <a:lnTo>
                    <a:pt x="646" y="1530"/>
                  </a:lnTo>
                  <a:lnTo>
                    <a:pt x="646" y="1532"/>
                  </a:lnTo>
                  <a:lnTo>
                    <a:pt x="648" y="1535"/>
                  </a:lnTo>
                  <a:lnTo>
                    <a:pt x="652" y="1535"/>
                  </a:lnTo>
                  <a:lnTo>
                    <a:pt x="653" y="1533"/>
                  </a:lnTo>
                  <a:lnTo>
                    <a:pt x="655" y="1535"/>
                  </a:lnTo>
                  <a:lnTo>
                    <a:pt x="656" y="1536"/>
                  </a:lnTo>
                  <a:lnTo>
                    <a:pt x="657" y="1537"/>
                  </a:lnTo>
                  <a:lnTo>
                    <a:pt x="660" y="1537"/>
                  </a:lnTo>
                  <a:lnTo>
                    <a:pt x="661" y="1537"/>
                  </a:lnTo>
                  <a:lnTo>
                    <a:pt x="662" y="1535"/>
                  </a:lnTo>
                  <a:lnTo>
                    <a:pt x="662" y="1532"/>
                  </a:lnTo>
                  <a:lnTo>
                    <a:pt x="662" y="1530"/>
                  </a:lnTo>
                  <a:lnTo>
                    <a:pt x="661" y="1528"/>
                  </a:lnTo>
                  <a:lnTo>
                    <a:pt x="661" y="1524"/>
                  </a:lnTo>
                  <a:lnTo>
                    <a:pt x="661" y="1521"/>
                  </a:lnTo>
                  <a:lnTo>
                    <a:pt x="663" y="1519"/>
                  </a:lnTo>
                  <a:lnTo>
                    <a:pt x="665" y="1517"/>
                  </a:lnTo>
                  <a:lnTo>
                    <a:pt x="669" y="1519"/>
                  </a:lnTo>
                  <a:lnTo>
                    <a:pt x="673" y="1520"/>
                  </a:lnTo>
                  <a:lnTo>
                    <a:pt x="676" y="1521"/>
                  </a:lnTo>
                  <a:lnTo>
                    <a:pt x="678" y="1522"/>
                  </a:lnTo>
                  <a:lnTo>
                    <a:pt x="678" y="1524"/>
                  </a:lnTo>
                  <a:lnTo>
                    <a:pt x="677" y="1528"/>
                  </a:lnTo>
                  <a:lnTo>
                    <a:pt x="677" y="1529"/>
                  </a:lnTo>
                  <a:lnTo>
                    <a:pt x="680" y="1531"/>
                  </a:lnTo>
                  <a:lnTo>
                    <a:pt x="682" y="1531"/>
                  </a:lnTo>
                  <a:lnTo>
                    <a:pt x="684" y="1529"/>
                  </a:lnTo>
                  <a:lnTo>
                    <a:pt x="685" y="1528"/>
                  </a:lnTo>
                  <a:lnTo>
                    <a:pt x="687" y="1528"/>
                  </a:lnTo>
                  <a:lnTo>
                    <a:pt x="689" y="1528"/>
                  </a:lnTo>
                  <a:lnTo>
                    <a:pt x="690" y="1528"/>
                  </a:lnTo>
                  <a:lnTo>
                    <a:pt x="692" y="1527"/>
                  </a:lnTo>
                  <a:lnTo>
                    <a:pt x="693" y="1525"/>
                  </a:lnTo>
                  <a:lnTo>
                    <a:pt x="694" y="1523"/>
                  </a:lnTo>
                  <a:lnTo>
                    <a:pt x="695" y="1521"/>
                  </a:lnTo>
                  <a:lnTo>
                    <a:pt x="695" y="1520"/>
                  </a:lnTo>
                  <a:lnTo>
                    <a:pt x="695" y="1519"/>
                  </a:lnTo>
                  <a:lnTo>
                    <a:pt x="696" y="1516"/>
                  </a:lnTo>
                  <a:lnTo>
                    <a:pt x="697" y="1514"/>
                  </a:lnTo>
                  <a:lnTo>
                    <a:pt x="698" y="1514"/>
                  </a:lnTo>
                  <a:lnTo>
                    <a:pt x="700" y="1514"/>
                  </a:lnTo>
                  <a:lnTo>
                    <a:pt x="703" y="1512"/>
                  </a:lnTo>
                  <a:lnTo>
                    <a:pt x="705" y="1512"/>
                  </a:lnTo>
                  <a:lnTo>
                    <a:pt x="709" y="1511"/>
                  </a:lnTo>
                  <a:lnTo>
                    <a:pt x="711" y="1508"/>
                  </a:lnTo>
                  <a:lnTo>
                    <a:pt x="713" y="1507"/>
                  </a:lnTo>
                  <a:lnTo>
                    <a:pt x="716" y="1506"/>
                  </a:lnTo>
                  <a:lnTo>
                    <a:pt x="718" y="1505"/>
                  </a:lnTo>
                  <a:lnTo>
                    <a:pt x="720" y="1505"/>
                  </a:lnTo>
                  <a:lnTo>
                    <a:pt x="722" y="1507"/>
                  </a:lnTo>
                  <a:lnTo>
                    <a:pt x="722" y="1509"/>
                  </a:lnTo>
                  <a:lnTo>
                    <a:pt x="722" y="1512"/>
                  </a:lnTo>
                  <a:lnTo>
                    <a:pt x="722" y="1514"/>
                  </a:lnTo>
                  <a:lnTo>
                    <a:pt x="724" y="1515"/>
                  </a:lnTo>
                  <a:lnTo>
                    <a:pt x="724" y="1516"/>
                  </a:lnTo>
                  <a:lnTo>
                    <a:pt x="725" y="1519"/>
                  </a:lnTo>
                  <a:lnTo>
                    <a:pt x="725" y="1520"/>
                  </a:lnTo>
                  <a:lnTo>
                    <a:pt x="726" y="1522"/>
                  </a:lnTo>
                  <a:lnTo>
                    <a:pt x="727" y="1524"/>
                  </a:lnTo>
                  <a:lnTo>
                    <a:pt x="730" y="1525"/>
                  </a:lnTo>
                  <a:lnTo>
                    <a:pt x="733" y="1525"/>
                  </a:lnTo>
                  <a:lnTo>
                    <a:pt x="737" y="1525"/>
                  </a:lnTo>
                  <a:lnTo>
                    <a:pt x="740" y="1525"/>
                  </a:lnTo>
                  <a:lnTo>
                    <a:pt x="744" y="1527"/>
                  </a:lnTo>
                  <a:lnTo>
                    <a:pt x="745" y="1529"/>
                  </a:lnTo>
                  <a:lnTo>
                    <a:pt x="749" y="1530"/>
                  </a:lnTo>
                  <a:lnTo>
                    <a:pt x="750" y="1531"/>
                  </a:lnTo>
                  <a:lnTo>
                    <a:pt x="752" y="1535"/>
                  </a:lnTo>
                  <a:lnTo>
                    <a:pt x="756" y="1535"/>
                  </a:lnTo>
                  <a:lnTo>
                    <a:pt x="758" y="1533"/>
                  </a:lnTo>
                  <a:lnTo>
                    <a:pt x="760" y="1531"/>
                  </a:lnTo>
                  <a:lnTo>
                    <a:pt x="764" y="1529"/>
                  </a:lnTo>
                  <a:lnTo>
                    <a:pt x="767" y="1529"/>
                  </a:lnTo>
                  <a:lnTo>
                    <a:pt x="770" y="1529"/>
                  </a:lnTo>
                  <a:lnTo>
                    <a:pt x="772" y="1530"/>
                  </a:lnTo>
                  <a:lnTo>
                    <a:pt x="773" y="1532"/>
                  </a:lnTo>
                  <a:lnTo>
                    <a:pt x="776" y="1532"/>
                  </a:lnTo>
                  <a:lnTo>
                    <a:pt x="777" y="1532"/>
                  </a:lnTo>
                  <a:lnTo>
                    <a:pt x="781" y="1531"/>
                  </a:lnTo>
                  <a:lnTo>
                    <a:pt x="784" y="1531"/>
                  </a:lnTo>
                  <a:lnTo>
                    <a:pt x="786" y="1528"/>
                  </a:lnTo>
                  <a:lnTo>
                    <a:pt x="788" y="1528"/>
                  </a:lnTo>
                  <a:lnTo>
                    <a:pt x="790" y="1528"/>
                  </a:lnTo>
                  <a:lnTo>
                    <a:pt x="789" y="1530"/>
                  </a:lnTo>
                  <a:lnTo>
                    <a:pt x="790" y="1532"/>
                  </a:lnTo>
                  <a:lnTo>
                    <a:pt x="792" y="1532"/>
                  </a:lnTo>
                  <a:lnTo>
                    <a:pt x="794" y="1532"/>
                  </a:lnTo>
                  <a:lnTo>
                    <a:pt x="798" y="1535"/>
                  </a:lnTo>
                  <a:lnTo>
                    <a:pt x="798" y="1536"/>
                  </a:lnTo>
                  <a:lnTo>
                    <a:pt x="797" y="1537"/>
                  </a:lnTo>
                  <a:lnTo>
                    <a:pt x="796" y="1539"/>
                  </a:lnTo>
                  <a:lnTo>
                    <a:pt x="793" y="1539"/>
                  </a:lnTo>
                  <a:lnTo>
                    <a:pt x="790" y="1539"/>
                  </a:lnTo>
                  <a:lnTo>
                    <a:pt x="786" y="1538"/>
                  </a:lnTo>
                  <a:lnTo>
                    <a:pt x="784" y="1538"/>
                  </a:lnTo>
                  <a:lnTo>
                    <a:pt x="781" y="1538"/>
                  </a:lnTo>
                  <a:lnTo>
                    <a:pt x="777" y="1538"/>
                  </a:lnTo>
                  <a:lnTo>
                    <a:pt x="776" y="1540"/>
                  </a:lnTo>
                  <a:lnTo>
                    <a:pt x="775" y="1541"/>
                  </a:lnTo>
                  <a:lnTo>
                    <a:pt x="775" y="1546"/>
                  </a:lnTo>
                  <a:lnTo>
                    <a:pt x="776" y="1547"/>
                  </a:lnTo>
                  <a:lnTo>
                    <a:pt x="778" y="1548"/>
                  </a:lnTo>
                  <a:lnTo>
                    <a:pt x="782" y="1548"/>
                  </a:lnTo>
                  <a:lnTo>
                    <a:pt x="784" y="1549"/>
                  </a:lnTo>
                  <a:lnTo>
                    <a:pt x="785" y="1552"/>
                  </a:lnTo>
                  <a:lnTo>
                    <a:pt x="789" y="1551"/>
                  </a:lnTo>
                  <a:lnTo>
                    <a:pt x="790" y="1549"/>
                  </a:lnTo>
                  <a:lnTo>
                    <a:pt x="796" y="1549"/>
                  </a:lnTo>
                  <a:lnTo>
                    <a:pt x="799" y="1548"/>
                  </a:lnTo>
                  <a:lnTo>
                    <a:pt x="801" y="1549"/>
                  </a:lnTo>
                  <a:lnTo>
                    <a:pt x="802" y="1551"/>
                  </a:lnTo>
                  <a:lnTo>
                    <a:pt x="804" y="1552"/>
                  </a:lnTo>
                  <a:lnTo>
                    <a:pt x="806" y="1554"/>
                  </a:lnTo>
                  <a:lnTo>
                    <a:pt x="807" y="1555"/>
                  </a:lnTo>
                  <a:lnTo>
                    <a:pt x="808" y="1557"/>
                  </a:lnTo>
                  <a:lnTo>
                    <a:pt x="808" y="1559"/>
                  </a:lnTo>
                  <a:lnTo>
                    <a:pt x="809" y="1560"/>
                  </a:lnTo>
                  <a:lnTo>
                    <a:pt x="813" y="1560"/>
                  </a:lnTo>
                  <a:lnTo>
                    <a:pt x="815" y="1561"/>
                  </a:lnTo>
                  <a:lnTo>
                    <a:pt x="817" y="1563"/>
                  </a:lnTo>
                  <a:lnTo>
                    <a:pt x="821" y="1563"/>
                  </a:lnTo>
                  <a:lnTo>
                    <a:pt x="824" y="1564"/>
                  </a:lnTo>
                  <a:lnTo>
                    <a:pt x="825" y="1567"/>
                  </a:lnTo>
                  <a:lnTo>
                    <a:pt x="825" y="1572"/>
                  </a:lnTo>
                  <a:lnTo>
                    <a:pt x="825" y="1573"/>
                  </a:lnTo>
                  <a:lnTo>
                    <a:pt x="828" y="1575"/>
                  </a:lnTo>
                  <a:lnTo>
                    <a:pt x="830" y="1576"/>
                  </a:lnTo>
                  <a:lnTo>
                    <a:pt x="830" y="1579"/>
                  </a:lnTo>
                  <a:lnTo>
                    <a:pt x="831" y="1581"/>
                  </a:lnTo>
                  <a:lnTo>
                    <a:pt x="832" y="1583"/>
                  </a:lnTo>
                  <a:lnTo>
                    <a:pt x="833" y="1584"/>
                  </a:lnTo>
                  <a:lnTo>
                    <a:pt x="838" y="1584"/>
                  </a:lnTo>
                  <a:lnTo>
                    <a:pt x="840" y="1580"/>
                  </a:lnTo>
                  <a:lnTo>
                    <a:pt x="841" y="1578"/>
                  </a:lnTo>
                  <a:lnTo>
                    <a:pt x="842" y="1575"/>
                  </a:lnTo>
                  <a:lnTo>
                    <a:pt x="842" y="1572"/>
                  </a:lnTo>
                  <a:lnTo>
                    <a:pt x="844" y="1570"/>
                  </a:lnTo>
                  <a:lnTo>
                    <a:pt x="846" y="1568"/>
                  </a:lnTo>
                  <a:lnTo>
                    <a:pt x="847" y="1565"/>
                  </a:lnTo>
                  <a:lnTo>
                    <a:pt x="848" y="1562"/>
                  </a:lnTo>
                  <a:lnTo>
                    <a:pt x="849" y="1560"/>
                  </a:lnTo>
                  <a:lnTo>
                    <a:pt x="853" y="1560"/>
                  </a:lnTo>
                  <a:lnTo>
                    <a:pt x="857" y="1561"/>
                  </a:lnTo>
                  <a:lnTo>
                    <a:pt x="860" y="1563"/>
                  </a:lnTo>
                  <a:lnTo>
                    <a:pt x="863" y="1567"/>
                  </a:lnTo>
                  <a:lnTo>
                    <a:pt x="866" y="1569"/>
                  </a:lnTo>
                  <a:lnTo>
                    <a:pt x="869" y="1571"/>
                  </a:lnTo>
                  <a:lnTo>
                    <a:pt x="870" y="1572"/>
                  </a:lnTo>
                  <a:lnTo>
                    <a:pt x="872" y="1575"/>
                  </a:lnTo>
                  <a:lnTo>
                    <a:pt x="874" y="1577"/>
                  </a:lnTo>
                  <a:lnTo>
                    <a:pt x="877" y="1577"/>
                  </a:lnTo>
                  <a:lnTo>
                    <a:pt x="879" y="1577"/>
                  </a:lnTo>
                  <a:lnTo>
                    <a:pt x="884" y="1576"/>
                  </a:lnTo>
                  <a:lnTo>
                    <a:pt x="886" y="1576"/>
                  </a:lnTo>
                  <a:lnTo>
                    <a:pt x="890" y="1577"/>
                  </a:lnTo>
                  <a:lnTo>
                    <a:pt x="893" y="1579"/>
                  </a:lnTo>
                  <a:lnTo>
                    <a:pt x="893" y="1581"/>
                  </a:lnTo>
                  <a:lnTo>
                    <a:pt x="893" y="1584"/>
                  </a:lnTo>
                  <a:lnTo>
                    <a:pt x="895" y="1588"/>
                  </a:lnTo>
                  <a:lnTo>
                    <a:pt x="896" y="1589"/>
                  </a:lnTo>
                  <a:lnTo>
                    <a:pt x="897" y="1591"/>
                  </a:lnTo>
                  <a:lnTo>
                    <a:pt x="901" y="1593"/>
                  </a:lnTo>
                  <a:lnTo>
                    <a:pt x="903" y="1595"/>
                  </a:lnTo>
                  <a:lnTo>
                    <a:pt x="904" y="1597"/>
                  </a:lnTo>
                  <a:lnTo>
                    <a:pt x="905" y="1600"/>
                  </a:lnTo>
                  <a:lnTo>
                    <a:pt x="906" y="1602"/>
                  </a:lnTo>
                  <a:lnTo>
                    <a:pt x="908" y="1603"/>
                  </a:lnTo>
                  <a:lnTo>
                    <a:pt x="910" y="1604"/>
                  </a:lnTo>
                  <a:lnTo>
                    <a:pt x="913" y="1605"/>
                  </a:lnTo>
                  <a:lnTo>
                    <a:pt x="917" y="1605"/>
                  </a:lnTo>
                  <a:lnTo>
                    <a:pt x="920" y="1604"/>
                  </a:lnTo>
                  <a:lnTo>
                    <a:pt x="925" y="1604"/>
                  </a:lnTo>
                  <a:lnTo>
                    <a:pt x="929" y="1603"/>
                  </a:lnTo>
                  <a:lnTo>
                    <a:pt x="933" y="1602"/>
                  </a:lnTo>
                  <a:lnTo>
                    <a:pt x="938" y="1601"/>
                  </a:lnTo>
                  <a:lnTo>
                    <a:pt x="942" y="1600"/>
                  </a:lnTo>
                  <a:lnTo>
                    <a:pt x="945" y="1601"/>
                  </a:lnTo>
                  <a:lnTo>
                    <a:pt x="948" y="1602"/>
                  </a:lnTo>
                  <a:lnTo>
                    <a:pt x="950" y="1604"/>
                  </a:lnTo>
                  <a:lnTo>
                    <a:pt x="951" y="1607"/>
                  </a:lnTo>
                  <a:lnTo>
                    <a:pt x="953" y="1609"/>
                  </a:lnTo>
                  <a:lnTo>
                    <a:pt x="954" y="1610"/>
                  </a:lnTo>
                  <a:lnTo>
                    <a:pt x="956" y="1611"/>
                  </a:lnTo>
                  <a:lnTo>
                    <a:pt x="959" y="1611"/>
                  </a:lnTo>
                  <a:lnTo>
                    <a:pt x="961" y="1611"/>
                  </a:lnTo>
                  <a:lnTo>
                    <a:pt x="966" y="1609"/>
                  </a:lnTo>
                  <a:lnTo>
                    <a:pt x="972" y="1607"/>
                  </a:lnTo>
                  <a:lnTo>
                    <a:pt x="974" y="1604"/>
                  </a:lnTo>
                  <a:lnTo>
                    <a:pt x="975" y="1603"/>
                  </a:lnTo>
                  <a:lnTo>
                    <a:pt x="975" y="1602"/>
                  </a:lnTo>
                  <a:lnTo>
                    <a:pt x="975" y="1600"/>
                  </a:lnTo>
                  <a:lnTo>
                    <a:pt x="974" y="1600"/>
                  </a:lnTo>
                  <a:lnTo>
                    <a:pt x="973" y="1600"/>
                  </a:lnTo>
                  <a:lnTo>
                    <a:pt x="969" y="1599"/>
                  </a:lnTo>
                  <a:lnTo>
                    <a:pt x="968" y="1597"/>
                  </a:lnTo>
                  <a:lnTo>
                    <a:pt x="968" y="1593"/>
                  </a:lnTo>
                  <a:lnTo>
                    <a:pt x="968" y="1592"/>
                  </a:lnTo>
                  <a:lnTo>
                    <a:pt x="970" y="1591"/>
                  </a:lnTo>
                  <a:lnTo>
                    <a:pt x="972" y="1589"/>
                  </a:lnTo>
                  <a:lnTo>
                    <a:pt x="974" y="1588"/>
                  </a:lnTo>
                  <a:lnTo>
                    <a:pt x="974" y="1586"/>
                  </a:lnTo>
                  <a:lnTo>
                    <a:pt x="975" y="1584"/>
                  </a:lnTo>
                  <a:lnTo>
                    <a:pt x="976" y="1583"/>
                  </a:lnTo>
                  <a:lnTo>
                    <a:pt x="982" y="1580"/>
                  </a:lnTo>
                  <a:lnTo>
                    <a:pt x="983" y="1579"/>
                  </a:lnTo>
                  <a:lnTo>
                    <a:pt x="985" y="1578"/>
                  </a:lnTo>
                  <a:lnTo>
                    <a:pt x="986" y="1577"/>
                  </a:lnTo>
                  <a:lnTo>
                    <a:pt x="992" y="1575"/>
                  </a:lnTo>
                  <a:lnTo>
                    <a:pt x="994" y="1572"/>
                  </a:lnTo>
                  <a:lnTo>
                    <a:pt x="997" y="1570"/>
                  </a:lnTo>
                  <a:lnTo>
                    <a:pt x="999" y="1570"/>
                  </a:lnTo>
                  <a:lnTo>
                    <a:pt x="1002" y="1570"/>
                  </a:lnTo>
                  <a:lnTo>
                    <a:pt x="1005" y="1571"/>
                  </a:lnTo>
                  <a:lnTo>
                    <a:pt x="1006" y="1575"/>
                  </a:lnTo>
                  <a:lnTo>
                    <a:pt x="1006" y="1578"/>
                  </a:lnTo>
                  <a:lnTo>
                    <a:pt x="1006" y="1581"/>
                  </a:lnTo>
                  <a:lnTo>
                    <a:pt x="1006" y="1585"/>
                  </a:lnTo>
                  <a:lnTo>
                    <a:pt x="1005" y="1589"/>
                  </a:lnTo>
                  <a:lnTo>
                    <a:pt x="1005" y="1594"/>
                  </a:lnTo>
                  <a:lnTo>
                    <a:pt x="1006" y="1596"/>
                  </a:lnTo>
                  <a:lnTo>
                    <a:pt x="1006" y="1600"/>
                  </a:lnTo>
                  <a:lnTo>
                    <a:pt x="1008" y="1600"/>
                  </a:lnTo>
                  <a:lnTo>
                    <a:pt x="1010" y="1602"/>
                  </a:lnTo>
                  <a:lnTo>
                    <a:pt x="1013" y="1602"/>
                  </a:lnTo>
                  <a:lnTo>
                    <a:pt x="1015" y="1604"/>
                  </a:lnTo>
                  <a:lnTo>
                    <a:pt x="1017" y="1604"/>
                  </a:lnTo>
                  <a:lnTo>
                    <a:pt x="1018" y="1605"/>
                  </a:lnTo>
                  <a:lnTo>
                    <a:pt x="1022" y="1604"/>
                  </a:lnTo>
                  <a:lnTo>
                    <a:pt x="1026" y="1603"/>
                  </a:lnTo>
                  <a:lnTo>
                    <a:pt x="1028" y="1603"/>
                  </a:lnTo>
                  <a:lnTo>
                    <a:pt x="1030" y="1603"/>
                  </a:lnTo>
                  <a:lnTo>
                    <a:pt x="1032" y="1605"/>
                  </a:lnTo>
                  <a:lnTo>
                    <a:pt x="1032" y="1608"/>
                  </a:lnTo>
                  <a:lnTo>
                    <a:pt x="1031" y="1611"/>
                  </a:lnTo>
                  <a:lnTo>
                    <a:pt x="1030" y="1612"/>
                  </a:lnTo>
                  <a:lnTo>
                    <a:pt x="1029" y="1616"/>
                  </a:lnTo>
                  <a:lnTo>
                    <a:pt x="1028" y="1618"/>
                  </a:lnTo>
                  <a:lnTo>
                    <a:pt x="1025" y="1619"/>
                  </a:lnTo>
                  <a:lnTo>
                    <a:pt x="1023" y="1619"/>
                  </a:lnTo>
                  <a:lnTo>
                    <a:pt x="1018" y="1619"/>
                  </a:lnTo>
                  <a:lnTo>
                    <a:pt x="1016" y="1618"/>
                  </a:lnTo>
                  <a:lnTo>
                    <a:pt x="1015" y="1618"/>
                  </a:lnTo>
                  <a:lnTo>
                    <a:pt x="1014" y="1619"/>
                  </a:lnTo>
                  <a:lnTo>
                    <a:pt x="1013" y="1621"/>
                  </a:lnTo>
                  <a:lnTo>
                    <a:pt x="1013" y="1626"/>
                  </a:lnTo>
                  <a:lnTo>
                    <a:pt x="1010" y="1631"/>
                  </a:lnTo>
                  <a:lnTo>
                    <a:pt x="1007" y="1637"/>
                  </a:lnTo>
                  <a:lnTo>
                    <a:pt x="1005" y="1641"/>
                  </a:lnTo>
                  <a:lnTo>
                    <a:pt x="1001" y="1649"/>
                  </a:lnTo>
                  <a:lnTo>
                    <a:pt x="1002" y="1653"/>
                  </a:lnTo>
                  <a:lnTo>
                    <a:pt x="1005" y="1658"/>
                  </a:lnTo>
                  <a:lnTo>
                    <a:pt x="1012" y="1664"/>
                  </a:lnTo>
                  <a:lnTo>
                    <a:pt x="1024" y="1675"/>
                  </a:lnTo>
                  <a:lnTo>
                    <a:pt x="1029" y="1679"/>
                  </a:lnTo>
                  <a:lnTo>
                    <a:pt x="1032" y="1680"/>
                  </a:lnTo>
                  <a:lnTo>
                    <a:pt x="1034" y="1681"/>
                  </a:lnTo>
                  <a:lnTo>
                    <a:pt x="1037" y="1682"/>
                  </a:lnTo>
                  <a:lnTo>
                    <a:pt x="1038" y="1684"/>
                  </a:lnTo>
                  <a:lnTo>
                    <a:pt x="1038" y="1688"/>
                  </a:lnTo>
                  <a:lnTo>
                    <a:pt x="1038" y="1692"/>
                  </a:lnTo>
                  <a:lnTo>
                    <a:pt x="1038" y="1696"/>
                  </a:lnTo>
                  <a:lnTo>
                    <a:pt x="1039" y="1699"/>
                  </a:lnTo>
                  <a:lnTo>
                    <a:pt x="1042" y="1701"/>
                  </a:lnTo>
                  <a:lnTo>
                    <a:pt x="1047" y="1701"/>
                  </a:lnTo>
                  <a:lnTo>
                    <a:pt x="1049" y="1703"/>
                  </a:lnTo>
                  <a:lnTo>
                    <a:pt x="1053" y="1704"/>
                  </a:lnTo>
                  <a:lnTo>
                    <a:pt x="1055" y="1704"/>
                  </a:lnTo>
                  <a:lnTo>
                    <a:pt x="1056" y="1701"/>
                  </a:lnTo>
                  <a:lnTo>
                    <a:pt x="1058" y="1699"/>
                  </a:lnTo>
                  <a:lnTo>
                    <a:pt x="1060" y="1698"/>
                  </a:lnTo>
                  <a:lnTo>
                    <a:pt x="1063" y="1696"/>
                  </a:lnTo>
                  <a:lnTo>
                    <a:pt x="1066" y="1693"/>
                  </a:lnTo>
                  <a:lnTo>
                    <a:pt x="1068" y="1691"/>
                  </a:lnTo>
                  <a:lnTo>
                    <a:pt x="1069" y="1688"/>
                  </a:lnTo>
                  <a:lnTo>
                    <a:pt x="1070" y="1685"/>
                  </a:lnTo>
                  <a:lnTo>
                    <a:pt x="1071" y="1683"/>
                  </a:lnTo>
                  <a:lnTo>
                    <a:pt x="1071" y="1680"/>
                  </a:lnTo>
                  <a:lnTo>
                    <a:pt x="1072" y="1677"/>
                  </a:lnTo>
                  <a:lnTo>
                    <a:pt x="1074" y="1677"/>
                  </a:lnTo>
                  <a:lnTo>
                    <a:pt x="1077" y="1676"/>
                  </a:lnTo>
                  <a:lnTo>
                    <a:pt x="1078" y="1679"/>
                  </a:lnTo>
                  <a:lnTo>
                    <a:pt x="1079" y="1682"/>
                  </a:lnTo>
                  <a:lnTo>
                    <a:pt x="1079" y="1685"/>
                  </a:lnTo>
                  <a:lnTo>
                    <a:pt x="1082" y="1689"/>
                  </a:lnTo>
                  <a:lnTo>
                    <a:pt x="1086" y="1691"/>
                  </a:lnTo>
                  <a:lnTo>
                    <a:pt x="1090" y="1696"/>
                  </a:lnTo>
                  <a:lnTo>
                    <a:pt x="1094" y="1700"/>
                  </a:lnTo>
                  <a:lnTo>
                    <a:pt x="1095" y="1705"/>
                  </a:lnTo>
                  <a:lnTo>
                    <a:pt x="1095" y="1708"/>
                  </a:lnTo>
                  <a:lnTo>
                    <a:pt x="1095" y="1712"/>
                  </a:lnTo>
                  <a:lnTo>
                    <a:pt x="1094" y="1715"/>
                  </a:lnTo>
                  <a:lnTo>
                    <a:pt x="1094" y="1717"/>
                  </a:lnTo>
                  <a:lnTo>
                    <a:pt x="1092" y="1722"/>
                  </a:lnTo>
                  <a:lnTo>
                    <a:pt x="1090" y="1725"/>
                  </a:lnTo>
                  <a:lnTo>
                    <a:pt x="1089" y="1728"/>
                  </a:lnTo>
                  <a:lnTo>
                    <a:pt x="1086" y="1731"/>
                  </a:lnTo>
                  <a:lnTo>
                    <a:pt x="1082" y="1733"/>
                  </a:lnTo>
                  <a:lnTo>
                    <a:pt x="1079" y="1737"/>
                  </a:lnTo>
                  <a:lnTo>
                    <a:pt x="1076" y="1740"/>
                  </a:lnTo>
                  <a:lnTo>
                    <a:pt x="1074" y="1745"/>
                  </a:lnTo>
                  <a:lnTo>
                    <a:pt x="1076" y="1749"/>
                  </a:lnTo>
                  <a:lnTo>
                    <a:pt x="1076" y="1754"/>
                  </a:lnTo>
                  <a:lnTo>
                    <a:pt x="1078" y="1760"/>
                  </a:lnTo>
                  <a:lnTo>
                    <a:pt x="1080" y="1763"/>
                  </a:lnTo>
                  <a:lnTo>
                    <a:pt x="1088" y="1767"/>
                  </a:lnTo>
                  <a:lnTo>
                    <a:pt x="1089" y="1768"/>
                  </a:lnTo>
                  <a:lnTo>
                    <a:pt x="1092" y="1771"/>
                  </a:lnTo>
                  <a:lnTo>
                    <a:pt x="1094" y="1772"/>
                  </a:lnTo>
                  <a:lnTo>
                    <a:pt x="1097" y="1775"/>
                  </a:lnTo>
                  <a:lnTo>
                    <a:pt x="1100" y="1778"/>
                  </a:lnTo>
                  <a:lnTo>
                    <a:pt x="1101" y="1780"/>
                  </a:lnTo>
                  <a:lnTo>
                    <a:pt x="1103" y="1783"/>
                  </a:lnTo>
                  <a:lnTo>
                    <a:pt x="1106" y="1786"/>
                  </a:lnTo>
                  <a:lnTo>
                    <a:pt x="1114" y="1789"/>
                  </a:lnTo>
                  <a:lnTo>
                    <a:pt x="1117" y="1792"/>
                  </a:lnTo>
                  <a:lnTo>
                    <a:pt x="1118" y="1795"/>
                  </a:lnTo>
                  <a:lnTo>
                    <a:pt x="1119" y="1800"/>
                  </a:lnTo>
                  <a:lnTo>
                    <a:pt x="1119" y="1805"/>
                  </a:lnTo>
                  <a:lnTo>
                    <a:pt x="1118" y="1810"/>
                  </a:lnTo>
                  <a:lnTo>
                    <a:pt x="1118" y="1813"/>
                  </a:lnTo>
                  <a:lnTo>
                    <a:pt x="1118" y="1816"/>
                  </a:lnTo>
                  <a:lnTo>
                    <a:pt x="1118" y="1819"/>
                  </a:lnTo>
                  <a:lnTo>
                    <a:pt x="1120" y="1819"/>
                  </a:lnTo>
                  <a:lnTo>
                    <a:pt x="1122" y="1817"/>
                  </a:lnTo>
                  <a:lnTo>
                    <a:pt x="1122" y="1815"/>
                  </a:lnTo>
                  <a:lnTo>
                    <a:pt x="1125" y="1811"/>
                  </a:lnTo>
                  <a:lnTo>
                    <a:pt x="1126" y="1809"/>
                  </a:lnTo>
                  <a:lnTo>
                    <a:pt x="1128" y="1807"/>
                  </a:lnTo>
                  <a:lnTo>
                    <a:pt x="1132" y="1804"/>
                  </a:lnTo>
                  <a:lnTo>
                    <a:pt x="1135" y="1803"/>
                  </a:lnTo>
                  <a:lnTo>
                    <a:pt x="1137" y="1802"/>
                  </a:lnTo>
                  <a:lnTo>
                    <a:pt x="1140" y="1801"/>
                  </a:lnTo>
                  <a:lnTo>
                    <a:pt x="1143" y="1801"/>
                  </a:lnTo>
                  <a:lnTo>
                    <a:pt x="1146" y="1802"/>
                  </a:lnTo>
                  <a:lnTo>
                    <a:pt x="1148" y="1805"/>
                  </a:lnTo>
                  <a:lnTo>
                    <a:pt x="1151" y="1808"/>
                  </a:lnTo>
                  <a:lnTo>
                    <a:pt x="1153" y="1810"/>
                  </a:lnTo>
                  <a:lnTo>
                    <a:pt x="1156" y="1813"/>
                  </a:lnTo>
                  <a:lnTo>
                    <a:pt x="1156" y="1817"/>
                  </a:lnTo>
                  <a:lnTo>
                    <a:pt x="1154" y="1819"/>
                  </a:lnTo>
                  <a:lnTo>
                    <a:pt x="1153" y="1821"/>
                  </a:lnTo>
                  <a:lnTo>
                    <a:pt x="1152" y="1825"/>
                  </a:lnTo>
                  <a:lnTo>
                    <a:pt x="1152" y="1828"/>
                  </a:lnTo>
                  <a:lnTo>
                    <a:pt x="1153" y="1831"/>
                  </a:lnTo>
                  <a:lnTo>
                    <a:pt x="1153" y="1833"/>
                  </a:lnTo>
                  <a:lnTo>
                    <a:pt x="1152" y="1835"/>
                  </a:lnTo>
                  <a:lnTo>
                    <a:pt x="1151" y="1836"/>
                  </a:lnTo>
                  <a:lnTo>
                    <a:pt x="1149" y="1840"/>
                  </a:lnTo>
                  <a:lnTo>
                    <a:pt x="1146" y="1843"/>
                  </a:lnTo>
                  <a:lnTo>
                    <a:pt x="1145" y="1844"/>
                  </a:lnTo>
                  <a:lnTo>
                    <a:pt x="1144" y="1851"/>
                  </a:lnTo>
                  <a:lnTo>
                    <a:pt x="1145" y="1853"/>
                  </a:lnTo>
                  <a:lnTo>
                    <a:pt x="1149" y="1857"/>
                  </a:lnTo>
                  <a:lnTo>
                    <a:pt x="1153" y="1857"/>
                  </a:lnTo>
                  <a:lnTo>
                    <a:pt x="1157" y="1856"/>
                  </a:lnTo>
                  <a:lnTo>
                    <a:pt x="1160" y="1856"/>
                  </a:lnTo>
                  <a:lnTo>
                    <a:pt x="1161" y="1857"/>
                  </a:lnTo>
                  <a:lnTo>
                    <a:pt x="1165" y="1858"/>
                  </a:lnTo>
                  <a:lnTo>
                    <a:pt x="1166" y="1860"/>
                  </a:lnTo>
                  <a:lnTo>
                    <a:pt x="1168" y="1863"/>
                  </a:lnTo>
                  <a:lnTo>
                    <a:pt x="1170" y="1863"/>
                  </a:lnTo>
                  <a:lnTo>
                    <a:pt x="1173" y="1863"/>
                  </a:lnTo>
                  <a:lnTo>
                    <a:pt x="1175" y="1858"/>
                  </a:lnTo>
                  <a:lnTo>
                    <a:pt x="1177" y="1856"/>
                  </a:lnTo>
                  <a:lnTo>
                    <a:pt x="1178" y="1857"/>
                  </a:lnTo>
                  <a:lnTo>
                    <a:pt x="1181" y="1857"/>
                  </a:lnTo>
                  <a:lnTo>
                    <a:pt x="1183" y="1857"/>
                  </a:lnTo>
                  <a:lnTo>
                    <a:pt x="1186" y="1858"/>
                  </a:lnTo>
                  <a:lnTo>
                    <a:pt x="1189" y="1858"/>
                  </a:lnTo>
                  <a:lnTo>
                    <a:pt x="1192" y="1857"/>
                  </a:lnTo>
                  <a:lnTo>
                    <a:pt x="1196" y="1857"/>
                  </a:lnTo>
                  <a:lnTo>
                    <a:pt x="1197" y="1857"/>
                  </a:lnTo>
                  <a:lnTo>
                    <a:pt x="1200" y="1857"/>
                  </a:lnTo>
                  <a:lnTo>
                    <a:pt x="1204" y="1857"/>
                  </a:lnTo>
                  <a:lnTo>
                    <a:pt x="1206" y="1859"/>
                  </a:lnTo>
                  <a:lnTo>
                    <a:pt x="1206" y="1863"/>
                  </a:lnTo>
                  <a:lnTo>
                    <a:pt x="1207" y="1869"/>
                  </a:lnTo>
                  <a:lnTo>
                    <a:pt x="1210" y="1874"/>
                  </a:lnTo>
                  <a:lnTo>
                    <a:pt x="1212" y="1876"/>
                  </a:lnTo>
                  <a:lnTo>
                    <a:pt x="1214" y="1879"/>
                  </a:lnTo>
                  <a:lnTo>
                    <a:pt x="1217" y="1880"/>
                  </a:lnTo>
                  <a:lnTo>
                    <a:pt x="1221" y="1880"/>
                  </a:lnTo>
                  <a:lnTo>
                    <a:pt x="1223" y="1880"/>
                  </a:lnTo>
                  <a:lnTo>
                    <a:pt x="1226" y="1880"/>
                  </a:lnTo>
                  <a:lnTo>
                    <a:pt x="1231" y="1881"/>
                  </a:lnTo>
                  <a:lnTo>
                    <a:pt x="1232" y="1880"/>
                  </a:lnTo>
                  <a:lnTo>
                    <a:pt x="1233" y="1879"/>
                  </a:lnTo>
                  <a:lnTo>
                    <a:pt x="1234" y="1873"/>
                  </a:lnTo>
                  <a:lnTo>
                    <a:pt x="1238" y="1865"/>
                  </a:lnTo>
                  <a:lnTo>
                    <a:pt x="1239" y="1863"/>
                  </a:lnTo>
                  <a:lnTo>
                    <a:pt x="1241" y="1863"/>
                  </a:lnTo>
                  <a:lnTo>
                    <a:pt x="1244" y="1865"/>
                  </a:lnTo>
                  <a:lnTo>
                    <a:pt x="1244" y="1866"/>
                  </a:lnTo>
                  <a:lnTo>
                    <a:pt x="1244" y="1868"/>
                  </a:lnTo>
                  <a:lnTo>
                    <a:pt x="1245" y="1872"/>
                  </a:lnTo>
                  <a:lnTo>
                    <a:pt x="1244" y="1876"/>
                  </a:lnTo>
                  <a:lnTo>
                    <a:pt x="1244" y="1879"/>
                  </a:lnTo>
                  <a:lnTo>
                    <a:pt x="1244" y="1881"/>
                  </a:lnTo>
                  <a:lnTo>
                    <a:pt x="1246" y="1882"/>
                  </a:lnTo>
                  <a:lnTo>
                    <a:pt x="1250" y="1882"/>
                  </a:lnTo>
                  <a:lnTo>
                    <a:pt x="1254" y="1881"/>
                  </a:lnTo>
                  <a:lnTo>
                    <a:pt x="1256" y="1881"/>
                  </a:lnTo>
                  <a:lnTo>
                    <a:pt x="1257" y="1881"/>
                  </a:lnTo>
                  <a:lnTo>
                    <a:pt x="1260" y="1883"/>
                  </a:lnTo>
                  <a:lnTo>
                    <a:pt x="1260" y="1885"/>
                  </a:lnTo>
                  <a:lnTo>
                    <a:pt x="1260" y="1889"/>
                  </a:lnTo>
                  <a:lnTo>
                    <a:pt x="1260" y="1891"/>
                  </a:lnTo>
                  <a:lnTo>
                    <a:pt x="1262" y="1896"/>
                  </a:lnTo>
                  <a:lnTo>
                    <a:pt x="1265" y="1897"/>
                  </a:lnTo>
                  <a:lnTo>
                    <a:pt x="1270" y="1898"/>
                  </a:lnTo>
                  <a:lnTo>
                    <a:pt x="1273" y="1899"/>
                  </a:lnTo>
                  <a:lnTo>
                    <a:pt x="1276" y="1901"/>
                  </a:lnTo>
                  <a:lnTo>
                    <a:pt x="1279" y="1904"/>
                  </a:lnTo>
                  <a:lnTo>
                    <a:pt x="1281" y="1906"/>
                  </a:lnTo>
                  <a:lnTo>
                    <a:pt x="1282" y="1909"/>
                  </a:lnTo>
                  <a:lnTo>
                    <a:pt x="1284" y="1913"/>
                  </a:lnTo>
                  <a:lnTo>
                    <a:pt x="1281" y="1917"/>
                  </a:lnTo>
                  <a:lnTo>
                    <a:pt x="1278" y="1923"/>
                  </a:lnTo>
                  <a:lnTo>
                    <a:pt x="1279" y="1928"/>
                  </a:lnTo>
                  <a:lnTo>
                    <a:pt x="1281" y="1931"/>
                  </a:lnTo>
                  <a:lnTo>
                    <a:pt x="1286" y="1932"/>
                  </a:lnTo>
                  <a:lnTo>
                    <a:pt x="1292" y="1936"/>
                  </a:lnTo>
                  <a:lnTo>
                    <a:pt x="1294" y="1938"/>
                  </a:lnTo>
                  <a:lnTo>
                    <a:pt x="1297" y="1939"/>
                  </a:lnTo>
                  <a:lnTo>
                    <a:pt x="1301" y="1940"/>
                  </a:lnTo>
                  <a:lnTo>
                    <a:pt x="1305" y="1940"/>
                  </a:lnTo>
                  <a:lnTo>
                    <a:pt x="1310" y="1936"/>
                  </a:lnTo>
                  <a:lnTo>
                    <a:pt x="1312" y="1931"/>
                  </a:lnTo>
                  <a:lnTo>
                    <a:pt x="1316" y="1930"/>
                  </a:lnTo>
                  <a:lnTo>
                    <a:pt x="1318" y="1931"/>
                  </a:lnTo>
                  <a:lnTo>
                    <a:pt x="1319" y="1933"/>
                  </a:lnTo>
                  <a:lnTo>
                    <a:pt x="1319" y="1937"/>
                  </a:lnTo>
                  <a:lnTo>
                    <a:pt x="1318" y="1941"/>
                  </a:lnTo>
                  <a:lnTo>
                    <a:pt x="1319" y="1946"/>
                  </a:lnTo>
                  <a:lnTo>
                    <a:pt x="1321" y="1948"/>
                  </a:lnTo>
                  <a:lnTo>
                    <a:pt x="1322" y="1951"/>
                  </a:lnTo>
                  <a:lnTo>
                    <a:pt x="1324" y="1954"/>
                  </a:lnTo>
                  <a:lnTo>
                    <a:pt x="1327" y="1955"/>
                  </a:lnTo>
                  <a:lnTo>
                    <a:pt x="1329" y="1957"/>
                  </a:lnTo>
                  <a:lnTo>
                    <a:pt x="1332" y="1959"/>
                  </a:lnTo>
                  <a:lnTo>
                    <a:pt x="1336" y="1959"/>
                  </a:lnTo>
                  <a:lnTo>
                    <a:pt x="1334" y="1964"/>
                  </a:lnTo>
                  <a:lnTo>
                    <a:pt x="1346" y="1952"/>
                  </a:lnTo>
                  <a:lnTo>
                    <a:pt x="1351" y="1948"/>
                  </a:lnTo>
                  <a:lnTo>
                    <a:pt x="1356" y="1947"/>
                  </a:lnTo>
                  <a:lnTo>
                    <a:pt x="1359" y="1947"/>
                  </a:lnTo>
                  <a:lnTo>
                    <a:pt x="1362" y="1947"/>
                  </a:lnTo>
                  <a:lnTo>
                    <a:pt x="1365" y="1948"/>
                  </a:lnTo>
                  <a:lnTo>
                    <a:pt x="1367" y="1951"/>
                  </a:lnTo>
                  <a:lnTo>
                    <a:pt x="1368" y="1953"/>
                  </a:lnTo>
                  <a:lnTo>
                    <a:pt x="1372" y="1955"/>
                  </a:lnTo>
                  <a:lnTo>
                    <a:pt x="1374" y="1956"/>
                  </a:lnTo>
                  <a:lnTo>
                    <a:pt x="1377" y="1959"/>
                  </a:lnTo>
                  <a:lnTo>
                    <a:pt x="1380" y="1960"/>
                  </a:lnTo>
                  <a:lnTo>
                    <a:pt x="1382" y="1960"/>
                  </a:lnTo>
                  <a:lnTo>
                    <a:pt x="1385" y="1959"/>
                  </a:lnTo>
                  <a:lnTo>
                    <a:pt x="1388" y="1957"/>
                  </a:lnTo>
                  <a:lnTo>
                    <a:pt x="1390" y="1952"/>
                  </a:lnTo>
                  <a:lnTo>
                    <a:pt x="1393" y="1949"/>
                  </a:lnTo>
                  <a:lnTo>
                    <a:pt x="1397" y="1946"/>
                  </a:lnTo>
                  <a:lnTo>
                    <a:pt x="1399" y="1944"/>
                  </a:lnTo>
                  <a:lnTo>
                    <a:pt x="1402" y="1944"/>
                  </a:lnTo>
                  <a:lnTo>
                    <a:pt x="1405" y="1945"/>
                  </a:lnTo>
                  <a:lnTo>
                    <a:pt x="1409" y="1944"/>
                  </a:lnTo>
                  <a:lnTo>
                    <a:pt x="1410" y="1943"/>
                  </a:lnTo>
                  <a:lnTo>
                    <a:pt x="1412" y="1943"/>
                  </a:lnTo>
                  <a:lnTo>
                    <a:pt x="1421" y="1940"/>
                  </a:lnTo>
                  <a:lnTo>
                    <a:pt x="1423" y="1939"/>
                  </a:lnTo>
                  <a:lnTo>
                    <a:pt x="1426" y="1936"/>
                  </a:lnTo>
                  <a:lnTo>
                    <a:pt x="1428" y="1933"/>
                  </a:lnTo>
                  <a:lnTo>
                    <a:pt x="1431" y="1931"/>
                  </a:lnTo>
                  <a:lnTo>
                    <a:pt x="1433" y="1930"/>
                  </a:lnTo>
                  <a:lnTo>
                    <a:pt x="1437" y="1929"/>
                  </a:lnTo>
                  <a:lnTo>
                    <a:pt x="1441" y="1928"/>
                  </a:lnTo>
                  <a:lnTo>
                    <a:pt x="1445" y="1928"/>
                  </a:lnTo>
                  <a:lnTo>
                    <a:pt x="1448" y="1928"/>
                  </a:lnTo>
                  <a:lnTo>
                    <a:pt x="1449" y="1927"/>
                  </a:lnTo>
                  <a:lnTo>
                    <a:pt x="1452" y="1925"/>
                  </a:lnTo>
                  <a:lnTo>
                    <a:pt x="1452" y="1924"/>
                  </a:lnTo>
                  <a:lnTo>
                    <a:pt x="1452" y="1922"/>
                  </a:lnTo>
                  <a:lnTo>
                    <a:pt x="1449" y="1921"/>
                  </a:lnTo>
                  <a:lnTo>
                    <a:pt x="1447" y="1921"/>
                  </a:lnTo>
                  <a:lnTo>
                    <a:pt x="1445" y="1920"/>
                  </a:lnTo>
                  <a:lnTo>
                    <a:pt x="1444" y="1919"/>
                  </a:lnTo>
                  <a:lnTo>
                    <a:pt x="1442" y="1916"/>
                  </a:lnTo>
                  <a:lnTo>
                    <a:pt x="1442" y="1914"/>
                  </a:lnTo>
                  <a:lnTo>
                    <a:pt x="1444" y="1911"/>
                  </a:lnTo>
                  <a:lnTo>
                    <a:pt x="1441" y="1909"/>
                  </a:lnTo>
                  <a:lnTo>
                    <a:pt x="1440" y="1907"/>
                  </a:lnTo>
                  <a:lnTo>
                    <a:pt x="1438" y="1908"/>
                  </a:lnTo>
                  <a:lnTo>
                    <a:pt x="1436" y="1908"/>
                  </a:lnTo>
                  <a:lnTo>
                    <a:pt x="1433" y="1909"/>
                  </a:lnTo>
                  <a:lnTo>
                    <a:pt x="1429" y="1911"/>
                  </a:lnTo>
                  <a:lnTo>
                    <a:pt x="1426" y="1912"/>
                  </a:lnTo>
                  <a:lnTo>
                    <a:pt x="1424" y="1912"/>
                  </a:lnTo>
                  <a:lnTo>
                    <a:pt x="1422" y="1909"/>
                  </a:lnTo>
                  <a:lnTo>
                    <a:pt x="1420" y="1908"/>
                  </a:lnTo>
                  <a:lnTo>
                    <a:pt x="1417" y="1907"/>
                  </a:lnTo>
                  <a:lnTo>
                    <a:pt x="1414" y="1906"/>
                  </a:lnTo>
                  <a:lnTo>
                    <a:pt x="1409" y="1905"/>
                  </a:lnTo>
                  <a:lnTo>
                    <a:pt x="1407" y="1905"/>
                  </a:lnTo>
                  <a:lnTo>
                    <a:pt x="1405" y="1906"/>
                  </a:lnTo>
                  <a:lnTo>
                    <a:pt x="1402" y="1905"/>
                  </a:lnTo>
                  <a:lnTo>
                    <a:pt x="1400" y="1904"/>
                  </a:lnTo>
                  <a:lnTo>
                    <a:pt x="1398" y="1901"/>
                  </a:lnTo>
                  <a:lnTo>
                    <a:pt x="1396" y="1899"/>
                  </a:lnTo>
                  <a:lnTo>
                    <a:pt x="1394" y="1897"/>
                  </a:lnTo>
                  <a:lnTo>
                    <a:pt x="1392" y="1895"/>
                  </a:lnTo>
                  <a:lnTo>
                    <a:pt x="1391" y="1895"/>
                  </a:lnTo>
                  <a:lnTo>
                    <a:pt x="1390" y="1892"/>
                  </a:lnTo>
                  <a:lnTo>
                    <a:pt x="1391" y="1890"/>
                  </a:lnTo>
                  <a:lnTo>
                    <a:pt x="1393" y="1889"/>
                  </a:lnTo>
                  <a:lnTo>
                    <a:pt x="1397" y="1888"/>
                  </a:lnTo>
                  <a:lnTo>
                    <a:pt x="1399" y="1885"/>
                  </a:lnTo>
                  <a:lnTo>
                    <a:pt x="1400" y="1883"/>
                  </a:lnTo>
                  <a:lnTo>
                    <a:pt x="1402" y="1881"/>
                  </a:lnTo>
                  <a:lnTo>
                    <a:pt x="1405" y="1880"/>
                  </a:lnTo>
                  <a:lnTo>
                    <a:pt x="1407" y="1876"/>
                  </a:lnTo>
                  <a:lnTo>
                    <a:pt x="1407" y="1873"/>
                  </a:lnTo>
                  <a:lnTo>
                    <a:pt x="1407" y="1869"/>
                  </a:lnTo>
                  <a:lnTo>
                    <a:pt x="1407" y="1866"/>
                  </a:lnTo>
                  <a:lnTo>
                    <a:pt x="1407" y="1861"/>
                  </a:lnTo>
                  <a:lnTo>
                    <a:pt x="1407" y="1858"/>
                  </a:lnTo>
                  <a:lnTo>
                    <a:pt x="1410" y="1856"/>
                  </a:lnTo>
                  <a:lnTo>
                    <a:pt x="1415" y="1853"/>
                  </a:lnTo>
                  <a:lnTo>
                    <a:pt x="1417" y="1852"/>
                  </a:lnTo>
                  <a:lnTo>
                    <a:pt x="1421" y="1850"/>
                  </a:lnTo>
                  <a:lnTo>
                    <a:pt x="1424" y="1849"/>
                  </a:lnTo>
                  <a:lnTo>
                    <a:pt x="1429" y="1847"/>
                  </a:lnTo>
                  <a:lnTo>
                    <a:pt x="1431" y="1845"/>
                  </a:lnTo>
                  <a:lnTo>
                    <a:pt x="1433" y="1843"/>
                  </a:lnTo>
                  <a:lnTo>
                    <a:pt x="1437" y="1841"/>
                  </a:lnTo>
                  <a:lnTo>
                    <a:pt x="1440" y="1841"/>
                  </a:lnTo>
                  <a:lnTo>
                    <a:pt x="1446" y="1839"/>
                  </a:lnTo>
                  <a:lnTo>
                    <a:pt x="1449" y="1836"/>
                  </a:lnTo>
                  <a:lnTo>
                    <a:pt x="1454" y="1835"/>
                  </a:lnTo>
                  <a:lnTo>
                    <a:pt x="1456" y="1835"/>
                  </a:lnTo>
                  <a:lnTo>
                    <a:pt x="1457" y="1833"/>
                  </a:lnTo>
                  <a:lnTo>
                    <a:pt x="1457" y="1829"/>
                  </a:lnTo>
                  <a:lnTo>
                    <a:pt x="1460" y="1827"/>
                  </a:lnTo>
                  <a:lnTo>
                    <a:pt x="1462" y="1827"/>
                  </a:lnTo>
                  <a:lnTo>
                    <a:pt x="1464" y="1828"/>
                  </a:lnTo>
                  <a:lnTo>
                    <a:pt x="1466" y="1829"/>
                  </a:lnTo>
                  <a:lnTo>
                    <a:pt x="1470" y="1828"/>
                  </a:lnTo>
                  <a:lnTo>
                    <a:pt x="1473" y="1829"/>
                  </a:lnTo>
                  <a:lnTo>
                    <a:pt x="1477" y="1829"/>
                  </a:lnTo>
                  <a:lnTo>
                    <a:pt x="1480" y="1827"/>
                  </a:lnTo>
                  <a:lnTo>
                    <a:pt x="1485" y="1825"/>
                  </a:lnTo>
                  <a:lnTo>
                    <a:pt x="1486" y="1823"/>
                  </a:lnTo>
                  <a:lnTo>
                    <a:pt x="1488" y="1819"/>
                  </a:lnTo>
                  <a:lnTo>
                    <a:pt x="1490" y="1817"/>
                  </a:lnTo>
                  <a:lnTo>
                    <a:pt x="1492" y="1813"/>
                  </a:lnTo>
                  <a:lnTo>
                    <a:pt x="1490" y="1811"/>
                  </a:lnTo>
                  <a:lnTo>
                    <a:pt x="1489" y="1809"/>
                  </a:lnTo>
                  <a:lnTo>
                    <a:pt x="1488" y="1801"/>
                  </a:lnTo>
                  <a:lnTo>
                    <a:pt x="1486" y="1800"/>
                  </a:lnTo>
                  <a:lnTo>
                    <a:pt x="1487" y="1795"/>
                  </a:lnTo>
                  <a:lnTo>
                    <a:pt x="1492" y="1793"/>
                  </a:lnTo>
                  <a:lnTo>
                    <a:pt x="1493" y="1794"/>
                  </a:lnTo>
                  <a:lnTo>
                    <a:pt x="1494" y="1795"/>
                  </a:lnTo>
                  <a:lnTo>
                    <a:pt x="1495" y="1793"/>
                  </a:lnTo>
                  <a:lnTo>
                    <a:pt x="1500" y="1792"/>
                  </a:lnTo>
                  <a:lnTo>
                    <a:pt x="1503" y="1791"/>
                  </a:lnTo>
                  <a:lnTo>
                    <a:pt x="1506" y="1788"/>
                  </a:lnTo>
                  <a:lnTo>
                    <a:pt x="1509" y="1788"/>
                  </a:lnTo>
                  <a:lnTo>
                    <a:pt x="1512" y="1785"/>
                  </a:lnTo>
                  <a:lnTo>
                    <a:pt x="1516" y="1784"/>
                  </a:lnTo>
                  <a:lnTo>
                    <a:pt x="1518" y="1784"/>
                  </a:lnTo>
                  <a:lnTo>
                    <a:pt x="1520" y="1780"/>
                  </a:lnTo>
                  <a:lnTo>
                    <a:pt x="1520" y="1778"/>
                  </a:lnTo>
                  <a:lnTo>
                    <a:pt x="1520" y="1777"/>
                  </a:lnTo>
                  <a:lnTo>
                    <a:pt x="1518" y="1775"/>
                  </a:lnTo>
                  <a:lnTo>
                    <a:pt x="1516" y="1771"/>
                  </a:lnTo>
                  <a:lnTo>
                    <a:pt x="1513" y="1768"/>
                  </a:lnTo>
                  <a:lnTo>
                    <a:pt x="1510" y="1761"/>
                  </a:lnTo>
                  <a:lnTo>
                    <a:pt x="1508" y="1760"/>
                  </a:lnTo>
                  <a:lnTo>
                    <a:pt x="1505" y="1757"/>
                  </a:lnTo>
                  <a:lnTo>
                    <a:pt x="1504" y="1754"/>
                  </a:lnTo>
                  <a:lnTo>
                    <a:pt x="1503" y="1752"/>
                  </a:lnTo>
                  <a:lnTo>
                    <a:pt x="1501" y="1748"/>
                  </a:lnTo>
                  <a:lnTo>
                    <a:pt x="1501" y="1744"/>
                  </a:lnTo>
                  <a:lnTo>
                    <a:pt x="1501" y="1739"/>
                  </a:lnTo>
                  <a:lnTo>
                    <a:pt x="1502" y="1736"/>
                  </a:lnTo>
                  <a:lnTo>
                    <a:pt x="1505" y="1731"/>
                  </a:lnTo>
                  <a:lnTo>
                    <a:pt x="1508" y="1729"/>
                  </a:lnTo>
                  <a:lnTo>
                    <a:pt x="1510" y="1725"/>
                  </a:lnTo>
                  <a:lnTo>
                    <a:pt x="1512" y="1721"/>
                  </a:lnTo>
                  <a:lnTo>
                    <a:pt x="1512" y="1716"/>
                  </a:lnTo>
                  <a:lnTo>
                    <a:pt x="1512" y="1712"/>
                  </a:lnTo>
                  <a:lnTo>
                    <a:pt x="1512" y="1708"/>
                  </a:lnTo>
                  <a:lnTo>
                    <a:pt x="1513" y="1704"/>
                  </a:lnTo>
                  <a:lnTo>
                    <a:pt x="1514" y="1698"/>
                  </a:lnTo>
                  <a:lnTo>
                    <a:pt x="1516" y="1696"/>
                  </a:lnTo>
                  <a:lnTo>
                    <a:pt x="1516" y="1692"/>
                  </a:lnTo>
                  <a:lnTo>
                    <a:pt x="1514" y="1689"/>
                  </a:lnTo>
                  <a:lnTo>
                    <a:pt x="1514" y="1687"/>
                  </a:lnTo>
                  <a:lnTo>
                    <a:pt x="1511" y="1683"/>
                  </a:lnTo>
                  <a:lnTo>
                    <a:pt x="1504" y="1672"/>
                  </a:lnTo>
                  <a:lnTo>
                    <a:pt x="1503" y="1668"/>
                  </a:lnTo>
                  <a:lnTo>
                    <a:pt x="1502" y="1664"/>
                  </a:lnTo>
                  <a:lnTo>
                    <a:pt x="1502" y="1659"/>
                  </a:lnTo>
                  <a:lnTo>
                    <a:pt x="1503" y="1656"/>
                  </a:lnTo>
                  <a:lnTo>
                    <a:pt x="1504" y="1652"/>
                  </a:lnTo>
                  <a:lnTo>
                    <a:pt x="1504" y="1649"/>
                  </a:lnTo>
                  <a:lnTo>
                    <a:pt x="1504" y="1647"/>
                  </a:lnTo>
                  <a:lnTo>
                    <a:pt x="1503" y="1643"/>
                  </a:lnTo>
                  <a:lnTo>
                    <a:pt x="1502" y="1640"/>
                  </a:lnTo>
                  <a:lnTo>
                    <a:pt x="1501" y="1639"/>
                  </a:lnTo>
                  <a:lnTo>
                    <a:pt x="1498" y="1637"/>
                  </a:lnTo>
                  <a:lnTo>
                    <a:pt x="1495" y="1637"/>
                  </a:lnTo>
                  <a:lnTo>
                    <a:pt x="1490" y="1639"/>
                  </a:lnTo>
                  <a:lnTo>
                    <a:pt x="1487" y="1639"/>
                  </a:lnTo>
                  <a:lnTo>
                    <a:pt x="1482" y="1639"/>
                  </a:lnTo>
                  <a:lnTo>
                    <a:pt x="1478" y="1637"/>
                  </a:lnTo>
                  <a:lnTo>
                    <a:pt x="1474" y="1639"/>
                  </a:lnTo>
                  <a:lnTo>
                    <a:pt x="1472" y="1639"/>
                  </a:lnTo>
                  <a:lnTo>
                    <a:pt x="1466" y="1637"/>
                  </a:lnTo>
                  <a:lnTo>
                    <a:pt x="1463" y="1636"/>
                  </a:lnTo>
                  <a:lnTo>
                    <a:pt x="1460" y="1634"/>
                  </a:lnTo>
                  <a:lnTo>
                    <a:pt x="1458" y="1633"/>
                  </a:lnTo>
                  <a:lnTo>
                    <a:pt x="1460" y="1629"/>
                  </a:lnTo>
                  <a:lnTo>
                    <a:pt x="1461" y="1627"/>
                  </a:lnTo>
                  <a:lnTo>
                    <a:pt x="1462" y="1624"/>
                  </a:lnTo>
                  <a:lnTo>
                    <a:pt x="1462" y="1619"/>
                  </a:lnTo>
                  <a:lnTo>
                    <a:pt x="1464" y="1616"/>
                  </a:lnTo>
                  <a:lnTo>
                    <a:pt x="1466" y="1611"/>
                  </a:lnTo>
                  <a:lnTo>
                    <a:pt x="1466" y="1608"/>
                  </a:lnTo>
                  <a:lnTo>
                    <a:pt x="1468" y="1603"/>
                  </a:lnTo>
                  <a:lnTo>
                    <a:pt x="1473" y="1596"/>
                  </a:lnTo>
                  <a:lnTo>
                    <a:pt x="1476" y="1594"/>
                  </a:lnTo>
                  <a:lnTo>
                    <a:pt x="1479" y="1592"/>
                  </a:lnTo>
                  <a:lnTo>
                    <a:pt x="1482" y="1589"/>
                  </a:lnTo>
                  <a:lnTo>
                    <a:pt x="1485" y="1586"/>
                  </a:lnTo>
                  <a:lnTo>
                    <a:pt x="1484" y="1584"/>
                  </a:lnTo>
                  <a:lnTo>
                    <a:pt x="1480" y="1583"/>
                  </a:lnTo>
                  <a:lnTo>
                    <a:pt x="1476" y="1580"/>
                  </a:lnTo>
                  <a:lnTo>
                    <a:pt x="1473" y="1578"/>
                  </a:lnTo>
                  <a:lnTo>
                    <a:pt x="1469" y="1575"/>
                  </a:lnTo>
                  <a:lnTo>
                    <a:pt x="1464" y="1577"/>
                  </a:lnTo>
                  <a:lnTo>
                    <a:pt x="1462" y="1577"/>
                  </a:lnTo>
                  <a:lnTo>
                    <a:pt x="1461" y="1578"/>
                  </a:lnTo>
                  <a:lnTo>
                    <a:pt x="1458" y="1577"/>
                  </a:lnTo>
                  <a:lnTo>
                    <a:pt x="1456" y="1575"/>
                  </a:lnTo>
                  <a:lnTo>
                    <a:pt x="1452" y="1571"/>
                  </a:lnTo>
                  <a:lnTo>
                    <a:pt x="1449" y="1569"/>
                  </a:lnTo>
                  <a:lnTo>
                    <a:pt x="1448" y="1568"/>
                  </a:lnTo>
                  <a:lnTo>
                    <a:pt x="1448" y="1567"/>
                  </a:lnTo>
                  <a:lnTo>
                    <a:pt x="1448" y="1564"/>
                  </a:lnTo>
                  <a:lnTo>
                    <a:pt x="1452" y="1563"/>
                  </a:lnTo>
                  <a:lnTo>
                    <a:pt x="1454" y="1562"/>
                  </a:lnTo>
                  <a:lnTo>
                    <a:pt x="1456" y="1561"/>
                  </a:lnTo>
                  <a:lnTo>
                    <a:pt x="1456" y="1559"/>
                  </a:lnTo>
                  <a:lnTo>
                    <a:pt x="1456" y="1555"/>
                  </a:lnTo>
                  <a:lnTo>
                    <a:pt x="1457" y="1551"/>
                  </a:lnTo>
                  <a:lnTo>
                    <a:pt x="1458" y="1547"/>
                  </a:lnTo>
                  <a:lnTo>
                    <a:pt x="1461" y="1544"/>
                  </a:lnTo>
                  <a:lnTo>
                    <a:pt x="1465" y="1538"/>
                  </a:lnTo>
                  <a:lnTo>
                    <a:pt x="1469" y="1533"/>
                  </a:lnTo>
                  <a:lnTo>
                    <a:pt x="1470" y="1531"/>
                  </a:lnTo>
                  <a:lnTo>
                    <a:pt x="1473" y="1528"/>
                  </a:lnTo>
                  <a:lnTo>
                    <a:pt x="1474" y="1525"/>
                  </a:lnTo>
                  <a:lnTo>
                    <a:pt x="1476" y="1522"/>
                  </a:lnTo>
                  <a:lnTo>
                    <a:pt x="1474" y="1520"/>
                  </a:lnTo>
                  <a:lnTo>
                    <a:pt x="1471" y="1520"/>
                  </a:lnTo>
                  <a:lnTo>
                    <a:pt x="1469" y="1520"/>
                  </a:lnTo>
                  <a:lnTo>
                    <a:pt x="1465" y="1519"/>
                  </a:lnTo>
                  <a:lnTo>
                    <a:pt x="1464" y="1516"/>
                  </a:lnTo>
                  <a:lnTo>
                    <a:pt x="1464" y="1513"/>
                  </a:lnTo>
                  <a:lnTo>
                    <a:pt x="1466" y="1509"/>
                  </a:lnTo>
                  <a:lnTo>
                    <a:pt x="1469" y="1506"/>
                  </a:lnTo>
                  <a:lnTo>
                    <a:pt x="1469" y="1503"/>
                  </a:lnTo>
                  <a:lnTo>
                    <a:pt x="1469" y="1498"/>
                  </a:lnTo>
                  <a:lnTo>
                    <a:pt x="1469" y="1493"/>
                  </a:lnTo>
                  <a:lnTo>
                    <a:pt x="1470" y="1489"/>
                  </a:lnTo>
                  <a:lnTo>
                    <a:pt x="1473" y="1488"/>
                  </a:lnTo>
                  <a:lnTo>
                    <a:pt x="1477" y="1484"/>
                  </a:lnTo>
                  <a:lnTo>
                    <a:pt x="1479" y="1481"/>
                  </a:lnTo>
                  <a:lnTo>
                    <a:pt x="1478" y="1477"/>
                  </a:lnTo>
                  <a:lnTo>
                    <a:pt x="1478" y="1475"/>
                  </a:lnTo>
                  <a:lnTo>
                    <a:pt x="1476" y="1474"/>
                  </a:lnTo>
                  <a:lnTo>
                    <a:pt x="1471" y="1475"/>
                  </a:lnTo>
                  <a:lnTo>
                    <a:pt x="1470" y="1476"/>
                  </a:lnTo>
                  <a:lnTo>
                    <a:pt x="1468" y="1476"/>
                  </a:lnTo>
                  <a:lnTo>
                    <a:pt x="1468" y="1474"/>
                  </a:lnTo>
                  <a:lnTo>
                    <a:pt x="1468" y="1471"/>
                  </a:lnTo>
                  <a:lnTo>
                    <a:pt x="1469" y="1467"/>
                  </a:lnTo>
                  <a:lnTo>
                    <a:pt x="1470" y="1464"/>
                  </a:lnTo>
                  <a:lnTo>
                    <a:pt x="1473" y="1464"/>
                  </a:lnTo>
                  <a:lnTo>
                    <a:pt x="1476" y="1464"/>
                  </a:lnTo>
                  <a:lnTo>
                    <a:pt x="1477" y="1465"/>
                  </a:lnTo>
                  <a:lnTo>
                    <a:pt x="1480" y="1467"/>
                  </a:lnTo>
                  <a:lnTo>
                    <a:pt x="1482" y="1469"/>
                  </a:lnTo>
                  <a:lnTo>
                    <a:pt x="1485" y="1469"/>
                  </a:lnTo>
                  <a:lnTo>
                    <a:pt x="1487" y="1468"/>
                  </a:lnTo>
                  <a:lnTo>
                    <a:pt x="1486" y="1464"/>
                  </a:lnTo>
                  <a:lnTo>
                    <a:pt x="1482" y="1460"/>
                  </a:lnTo>
                  <a:lnTo>
                    <a:pt x="1482" y="1457"/>
                  </a:lnTo>
                  <a:lnTo>
                    <a:pt x="1479" y="1453"/>
                  </a:lnTo>
                  <a:lnTo>
                    <a:pt x="1478" y="1450"/>
                  </a:lnTo>
                  <a:lnTo>
                    <a:pt x="1477" y="1447"/>
                  </a:lnTo>
                  <a:lnTo>
                    <a:pt x="1478" y="1443"/>
                  </a:lnTo>
                  <a:lnTo>
                    <a:pt x="1481" y="1442"/>
                  </a:lnTo>
                  <a:lnTo>
                    <a:pt x="1485" y="1442"/>
                  </a:lnTo>
                  <a:lnTo>
                    <a:pt x="1487" y="1443"/>
                  </a:lnTo>
                  <a:lnTo>
                    <a:pt x="1492" y="1448"/>
                  </a:lnTo>
                  <a:lnTo>
                    <a:pt x="1494" y="1449"/>
                  </a:lnTo>
                  <a:lnTo>
                    <a:pt x="1497" y="1451"/>
                  </a:lnTo>
                  <a:lnTo>
                    <a:pt x="1501" y="1453"/>
                  </a:lnTo>
                  <a:lnTo>
                    <a:pt x="1504" y="1459"/>
                  </a:lnTo>
                  <a:lnTo>
                    <a:pt x="1506" y="1460"/>
                  </a:lnTo>
                  <a:lnTo>
                    <a:pt x="1509" y="1461"/>
                  </a:lnTo>
                  <a:lnTo>
                    <a:pt x="1512" y="1463"/>
                  </a:lnTo>
                  <a:lnTo>
                    <a:pt x="1514" y="1463"/>
                  </a:lnTo>
                  <a:lnTo>
                    <a:pt x="1517" y="1464"/>
                  </a:lnTo>
                  <a:lnTo>
                    <a:pt x="1522" y="1467"/>
                  </a:lnTo>
                  <a:lnTo>
                    <a:pt x="1524" y="1469"/>
                  </a:lnTo>
                  <a:lnTo>
                    <a:pt x="1525" y="1472"/>
                  </a:lnTo>
                  <a:lnTo>
                    <a:pt x="1530" y="1473"/>
                  </a:lnTo>
                  <a:lnTo>
                    <a:pt x="1534" y="1473"/>
                  </a:lnTo>
                  <a:lnTo>
                    <a:pt x="1540" y="1473"/>
                  </a:lnTo>
                  <a:lnTo>
                    <a:pt x="1545" y="1472"/>
                  </a:lnTo>
                  <a:lnTo>
                    <a:pt x="1552" y="1469"/>
                  </a:lnTo>
                  <a:lnTo>
                    <a:pt x="1554" y="1468"/>
                  </a:lnTo>
                  <a:lnTo>
                    <a:pt x="1557" y="1466"/>
                  </a:lnTo>
                  <a:lnTo>
                    <a:pt x="1558" y="1463"/>
                  </a:lnTo>
                  <a:lnTo>
                    <a:pt x="1559" y="1459"/>
                  </a:lnTo>
                  <a:lnTo>
                    <a:pt x="1560" y="1456"/>
                  </a:lnTo>
                  <a:lnTo>
                    <a:pt x="1561" y="1453"/>
                  </a:lnTo>
                  <a:lnTo>
                    <a:pt x="1566" y="1450"/>
                  </a:lnTo>
                  <a:lnTo>
                    <a:pt x="1567" y="1445"/>
                  </a:lnTo>
                  <a:lnTo>
                    <a:pt x="1566" y="1442"/>
                  </a:lnTo>
                  <a:lnTo>
                    <a:pt x="1568" y="1439"/>
                  </a:lnTo>
                  <a:lnTo>
                    <a:pt x="1569" y="1435"/>
                  </a:lnTo>
                  <a:lnTo>
                    <a:pt x="1569" y="1433"/>
                  </a:lnTo>
                  <a:lnTo>
                    <a:pt x="1569" y="1428"/>
                  </a:lnTo>
                  <a:lnTo>
                    <a:pt x="1569" y="1425"/>
                  </a:lnTo>
                  <a:lnTo>
                    <a:pt x="1570" y="1420"/>
                  </a:lnTo>
                  <a:lnTo>
                    <a:pt x="1570" y="1419"/>
                  </a:lnTo>
                  <a:lnTo>
                    <a:pt x="1573" y="1417"/>
                  </a:lnTo>
                  <a:lnTo>
                    <a:pt x="1575" y="1416"/>
                  </a:lnTo>
                  <a:lnTo>
                    <a:pt x="1577" y="1417"/>
                  </a:lnTo>
                  <a:lnTo>
                    <a:pt x="1583" y="1417"/>
                  </a:lnTo>
                  <a:lnTo>
                    <a:pt x="1589" y="1417"/>
                  </a:lnTo>
                  <a:lnTo>
                    <a:pt x="1596" y="1417"/>
                  </a:lnTo>
                  <a:lnTo>
                    <a:pt x="1599" y="1416"/>
                  </a:lnTo>
                  <a:lnTo>
                    <a:pt x="1604" y="1416"/>
                  </a:lnTo>
                  <a:lnTo>
                    <a:pt x="1607" y="1416"/>
                  </a:lnTo>
                  <a:lnTo>
                    <a:pt x="1613" y="1416"/>
                  </a:lnTo>
                  <a:lnTo>
                    <a:pt x="1615" y="1417"/>
                  </a:lnTo>
                  <a:lnTo>
                    <a:pt x="1618" y="1419"/>
                  </a:lnTo>
                  <a:lnTo>
                    <a:pt x="1618" y="1421"/>
                  </a:lnTo>
                  <a:lnTo>
                    <a:pt x="1617" y="1424"/>
                  </a:lnTo>
                  <a:lnTo>
                    <a:pt x="1617" y="1426"/>
                  </a:lnTo>
                  <a:lnTo>
                    <a:pt x="1617" y="1428"/>
                  </a:lnTo>
                  <a:lnTo>
                    <a:pt x="1618" y="1432"/>
                  </a:lnTo>
                  <a:lnTo>
                    <a:pt x="1620" y="1435"/>
                  </a:lnTo>
                  <a:lnTo>
                    <a:pt x="1618" y="1437"/>
                  </a:lnTo>
                  <a:lnTo>
                    <a:pt x="1617" y="1440"/>
                  </a:lnTo>
                  <a:lnTo>
                    <a:pt x="1617" y="1443"/>
                  </a:lnTo>
                  <a:lnTo>
                    <a:pt x="1617" y="1448"/>
                  </a:lnTo>
                  <a:lnTo>
                    <a:pt x="1616" y="1451"/>
                  </a:lnTo>
                  <a:lnTo>
                    <a:pt x="1615" y="1453"/>
                  </a:lnTo>
                  <a:lnTo>
                    <a:pt x="1613" y="1453"/>
                  </a:lnTo>
                  <a:lnTo>
                    <a:pt x="1610" y="1452"/>
                  </a:lnTo>
                  <a:lnTo>
                    <a:pt x="1608" y="1448"/>
                  </a:lnTo>
                  <a:lnTo>
                    <a:pt x="1608" y="1444"/>
                  </a:lnTo>
                  <a:lnTo>
                    <a:pt x="1605" y="1440"/>
                  </a:lnTo>
                  <a:lnTo>
                    <a:pt x="1601" y="1439"/>
                  </a:lnTo>
                  <a:lnTo>
                    <a:pt x="1599" y="1440"/>
                  </a:lnTo>
                  <a:lnTo>
                    <a:pt x="1598" y="1442"/>
                  </a:lnTo>
                  <a:lnTo>
                    <a:pt x="1600" y="1445"/>
                  </a:lnTo>
                  <a:lnTo>
                    <a:pt x="1600" y="1452"/>
                  </a:lnTo>
                  <a:lnTo>
                    <a:pt x="1600" y="1453"/>
                  </a:lnTo>
                  <a:lnTo>
                    <a:pt x="1601" y="1457"/>
                  </a:lnTo>
                  <a:lnTo>
                    <a:pt x="1600" y="1458"/>
                  </a:lnTo>
                  <a:lnTo>
                    <a:pt x="1601" y="1460"/>
                  </a:lnTo>
                  <a:lnTo>
                    <a:pt x="1604" y="1461"/>
                  </a:lnTo>
                  <a:lnTo>
                    <a:pt x="1605" y="1463"/>
                  </a:lnTo>
                  <a:lnTo>
                    <a:pt x="1605" y="1464"/>
                  </a:lnTo>
                  <a:lnTo>
                    <a:pt x="1606" y="1466"/>
                  </a:lnTo>
                  <a:lnTo>
                    <a:pt x="1608" y="1468"/>
                  </a:lnTo>
                  <a:lnTo>
                    <a:pt x="1610" y="1468"/>
                  </a:lnTo>
                  <a:lnTo>
                    <a:pt x="1612" y="1466"/>
                  </a:lnTo>
                  <a:lnTo>
                    <a:pt x="1612" y="1465"/>
                  </a:lnTo>
                  <a:lnTo>
                    <a:pt x="1613" y="1463"/>
                  </a:lnTo>
                  <a:lnTo>
                    <a:pt x="1615" y="1463"/>
                  </a:lnTo>
                  <a:lnTo>
                    <a:pt x="1620" y="1464"/>
                  </a:lnTo>
                  <a:lnTo>
                    <a:pt x="1622" y="1464"/>
                  </a:lnTo>
                  <a:lnTo>
                    <a:pt x="1623" y="1464"/>
                  </a:lnTo>
                  <a:lnTo>
                    <a:pt x="1626" y="1465"/>
                  </a:lnTo>
                  <a:lnTo>
                    <a:pt x="1630" y="1464"/>
                  </a:lnTo>
                  <a:lnTo>
                    <a:pt x="1631" y="1463"/>
                  </a:lnTo>
                  <a:lnTo>
                    <a:pt x="1634" y="1461"/>
                  </a:lnTo>
                  <a:lnTo>
                    <a:pt x="1637" y="1460"/>
                  </a:lnTo>
                  <a:lnTo>
                    <a:pt x="1638" y="1459"/>
                  </a:lnTo>
                  <a:lnTo>
                    <a:pt x="1639" y="1458"/>
                  </a:lnTo>
                  <a:lnTo>
                    <a:pt x="1641" y="1459"/>
                  </a:lnTo>
                  <a:lnTo>
                    <a:pt x="1642" y="1460"/>
                  </a:lnTo>
                  <a:lnTo>
                    <a:pt x="1642" y="1463"/>
                  </a:lnTo>
                  <a:lnTo>
                    <a:pt x="1641" y="1464"/>
                  </a:lnTo>
                  <a:lnTo>
                    <a:pt x="1640" y="1466"/>
                  </a:lnTo>
                  <a:lnTo>
                    <a:pt x="1638" y="1467"/>
                  </a:lnTo>
                  <a:lnTo>
                    <a:pt x="1636" y="1469"/>
                  </a:lnTo>
                  <a:lnTo>
                    <a:pt x="1634" y="1472"/>
                  </a:lnTo>
                  <a:lnTo>
                    <a:pt x="1632" y="1474"/>
                  </a:lnTo>
                  <a:lnTo>
                    <a:pt x="1629" y="1475"/>
                  </a:lnTo>
                  <a:lnTo>
                    <a:pt x="1628" y="1476"/>
                  </a:lnTo>
                  <a:lnTo>
                    <a:pt x="1624" y="1476"/>
                  </a:lnTo>
                  <a:lnTo>
                    <a:pt x="1621" y="1477"/>
                  </a:lnTo>
                  <a:lnTo>
                    <a:pt x="1616" y="1480"/>
                  </a:lnTo>
                  <a:lnTo>
                    <a:pt x="1614" y="1482"/>
                  </a:lnTo>
                  <a:lnTo>
                    <a:pt x="1612" y="1483"/>
                  </a:lnTo>
                  <a:lnTo>
                    <a:pt x="1610" y="1483"/>
                  </a:lnTo>
                  <a:lnTo>
                    <a:pt x="1610" y="1482"/>
                  </a:lnTo>
                  <a:lnTo>
                    <a:pt x="1609" y="1481"/>
                  </a:lnTo>
                  <a:lnTo>
                    <a:pt x="1608" y="1479"/>
                  </a:lnTo>
                  <a:lnTo>
                    <a:pt x="1606" y="1475"/>
                  </a:lnTo>
                  <a:lnTo>
                    <a:pt x="1605" y="1475"/>
                  </a:lnTo>
                  <a:lnTo>
                    <a:pt x="1599" y="1472"/>
                  </a:lnTo>
                  <a:lnTo>
                    <a:pt x="1598" y="1471"/>
                  </a:lnTo>
                  <a:lnTo>
                    <a:pt x="1597" y="1468"/>
                  </a:lnTo>
                  <a:lnTo>
                    <a:pt x="1594" y="1467"/>
                  </a:lnTo>
                  <a:lnTo>
                    <a:pt x="1592" y="1465"/>
                  </a:lnTo>
                  <a:lnTo>
                    <a:pt x="1591" y="1464"/>
                  </a:lnTo>
                  <a:lnTo>
                    <a:pt x="1586" y="1461"/>
                  </a:lnTo>
                  <a:lnTo>
                    <a:pt x="1584" y="1460"/>
                  </a:lnTo>
                  <a:lnTo>
                    <a:pt x="1583" y="1459"/>
                  </a:lnTo>
                  <a:lnTo>
                    <a:pt x="1581" y="1459"/>
                  </a:lnTo>
                  <a:lnTo>
                    <a:pt x="1580" y="1459"/>
                  </a:lnTo>
                  <a:lnTo>
                    <a:pt x="1577" y="1460"/>
                  </a:lnTo>
                  <a:lnTo>
                    <a:pt x="1578" y="1465"/>
                  </a:lnTo>
                  <a:lnTo>
                    <a:pt x="1580" y="1467"/>
                  </a:lnTo>
                  <a:lnTo>
                    <a:pt x="1583" y="1469"/>
                  </a:lnTo>
                  <a:lnTo>
                    <a:pt x="1586" y="1476"/>
                  </a:lnTo>
                  <a:lnTo>
                    <a:pt x="1589" y="1477"/>
                  </a:lnTo>
                  <a:lnTo>
                    <a:pt x="1591" y="1480"/>
                  </a:lnTo>
                  <a:lnTo>
                    <a:pt x="1590" y="1483"/>
                  </a:lnTo>
                  <a:lnTo>
                    <a:pt x="1589" y="1483"/>
                  </a:lnTo>
                  <a:lnTo>
                    <a:pt x="1585" y="1485"/>
                  </a:lnTo>
                  <a:lnTo>
                    <a:pt x="1583" y="1488"/>
                  </a:lnTo>
                  <a:lnTo>
                    <a:pt x="1580" y="1491"/>
                  </a:lnTo>
                  <a:lnTo>
                    <a:pt x="1578" y="1493"/>
                  </a:lnTo>
                  <a:lnTo>
                    <a:pt x="1578" y="1498"/>
                  </a:lnTo>
                  <a:lnTo>
                    <a:pt x="1578" y="1500"/>
                  </a:lnTo>
                  <a:lnTo>
                    <a:pt x="1582" y="1504"/>
                  </a:lnTo>
                  <a:lnTo>
                    <a:pt x="1584" y="1506"/>
                  </a:lnTo>
                  <a:lnTo>
                    <a:pt x="1585" y="1509"/>
                  </a:lnTo>
                  <a:lnTo>
                    <a:pt x="1589" y="1512"/>
                  </a:lnTo>
                  <a:lnTo>
                    <a:pt x="1590" y="1512"/>
                  </a:lnTo>
                  <a:lnTo>
                    <a:pt x="1592" y="1508"/>
                  </a:lnTo>
                  <a:lnTo>
                    <a:pt x="1594" y="1506"/>
                  </a:lnTo>
                  <a:lnTo>
                    <a:pt x="1598" y="1505"/>
                  </a:lnTo>
                  <a:lnTo>
                    <a:pt x="1602" y="1507"/>
                  </a:lnTo>
                  <a:lnTo>
                    <a:pt x="1604" y="1507"/>
                  </a:lnTo>
                  <a:lnTo>
                    <a:pt x="1618" y="1512"/>
                  </a:lnTo>
                  <a:lnTo>
                    <a:pt x="1633" y="1512"/>
                  </a:lnTo>
                  <a:lnTo>
                    <a:pt x="1638" y="1514"/>
                  </a:lnTo>
                  <a:lnTo>
                    <a:pt x="1647" y="1516"/>
                  </a:lnTo>
                  <a:lnTo>
                    <a:pt x="1650" y="1517"/>
                  </a:lnTo>
                  <a:lnTo>
                    <a:pt x="1654" y="1517"/>
                  </a:lnTo>
                  <a:lnTo>
                    <a:pt x="1656" y="1516"/>
                  </a:lnTo>
                  <a:lnTo>
                    <a:pt x="1658" y="1515"/>
                  </a:lnTo>
                  <a:lnTo>
                    <a:pt x="1662" y="1514"/>
                  </a:lnTo>
                  <a:lnTo>
                    <a:pt x="1661" y="1513"/>
                  </a:lnTo>
                  <a:lnTo>
                    <a:pt x="1666" y="1509"/>
                  </a:lnTo>
                  <a:lnTo>
                    <a:pt x="1669" y="1507"/>
                  </a:lnTo>
                  <a:lnTo>
                    <a:pt x="1673" y="1506"/>
                  </a:lnTo>
                  <a:lnTo>
                    <a:pt x="1678" y="1507"/>
                  </a:lnTo>
                  <a:lnTo>
                    <a:pt x="1681" y="1509"/>
                  </a:lnTo>
                  <a:lnTo>
                    <a:pt x="1685" y="1514"/>
                  </a:lnTo>
                  <a:lnTo>
                    <a:pt x="1687" y="1515"/>
                  </a:lnTo>
                  <a:lnTo>
                    <a:pt x="1688" y="1517"/>
                  </a:lnTo>
                  <a:lnTo>
                    <a:pt x="1692" y="1517"/>
                  </a:lnTo>
                  <a:lnTo>
                    <a:pt x="1695" y="1517"/>
                  </a:lnTo>
                  <a:lnTo>
                    <a:pt x="1697" y="1517"/>
                  </a:lnTo>
                  <a:lnTo>
                    <a:pt x="1702" y="1515"/>
                  </a:lnTo>
                  <a:lnTo>
                    <a:pt x="1703" y="1513"/>
                  </a:lnTo>
                  <a:lnTo>
                    <a:pt x="1705" y="1511"/>
                  </a:lnTo>
                  <a:lnTo>
                    <a:pt x="1709" y="1507"/>
                  </a:lnTo>
                  <a:lnTo>
                    <a:pt x="1713" y="1504"/>
                  </a:lnTo>
                  <a:lnTo>
                    <a:pt x="1719" y="1499"/>
                  </a:lnTo>
                  <a:lnTo>
                    <a:pt x="1722" y="1497"/>
                  </a:lnTo>
                  <a:lnTo>
                    <a:pt x="1727" y="1495"/>
                  </a:lnTo>
                  <a:lnTo>
                    <a:pt x="1730" y="1493"/>
                  </a:lnTo>
                  <a:lnTo>
                    <a:pt x="1735" y="1495"/>
                  </a:lnTo>
                  <a:lnTo>
                    <a:pt x="1737" y="1496"/>
                  </a:lnTo>
                  <a:lnTo>
                    <a:pt x="1740" y="1498"/>
                  </a:lnTo>
                  <a:lnTo>
                    <a:pt x="1742" y="1500"/>
                  </a:lnTo>
                  <a:lnTo>
                    <a:pt x="1745" y="1500"/>
                  </a:lnTo>
                  <a:lnTo>
                    <a:pt x="1748" y="1503"/>
                  </a:lnTo>
                  <a:lnTo>
                    <a:pt x="1750" y="1505"/>
                  </a:lnTo>
                  <a:lnTo>
                    <a:pt x="1754" y="1506"/>
                  </a:lnTo>
                  <a:lnTo>
                    <a:pt x="1754" y="1509"/>
                  </a:lnTo>
                  <a:lnTo>
                    <a:pt x="1752" y="1514"/>
                  </a:lnTo>
                  <a:lnTo>
                    <a:pt x="1751" y="1515"/>
                  </a:lnTo>
                  <a:lnTo>
                    <a:pt x="1752" y="1520"/>
                  </a:lnTo>
                  <a:lnTo>
                    <a:pt x="1756" y="1522"/>
                  </a:lnTo>
                  <a:lnTo>
                    <a:pt x="1757" y="1525"/>
                  </a:lnTo>
                  <a:lnTo>
                    <a:pt x="1758" y="1529"/>
                  </a:lnTo>
                  <a:lnTo>
                    <a:pt x="1757" y="1532"/>
                  </a:lnTo>
                  <a:lnTo>
                    <a:pt x="1753" y="1532"/>
                  </a:lnTo>
                  <a:lnTo>
                    <a:pt x="1750" y="1532"/>
                  </a:lnTo>
                  <a:lnTo>
                    <a:pt x="1746" y="1532"/>
                  </a:lnTo>
                  <a:lnTo>
                    <a:pt x="1748" y="1536"/>
                  </a:lnTo>
                  <a:lnTo>
                    <a:pt x="1750" y="1536"/>
                  </a:lnTo>
                  <a:lnTo>
                    <a:pt x="1752" y="1537"/>
                  </a:lnTo>
                  <a:lnTo>
                    <a:pt x="1754" y="1537"/>
                  </a:lnTo>
                  <a:lnTo>
                    <a:pt x="1757" y="1540"/>
                  </a:lnTo>
                  <a:lnTo>
                    <a:pt x="1759" y="1540"/>
                  </a:lnTo>
                  <a:lnTo>
                    <a:pt x="1761" y="1539"/>
                  </a:lnTo>
                  <a:lnTo>
                    <a:pt x="1765" y="1539"/>
                  </a:lnTo>
                  <a:lnTo>
                    <a:pt x="1766" y="1543"/>
                  </a:lnTo>
                  <a:lnTo>
                    <a:pt x="1767" y="1546"/>
                  </a:lnTo>
                  <a:lnTo>
                    <a:pt x="1769" y="1549"/>
                  </a:lnTo>
                  <a:lnTo>
                    <a:pt x="1774" y="1554"/>
                  </a:lnTo>
                  <a:lnTo>
                    <a:pt x="1776" y="1555"/>
                  </a:lnTo>
                  <a:lnTo>
                    <a:pt x="1777" y="1560"/>
                  </a:lnTo>
                  <a:lnTo>
                    <a:pt x="1775" y="1562"/>
                  </a:lnTo>
                  <a:lnTo>
                    <a:pt x="1770" y="1563"/>
                  </a:lnTo>
                  <a:lnTo>
                    <a:pt x="1768" y="1565"/>
                  </a:lnTo>
                  <a:lnTo>
                    <a:pt x="1770" y="1570"/>
                  </a:lnTo>
                  <a:lnTo>
                    <a:pt x="1774" y="1573"/>
                  </a:lnTo>
                  <a:lnTo>
                    <a:pt x="1774" y="1577"/>
                  </a:lnTo>
                  <a:lnTo>
                    <a:pt x="1775" y="1579"/>
                  </a:lnTo>
                  <a:lnTo>
                    <a:pt x="1772" y="1580"/>
                  </a:lnTo>
                  <a:lnTo>
                    <a:pt x="1768" y="1583"/>
                  </a:lnTo>
                  <a:lnTo>
                    <a:pt x="1761" y="1586"/>
                  </a:lnTo>
                  <a:lnTo>
                    <a:pt x="1760" y="1586"/>
                  </a:lnTo>
                  <a:lnTo>
                    <a:pt x="1759" y="1587"/>
                  </a:lnTo>
                  <a:lnTo>
                    <a:pt x="1758" y="1587"/>
                  </a:lnTo>
                  <a:lnTo>
                    <a:pt x="1756" y="1589"/>
                  </a:lnTo>
                  <a:lnTo>
                    <a:pt x="1753" y="1589"/>
                  </a:lnTo>
                  <a:lnTo>
                    <a:pt x="1752" y="1587"/>
                  </a:lnTo>
                  <a:lnTo>
                    <a:pt x="1751" y="1586"/>
                  </a:lnTo>
                  <a:lnTo>
                    <a:pt x="1750" y="1584"/>
                  </a:lnTo>
                  <a:lnTo>
                    <a:pt x="1748" y="1584"/>
                  </a:lnTo>
                  <a:lnTo>
                    <a:pt x="1746" y="1584"/>
                  </a:lnTo>
                  <a:lnTo>
                    <a:pt x="1745" y="1581"/>
                  </a:lnTo>
                  <a:lnTo>
                    <a:pt x="1745" y="1580"/>
                  </a:lnTo>
                  <a:lnTo>
                    <a:pt x="1746" y="1579"/>
                  </a:lnTo>
                  <a:lnTo>
                    <a:pt x="1748" y="1577"/>
                  </a:lnTo>
                  <a:lnTo>
                    <a:pt x="1748" y="1576"/>
                  </a:lnTo>
                  <a:lnTo>
                    <a:pt x="1746" y="1573"/>
                  </a:lnTo>
                  <a:lnTo>
                    <a:pt x="1745" y="1573"/>
                  </a:lnTo>
                  <a:lnTo>
                    <a:pt x="1743" y="1573"/>
                  </a:lnTo>
                  <a:lnTo>
                    <a:pt x="1742" y="1576"/>
                  </a:lnTo>
                  <a:lnTo>
                    <a:pt x="1741" y="1577"/>
                  </a:lnTo>
                  <a:lnTo>
                    <a:pt x="1738" y="1577"/>
                  </a:lnTo>
                  <a:lnTo>
                    <a:pt x="1736" y="1577"/>
                  </a:lnTo>
                  <a:lnTo>
                    <a:pt x="1735" y="1578"/>
                  </a:lnTo>
                  <a:lnTo>
                    <a:pt x="1733" y="1581"/>
                  </a:lnTo>
                  <a:lnTo>
                    <a:pt x="1734" y="1585"/>
                  </a:lnTo>
                  <a:lnTo>
                    <a:pt x="1734" y="1587"/>
                  </a:lnTo>
                  <a:lnTo>
                    <a:pt x="1733" y="1591"/>
                  </a:lnTo>
                  <a:lnTo>
                    <a:pt x="1730" y="1593"/>
                  </a:lnTo>
                  <a:lnTo>
                    <a:pt x="1728" y="1594"/>
                  </a:lnTo>
                  <a:lnTo>
                    <a:pt x="1727" y="1597"/>
                  </a:lnTo>
                  <a:lnTo>
                    <a:pt x="1727" y="1599"/>
                  </a:lnTo>
                  <a:lnTo>
                    <a:pt x="1728" y="1601"/>
                  </a:lnTo>
                  <a:lnTo>
                    <a:pt x="1729" y="1604"/>
                  </a:lnTo>
                  <a:lnTo>
                    <a:pt x="1733" y="1609"/>
                  </a:lnTo>
                  <a:lnTo>
                    <a:pt x="1732" y="1613"/>
                  </a:lnTo>
                  <a:lnTo>
                    <a:pt x="1730" y="1616"/>
                  </a:lnTo>
                  <a:lnTo>
                    <a:pt x="1730" y="1618"/>
                  </a:lnTo>
                  <a:lnTo>
                    <a:pt x="1733" y="1619"/>
                  </a:lnTo>
                  <a:lnTo>
                    <a:pt x="1735" y="1620"/>
                  </a:lnTo>
                  <a:lnTo>
                    <a:pt x="1742" y="1620"/>
                  </a:lnTo>
                  <a:lnTo>
                    <a:pt x="1745" y="1621"/>
                  </a:lnTo>
                  <a:lnTo>
                    <a:pt x="1748" y="1623"/>
                  </a:lnTo>
                  <a:lnTo>
                    <a:pt x="1750" y="1626"/>
                  </a:lnTo>
                  <a:lnTo>
                    <a:pt x="1750" y="1629"/>
                  </a:lnTo>
                  <a:lnTo>
                    <a:pt x="1750" y="1632"/>
                  </a:lnTo>
                  <a:lnTo>
                    <a:pt x="1749" y="1633"/>
                  </a:lnTo>
                  <a:lnTo>
                    <a:pt x="1751" y="1636"/>
                  </a:lnTo>
                  <a:lnTo>
                    <a:pt x="1751" y="1641"/>
                  </a:lnTo>
                  <a:lnTo>
                    <a:pt x="1750" y="1643"/>
                  </a:lnTo>
                  <a:lnTo>
                    <a:pt x="1746" y="1647"/>
                  </a:lnTo>
                  <a:lnTo>
                    <a:pt x="1743" y="1649"/>
                  </a:lnTo>
                  <a:lnTo>
                    <a:pt x="1740" y="1653"/>
                  </a:lnTo>
                  <a:lnTo>
                    <a:pt x="1737" y="1660"/>
                  </a:lnTo>
                  <a:lnTo>
                    <a:pt x="1736" y="1665"/>
                  </a:lnTo>
                  <a:lnTo>
                    <a:pt x="1735" y="1669"/>
                  </a:lnTo>
                  <a:lnTo>
                    <a:pt x="1736" y="1672"/>
                  </a:lnTo>
                  <a:lnTo>
                    <a:pt x="1737" y="1675"/>
                  </a:lnTo>
                  <a:lnTo>
                    <a:pt x="1741" y="1676"/>
                  </a:lnTo>
                  <a:lnTo>
                    <a:pt x="1745" y="1677"/>
                  </a:lnTo>
                  <a:lnTo>
                    <a:pt x="1749" y="1677"/>
                  </a:lnTo>
                  <a:lnTo>
                    <a:pt x="1751" y="1681"/>
                  </a:lnTo>
                  <a:lnTo>
                    <a:pt x="1752" y="1682"/>
                  </a:lnTo>
                  <a:lnTo>
                    <a:pt x="1754" y="1684"/>
                  </a:lnTo>
                  <a:lnTo>
                    <a:pt x="1754" y="1688"/>
                  </a:lnTo>
                  <a:lnTo>
                    <a:pt x="1752" y="1690"/>
                  </a:lnTo>
                  <a:lnTo>
                    <a:pt x="1750" y="1691"/>
                  </a:lnTo>
                  <a:lnTo>
                    <a:pt x="1745" y="1692"/>
                  </a:lnTo>
                  <a:lnTo>
                    <a:pt x="1742" y="1696"/>
                  </a:lnTo>
                  <a:lnTo>
                    <a:pt x="1741" y="1699"/>
                  </a:lnTo>
                  <a:lnTo>
                    <a:pt x="1737" y="1704"/>
                  </a:lnTo>
                  <a:lnTo>
                    <a:pt x="1734" y="1711"/>
                  </a:lnTo>
                  <a:lnTo>
                    <a:pt x="1729" y="1713"/>
                  </a:lnTo>
                  <a:lnTo>
                    <a:pt x="1726" y="1715"/>
                  </a:lnTo>
                  <a:lnTo>
                    <a:pt x="1725" y="1716"/>
                  </a:lnTo>
                  <a:lnTo>
                    <a:pt x="1722" y="1716"/>
                  </a:lnTo>
                  <a:lnTo>
                    <a:pt x="1720" y="1715"/>
                  </a:lnTo>
                  <a:lnTo>
                    <a:pt x="1719" y="1713"/>
                  </a:lnTo>
                  <a:lnTo>
                    <a:pt x="1718" y="1709"/>
                  </a:lnTo>
                  <a:lnTo>
                    <a:pt x="1714" y="1705"/>
                  </a:lnTo>
                  <a:lnTo>
                    <a:pt x="1712" y="1704"/>
                  </a:lnTo>
                  <a:lnTo>
                    <a:pt x="1709" y="1703"/>
                  </a:lnTo>
                  <a:lnTo>
                    <a:pt x="1705" y="1703"/>
                  </a:lnTo>
                  <a:lnTo>
                    <a:pt x="1704" y="1703"/>
                  </a:lnTo>
                  <a:lnTo>
                    <a:pt x="1698" y="1705"/>
                  </a:lnTo>
                  <a:lnTo>
                    <a:pt x="1693" y="1709"/>
                  </a:lnTo>
                  <a:lnTo>
                    <a:pt x="1690" y="1713"/>
                  </a:lnTo>
                  <a:lnTo>
                    <a:pt x="1688" y="1714"/>
                  </a:lnTo>
                  <a:lnTo>
                    <a:pt x="1685" y="1713"/>
                  </a:lnTo>
                  <a:lnTo>
                    <a:pt x="1678" y="1713"/>
                  </a:lnTo>
                  <a:lnTo>
                    <a:pt x="1676" y="1713"/>
                  </a:lnTo>
                  <a:lnTo>
                    <a:pt x="1672" y="1708"/>
                  </a:lnTo>
                  <a:lnTo>
                    <a:pt x="1670" y="1704"/>
                  </a:lnTo>
                  <a:lnTo>
                    <a:pt x="1669" y="1701"/>
                  </a:lnTo>
                  <a:lnTo>
                    <a:pt x="1668" y="1699"/>
                  </a:lnTo>
                  <a:lnTo>
                    <a:pt x="1665" y="1698"/>
                  </a:lnTo>
                  <a:lnTo>
                    <a:pt x="1662" y="1698"/>
                  </a:lnTo>
                  <a:lnTo>
                    <a:pt x="1661" y="1700"/>
                  </a:lnTo>
                  <a:lnTo>
                    <a:pt x="1658" y="1703"/>
                  </a:lnTo>
                  <a:lnTo>
                    <a:pt x="1656" y="1706"/>
                  </a:lnTo>
                  <a:lnTo>
                    <a:pt x="1655" y="1708"/>
                  </a:lnTo>
                  <a:lnTo>
                    <a:pt x="1652" y="1712"/>
                  </a:lnTo>
                  <a:lnTo>
                    <a:pt x="1652" y="1714"/>
                  </a:lnTo>
                  <a:lnTo>
                    <a:pt x="1650" y="1716"/>
                  </a:lnTo>
                  <a:lnTo>
                    <a:pt x="1652" y="1720"/>
                  </a:lnTo>
                  <a:lnTo>
                    <a:pt x="1655" y="1723"/>
                  </a:lnTo>
                  <a:lnTo>
                    <a:pt x="1657" y="1725"/>
                  </a:lnTo>
                  <a:lnTo>
                    <a:pt x="1660" y="1727"/>
                  </a:lnTo>
                  <a:lnTo>
                    <a:pt x="1663" y="1729"/>
                  </a:lnTo>
                  <a:lnTo>
                    <a:pt x="1668" y="1732"/>
                  </a:lnTo>
                  <a:lnTo>
                    <a:pt x="1672" y="1736"/>
                  </a:lnTo>
                  <a:lnTo>
                    <a:pt x="1674" y="1738"/>
                  </a:lnTo>
                  <a:lnTo>
                    <a:pt x="1678" y="1739"/>
                  </a:lnTo>
                  <a:lnTo>
                    <a:pt x="1680" y="1739"/>
                  </a:lnTo>
                  <a:lnTo>
                    <a:pt x="1684" y="1740"/>
                  </a:lnTo>
                  <a:lnTo>
                    <a:pt x="1688" y="1745"/>
                  </a:lnTo>
                  <a:lnTo>
                    <a:pt x="1690" y="1751"/>
                  </a:lnTo>
                  <a:lnTo>
                    <a:pt x="1692" y="1755"/>
                  </a:lnTo>
                  <a:lnTo>
                    <a:pt x="1694" y="1759"/>
                  </a:lnTo>
                  <a:lnTo>
                    <a:pt x="1695" y="1760"/>
                  </a:lnTo>
                  <a:lnTo>
                    <a:pt x="1697" y="1760"/>
                  </a:lnTo>
                  <a:lnTo>
                    <a:pt x="1701" y="1761"/>
                  </a:lnTo>
                  <a:lnTo>
                    <a:pt x="1705" y="1761"/>
                  </a:lnTo>
                  <a:lnTo>
                    <a:pt x="1710" y="1761"/>
                  </a:lnTo>
                  <a:lnTo>
                    <a:pt x="1713" y="1762"/>
                  </a:lnTo>
                  <a:lnTo>
                    <a:pt x="1717" y="1761"/>
                  </a:lnTo>
                  <a:lnTo>
                    <a:pt x="1720" y="1760"/>
                  </a:lnTo>
                  <a:lnTo>
                    <a:pt x="1722" y="1757"/>
                  </a:lnTo>
                  <a:lnTo>
                    <a:pt x="1725" y="1756"/>
                  </a:lnTo>
                  <a:lnTo>
                    <a:pt x="1727" y="1754"/>
                  </a:lnTo>
                  <a:lnTo>
                    <a:pt x="1728" y="1749"/>
                  </a:lnTo>
                  <a:lnTo>
                    <a:pt x="1727" y="1747"/>
                  </a:lnTo>
                  <a:lnTo>
                    <a:pt x="1724" y="1744"/>
                  </a:lnTo>
                  <a:lnTo>
                    <a:pt x="1722" y="1740"/>
                  </a:lnTo>
                  <a:lnTo>
                    <a:pt x="1721" y="1739"/>
                  </a:lnTo>
                  <a:lnTo>
                    <a:pt x="1722" y="1736"/>
                  </a:lnTo>
                  <a:lnTo>
                    <a:pt x="1724" y="1735"/>
                  </a:lnTo>
                  <a:lnTo>
                    <a:pt x="1727" y="1733"/>
                  </a:lnTo>
                  <a:lnTo>
                    <a:pt x="1729" y="1733"/>
                  </a:lnTo>
                  <a:lnTo>
                    <a:pt x="1733" y="1735"/>
                  </a:lnTo>
                  <a:lnTo>
                    <a:pt x="1734" y="1736"/>
                  </a:lnTo>
                  <a:lnTo>
                    <a:pt x="1735" y="1738"/>
                  </a:lnTo>
                  <a:lnTo>
                    <a:pt x="1738" y="1741"/>
                  </a:lnTo>
                  <a:lnTo>
                    <a:pt x="1740" y="1743"/>
                  </a:lnTo>
                  <a:lnTo>
                    <a:pt x="1742" y="1745"/>
                  </a:lnTo>
                  <a:lnTo>
                    <a:pt x="1744" y="1746"/>
                  </a:lnTo>
                  <a:lnTo>
                    <a:pt x="1748" y="1745"/>
                  </a:lnTo>
                  <a:lnTo>
                    <a:pt x="1749" y="1743"/>
                  </a:lnTo>
                  <a:lnTo>
                    <a:pt x="1751" y="1741"/>
                  </a:lnTo>
                  <a:lnTo>
                    <a:pt x="1760" y="1738"/>
                  </a:lnTo>
                  <a:lnTo>
                    <a:pt x="1764" y="1737"/>
                  </a:lnTo>
                  <a:lnTo>
                    <a:pt x="1767" y="1737"/>
                  </a:lnTo>
                  <a:lnTo>
                    <a:pt x="1772" y="1737"/>
                  </a:lnTo>
                  <a:lnTo>
                    <a:pt x="1775" y="1736"/>
                  </a:lnTo>
                  <a:lnTo>
                    <a:pt x="1780" y="1735"/>
                  </a:lnTo>
                  <a:lnTo>
                    <a:pt x="1789" y="1730"/>
                  </a:lnTo>
                  <a:lnTo>
                    <a:pt x="1800" y="1724"/>
                  </a:lnTo>
                  <a:lnTo>
                    <a:pt x="1801" y="1722"/>
                  </a:lnTo>
                  <a:lnTo>
                    <a:pt x="1801" y="1721"/>
                  </a:lnTo>
                  <a:lnTo>
                    <a:pt x="1801" y="1717"/>
                  </a:lnTo>
                  <a:lnTo>
                    <a:pt x="1801" y="1715"/>
                  </a:lnTo>
                  <a:lnTo>
                    <a:pt x="1800" y="1712"/>
                  </a:lnTo>
                  <a:lnTo>
                    <a:pt x="1796" y="1709"/>
                  </a:lnTo>
                  <a:lnTo>
                    <a:pt x="1793" y="1707"/>
                  </a:lnTo>
                  <a:lnTo>
                    <a:pt x="1791" y="1705"/>
                  </a:lnTo>
                  <a:lnTo>
                    <a:pt x="1791" y="1701"/>
                  </a:lnTo>
                  <a:lnTo>
                    <a:pt x="1791" y="1699"/>
                  </a:lnTo>
                  <a:lnTo>
                    <a:pt x="1794" y="1698"/>
                  </a:lnTo>
                  <a:lnTo>
                    <a:pt x="1798" y="1698"/>
                  </a:lnTo>
                  <a:lnTo>
                    <a:pt x="1799" y="1698"/>
                  </a:lnTo>
                  <a:lnTo>
                    <a:pt x="1802" y="1697"/>
                  </a:lnTo>
                  <a:lnTo>
                    <a:pt x="1804" y="1695"/>
                  </a:lnTo>
                  <a:lnTo>
                    <a:pt x="1807" y="1692"/>
                  </a:lnTo>
                  <a:lnTo>
                    <a:pt x="1810" y="1688"/>
                  </a:lnTo>
                  <a:lnTo>
                    <a:pt x="1813" y="1685"/>
                  </a:lnTo>
                  <a:lnTo>
                    <a:pt x="1818" y="1683"/>
                  </a:lnTo>
                  <a:lnTo>
                    <a:pt x="1823" y="1682"/>
                  </a:lnTo>
                  <a:lnTo>
                    <a:pt x="1826" y="1681"/>
                  </a:lnTo>
                  <a:lnTo>
                    <a:pt x="1831" y="1680"/>
                  </a:lnTo>
                  <a:lnTo>
                    <a:pt x="1833" y="1679"/>
                  </a:lnTo>
                  <a:lnTo>
                    <a:pt x="1836" y="1675"/>
                  </a:lnTo>
                  <a:lnTo>
                    <a:pt x="1836" y="1672"/>
                  </a:lnTo>
                  <a:lnTo>
                    <a:pt x="1839" y="1668"/>
                  </a:lnTo>
                  <a:lnTo>
                    <a:pt x="1840" y="1665"/>
                  </a:lnTo>
                  <a:lnTo>
                    <a:pt x="1839" y="1661"/>
                  </a:lnTo>
                  <a:lnTo>
                    <a:pt x="1836" y="1658"/>
                  </a:lnTo>
                  <a:lnTo>
                    <a:pt x="1834" y="1657"/>
                  </a:lnTo>
                  <a:lnTo>
                    <a:pt x="1832" y="1656"/>
                  </a:lnTo>
                  <a:lnTo>
                    <a:pt x="1832" y="1652"/>
                  </a:lnTo>
                  <a:lnTo>
                    <a:pt x="1833" y="1650"/>
                  </a:lnTo>
                  <a:lnTo>
                    <a:pt x="1836" y="1649"/>
                  </a:lnTo>
                  <a:lnTo>
                    <a:pt x="1838" y="1645"/>
                  </a:lnTo>
                  <a:lnTo>
                    <a:pt x="1839" y="1642"/>
                  </a:lnTo>
                  <a:lnTo>
                    <a:pt x="1839" y="1640"/>
                  </a:lnTo>
                  <a:lnTo>
                    <a:pt x="1839" y="1636"/>
                  </a:lnTo>
                  <a:lnTo>
                    <a:pt x="1839" y="1633"/>
                  </a:lnTo>
                  <a:lnTo>
                    <a:pt x="1839" y="1631"/>
                  </a:lnTo>
                  <a:lnTo>
                    <a:pt x="1840" y="1627"/>
                  </a:lnTo>
                  <a:lnTo>
                    <a:pt x="1842" y="1625"/>
                  </a:lnTo>
                  <a:lnTo>
                    <a:pt x="1846" y="1621"/>
                  </a:lnTo>
                  <a:lnTo>
                    <a:pt x="1848" y="1618"/>
                  </a:lnTo>
                  <a:lnTo>
                    <a:pt x="1849" y="1615"/>
                  </a:lnTo>
                  <a:lnTo>
                    <a:pt x="1852" y="1612"/>
                  </a:lnTo>
                  <a:lnTo>
                    <a:pt x="1853" y="1610"/>
                  </a:lnTo>
                  <a:lnTo>
                    <a:pt x="1856" y="1610"/>
                  </a:lnTo>
                  <a:lnTo>
                    <a:pt x="1858" y="1611"/>
                  </a:lnTo>
                  <a:lnTo>
                    <a:pt x="1860" y="1613"/>
                  </a:lnTo>
                  <a:lnTo>
                    <a:pt x="1860" y="1617"/>
                  </a:lnTo>
                  <a:lnTo>
                    <a:pt x="1858" y="1621"/>
                  </a:lnTo>
                  <a:lnTo>
                    <a:pt x="1854" y="1629"/>
                  </a:lnTo>
                  <a:lnTo>
                    <a:pt x="1854" y="1634"/>
                  </a:lnTo>
                  <a:lnTo>
                    <a:pt x="1854" y="1637"/>
                  </a:lnTo>
                  <a:lnTo>
                    <a:pt x="1854" y="1639"/>
                  </a:lnTo>
                  <a:lnTo>
                    <a:pt x="1855" y="1642"/>
                  </a:lnTo>
                  <a:lnTo>
                    <a:pt x="1860" y="1642"/>
                  </a:lnTo>
                  <a:lnTo>
                    <a:pt x="1864" y="1642"/>
                  </a:lnTo>
                  <a:lnTo>
                    <a:pt x="1869" y="1642"/>
                  </a:lnTo>
                  <a:lnTo>
                    <a:pt x="1872" y="1640"/>
                  </a:lnTo>
                  <a:lnTo>
                    <a:pt x="1877" y="1640"/>
                  </a:lnTo>
                  <a:lnTo>
                    <a:pt x="1881" y="1637"/>
                  </a:lnTo>
                  <a:lnTo>
                    <a:pt x="1885" y="1635"/>
                  </a:lnTo>
                  <a:lnTo>
                    <a:pt x="1892" y="1635"/>
                  </a:lnTo>
                  <a:lnTo>
                    <a:pt x="1895" y="1635"/>
                  </a:lnTo>
                  <a:lnTo>
                    <a:pt x="1900" y="1636"/>
                  </a:lnTo>
                  <a:lnTo>
                    <a:pt x="1903" y="1637"/>
                  </a:lnTo>
                  <a:lnTo>
                    <a:pt x="1906" y="1639"/>
                  </a:lnTo>
                  <a:lnTo>
                    <a:pt x="1910" y="1641"/>
                  </a:lnTo>
                  <a:lnTo>
                    <a:pt x="1912" y="1642"/>
                  </a:lnTo>
                  <a:lnTo>
                    <a:pt x="1917" y="1642"/>
                  </a:lnTo>
                  <a:lnTo>
                    <a:pt x="1920" y="1644"/>
                  </a:lnTo>
                  <a:lnTo>
                    <a:pt x="1922" y="1644"/>
                  </a:lnTo>
                  <a:lnTo>
                    <a:pt x="1927" y="1645"/>
                  </a:lnTo>
                  <a:lnTo>
                    <a:pt x="1928" y="1643"/>
                  </a:lnTo>
                  <a:lnTo>
                    <a:pt x="1928" y="1641"/>
                  </a:lnTo>
                  <a:lnTo>
                    <a:pt x="1930" y="1640"/>
                  </a:lnTo>
                  <a:lnTo>
                    <a:pt x="1933" y="1641"/>
                  </a:lnTo>
                  <a:lnTo>
                    <a:pt x="1934" y="1643"/>
                  </a:lnTo>
                  <a:lnTo>
                    <a:pt x="1938" y="1645"/>
                  </a:lnTo>
                  <a:lnTo>
                    <a:pt x="1941" y="1647"/>
                  </a:lnTo>
                  <a:lnTo>
                    <a:pt x="1943" y="1649"/>
                  </a:lnTo>
                  <a:lnTo>
                    <a:pt x="1945" y="1650"/>
                  </a:lnTo>
                  <a:lnTo>
                    <a:pt x="1945" y="1652"/>
                  </a:lnTo>
                  <a:lnTo>
                    <a:pt x="1945" y="1655"/>
                  </a:lnTo>
                  <a:lnTo>
                    <a:pt x="1945" y="1657"/>
                  </a:lnTo>
                  <a:lnTo>
                    <a:pt x="1945" y="1659"/>
                  </a:lnTo>
                  <a:lnTo>
                    <a:pt x="1949" y="1660"/>
                  </a:lnTo>
                  <a:lnTo>
                    <a:pt x="1951" y="1660"/>
                  </a:lnTo>
                  <a:lnTo>
                    <a:pt x="1956" y="1657"/>
                  </a:lnTo>
                  <a:lnTo>
                    <a:pt x="1958" y="1653"/>
                  </a:lnTo>
                  <a:lnTo>
                    <a:pt x="1958" y="1650"/>
                  </a:lnTo>
                  <a:lnTo>
                    <a:pt x="1961" y="1645"/>
                  </a:lnTo>
                  <a:lnTo>
                    <a:pt x="1964" y="1643"/>
                  </a:lnTo>
                  <a:lnTo>
                    <a:pt x="1965" y="1640"/>
                  </a:lnTo>
                  <a:lnTo>
                    <a:pt x="1965" y="1636"/>
                  </a:lnTo>
                  <a:lnTo>
                    <a:pt x="1966" y="1634"/>
                  </a:lnTo>
                  <a:lnTo>
                    <a:pt x="1970" y="1633"/>
                  </a:lnTo>
                  <a:lnTo>
                    <a:pt x="1974" y="1634"/>
                  </a:lnTo>
                  <a:lnTo>
                    <a:pt x="1976" y="1632"/>
                  </a:lnTo>
                  <a:lnTo>
                    <a:pt x="1981" y="1632"/>
                  </a:lnTo>
                  <a:lnTo>
                    <a:pt x="1983" y="1632"/>
                  </a:lnTo>
                  <a:lnTo>
                    <a:pt x="1990" y="1629"/>
                  </a:lnTo>
                  <a:lnTo>
                    <a:pt x="1992" y="1625"/>
                  </a:lnTo>
                  <a:lnTo>
                    <a:pt x="1993" y="1626"/>
                  </a:lnTo>
                  <a:lnTo>
                    <a:pt x="1994" y="1627"/>
                  </a:lnTo>
                  <a:lnTo>
                    <a:pt x="1996" y="1629"/>
                  </a:lnTo>
                  <a:lnTo>
                    <a:pt x="1996" y="1632"/>
                  </a:lnTo>
                  <a:lnTo>
                    <a:pt x="1996" y="1635"/>
                  </a:lnTo>
                  <a:lnTo>
                    <a:pt x="1992" y="1639"/>
                  </a:lnTo>
                  <a:lnTo>
                    <a:pt x="1989" y="1640"/>
                  </a:lnTo>
                  <a:lnTo>
                    <a:pt x="1986" y="1643"/>
                  </a:lnTo>
                  <a:lnTo>
                    <a:pt x="1985" y="1645"/>
                  </a:lnTo>
                  <a:lnTo>
                    <a:pt x="1986" y="1648"/>
                  </a:lnTo>
                  <a:lnTo>
                    <a:pt x="1989" y="1649"/>
                  </a:lnTo>
                  <a:lnTo>
                    <a:pt x="1990" y="1649"/>
                  </a:lnTo>
                  <a:lnTo>
                    <a:pt x="1992" y="1651"/>
                  </a:lnTo>
                  <a:lnTo>
                    <a:pt x="1994" y="1652"/>
                  </a:lnTo>
                  <a:lnTo>
                    <a:pt x="1999" y="1655"/>
                  </a:lnTo>
                  <a:lnTo>
                    <a:pt x="2002" y="1656"/>
                  </a:lnTo>
                  <a:lnTo>
                    <a:pt x="2007" y="1657"/>
                  </a:lnTo>
                  <a:lnTo>
                    <a:pt x="2012" y="1658"/>
                  </a:lnTo>
                  <a:lnTo>
                    <a:pt x="2015" y="1661"/>
                  </a:lnTo>
                  <a:lnTo>
                    <a:pt x="2017" y="1664"/>
                  </a:lnTo>
                  <a:lnTo>
                    <a:pt x="2020" y="1666"/>
                  </a:lnTo>
                  <a:lnTo>
                    <a:pt x="2022" y="1667"/>
                  </a:lnTo>
                  <a:lnTo>
                    <a:pt x="2026" y="1667"/>
                  </a:lnTo>
                  <a:lnTo>
                    <a:pt x="2030" y="1668"/>
                  </a:lnTo>
                  <a:lnTo>
                    <a:pt x="2033" y="1667"/>
                  </a:lnTo>
                  <a:lnTo>
                    <a:pt x="2036" y="1666"/>
                  </a:lnTo>
                  <a:lnTo>
                    <a:pt x="2039" y="1666"/>
                  </a:lnTo>
                  <a:lnTo>
                    <a:pt x="2041" y="1666"/>
                  </a:lnTo>
                  <a:lnTo>
                    <a:pt x="2044" y="1671"/>
                  </a:lnTo>
                  <a:lnTo>
                    <a:pt x="2045" y="1673"/>
                  </a:lnTo>
                  <a:lnTo>
                    <a:pt x="2047" y="1674"/>
                  </a:lnTo>
                  <a:lnTo>
                    <a:pt x="2049" y="1673"/>
                  </a:lnTo>
                  <a:lnTo>
                    <a:pt x="2050" y="1672"/>
                  </a:lnTo>
                  <a:lnTo>
                    <a:pt x="2053" y="1669"/>
                  </a:lnTo>
                  <a:lnTo>
                    <a:pt x="2053" y="1668"/>
                  </a:lnTo>
                  <a:lnTo>
                    <a:pt x="2054" y="1665"/>
                  </a:lnTo>
                  <a:lnTo>
                    <a:pt x="2053" y="1660"/>
                  </a:lnTo>
                  <a:lnTo>
                    <a:pt x="2050" y="1658"/>
                  </a:lnTo>
                  <a:lnTo>
                    <a:pt x="2050" y="1657"/>
                  </a:lnTo>
                  <a:lnTo>
                    <a:pt x="2053" y="1657"/>
                  </a:lnTo>
                  <a:lnTo>
                    <a:pt x="2055" y="1658"/>
                  </a:lnTo>
                  <a:lnTo>
                    <a:pt x="2057" y="1659"/>
                  </a:lnTo>
                  <a:lnTo>
                    <a:pt x="2060" y="1658"/>
                  </a:lnTo>
                  <a:lnTo>
                    <a:pt x="2061" y="1656"/>
                  </a:lnTo>
                  <a:lnTo>
                    <a:pt x="2063" y="1656"/>
                  </a:lnTo>
                  <a:lnTo>
                    <a:pt x="2063" y="1653"/>
                  </a:lnTo>
                  <a:lnTo>
                    <a:pt x="2060" y="1651"/>
                  </a:lnTo>
                  <a:lnTo>
                    <a:pt x="2057" y="1649"/>
                  </a:lnTo>
                  <a:lnTo>
                    <a:pt x="2054" y="1647"/>
                  </a:lnTo>
                  <a:lnTo>
                    <a:pt x="2052" y="1644"/>
                  </a:lnTo>
                  <a:lnTo>
                    <a:pt x="2048" y="1642"/>
                  </a:lnTo>
                  <a:lnTo>
                    <a:pt x="2046" y="1641"/>
                  </a:lnTo>
                  <a:lnTo>
                    <a:pt x="2044" y="1637"/>
                  </a:lnTo>
                  <a:lnTo>
                    <a:pt x="2041" y="1634"/>
                  </a:lnTo>
                  <a:lnTo>
                    <a:pt x="2040" y="1632"/>
                  </a:lnTo>
                  <a:lnTo>
                    <a:pt x="2038" y="1632"/>
                  </a:lnTo>
                  <a:lnTo>
                    <a:pt x="2036" y="1631"/>
                  </a:lnTo>
                  <a:lnTo>
                    <a:pt x="2034" y="1627"/>
                  </a:lnTo>
                  <a:lnTo>
                    <a:pt x="2032" y="1623"/>
                  </a:lnTo>
                  <a:lnTo>
                    <a:pt x="2032" y="1618"/>
                  </a:lnTo>
                  <a:lnTo>
                    <a:pt x="2033" y="1611"/>
                  </a:lnTo>
                  <a:lnTo>
                    <a:pt x="2036" y="1601"/>
                  </a:lnTo>
                  <a:lnTo>
                    <a:pt x="2037" y="1595"/>
                  </a:lnTo>
                  <a:lnTo>
                    <a:pt x="2038" y="1592"/>
                  </a:lnTo>
                  <a:lnTo>
                    <a:pt x="2038" y="1587"/>
                  </a:lnTo>
                  <a:lnTo>
                    <a:pt x="2038" y="1585"/>
                  </a:lnTo>
                  <a:lnTo>
                    <a:pt x="2037" y="1583"/>
                  </a:lnTo>
                  <a:lnTo>
                    <a:pt x="2037" y="1581"/>
                  </a:lnTo>
                  <a:lnTo>
                    <a:pt x="2036" y="1579"/>
                  </a:lnTo>
                  <a:lnTo>
                    <a:pt x="2032" y="1578"/>
                  </a:lnTo>
                  <a:lnTo>
                    <a:pt x="2029" y="1576"/>
                  </a:lnTo>
                  <a:lnTo>
                    <a:pt x="2026" y="1575"/>
                  </a:lnTo>
                  <a:lnTo>
                    <a:pt x="2025" y="1573"/>
                  </a:lnTo>
                  <a:lnTo>
                    <a:pt x="2024" y="1571"/>
                  </a:lnTo>
                  <a:lnTo>
                    <a:pt x="2023" y="1570"/>
                  </a:lnTo>
                  <a:lnTo>
                    <a:pt x="2022" y="1568"/>
                  </a:lnTo>
                  <a:lnTo>
                    <a:pt x="2022" y="1564"/>
                  </a:lnTo>
                  <a:lnTo>
                    <a:pt x="2023" y="1562"/>
                  </a:lnTo>
                  <a:lnTo>
                    <a:pt x="2029" y="1559"/>
                  </a:lnTo>
                  <a:lnTo>
                    <a:pt x="2036" y="1561"/>
                  </a:lnTo>
                  <a:lnTo>
                    <a:pt x="2039" y="1563"/>
                  </a:lnTo>
                  <a:lnTo>
                    <a:pt x="2044" y="1563"/>
                  </a:lnTo>
                  <a:lnTo>
                    <a:pt x="2046" y="1561"/>
                  </a:lnTo>
                  <a:lnTo>
                    <a:pt x="2047" y="1560"/>
                  </a:lnTo>
                  <a:lnTo>
                    <a:pt x="2052" y="1560"/>
                  </a:lnTo>
                  <a:lnTo>
                    <a:pt x="2053" y="1562"/>
                  </a:lnTo>
                  <a:lnTo>
                    <a:pt x="2053" y="1564"/>
                  </a:lnTo>
                  <a:lnTo>
                    <a:pt x="2054" y="1567"/>
                  </a:lnTo>
                  <a:lnTo>
                    <a:pt x="2055" y="1569"/>
                  </a:lnTo>
                  <a:lnTo>
                    <a:pt x="2056" y="1572"/>
                  </a:lnTo>
                  <a:lnTo>
                    <a:pt x="2057" y="1576"/>
                  </a:lnTo>
                  <a:lnTo>
                    <a:pt x="2058" y="1578"/>
                  </a:lnTo>
                  <a:lnTo>
                    <a:pt x="2061" y="1579"/>
                  </a:lnTo>
                  <a:lnTo>
                    <a:pt x="2064" y="1580"/>
                  </a:lnTo>
                  <a:lnTo>
                    <a:pt x="2068" y="1581"/>
                  </a:lnTo>
                  <a:lnTo>
                    <a:pt x="2071" y="1581"/>
                  </a:lnTo>
                  <a:lnTo>
                    <a:pt x="2076" y="1581"/>
                  </a:lnTo>
                  <a:lnTo>
                    <a:pt x="2079" y="1580"/>
                  </a:lnTo>
                  <a:lnTo>
                    <a:pt x="2081" y="1579"/>
                  </a:lnTo>
                  <a:lnTo>
                    <a:pt x="2084" y="1579"/>
                  </a:lnTo>
                  <a:lnTo>
                    <a:pt x="2086" y="1575"/>
                  </a:lnTo>
                  <a:lnTo>
                    <a:pt x="2087" y="1572"/>
                  </a:lnTo>
                  <a:lnTo>
                    <a:pt x="2089" y="1568"/>
                  </a:lnTo>
                  <a:lnTo>
                    <a:pt x="2093" y="1567"/>
                  </a:lnTo>
                  <a:lnTo>
                    <a:pt x="2094" y="1567"/>
                  </a:lnTo>
                  <a:lnTo>
                    <a:pt x="2095" y="1564"/>
                  </a:lnTo>
                  <a:lnTo>
                    <a:pt x="2095" y="1562"/>
                  </a:lnTo>
                  <a:lnTo>
                    <a:pt x="2095" y="1561"/>
                  </a:lnTo>
                  <a:lnTo>
                    <a:pt x="2095" y="1559"/>
                  </a:lnTo>
                  <a:lnTo>
                    <a:pt x="2094" y="1556"/>
                  </a:lnTo>
                  <a:lnTo>
                    <a:pt x="2094" y="1554"/>
                  </a:lnTo>
                  <a:lnTo>
                    <a:pt x="2094" y="1551"/>
                  </a:lnTo>
                  <a:lnTo>
                    <a:pt x="2094" y="1547"/>
                  </a:lnTo>
                  <a:lnTo>
                    <a:pt x="2094" y="1545"/>
                  </a:lnTo>
                  <a:lnTo>
                    <a:pt x="2095" y="1544"/>
                  </a:lnTo>
                  <a:lnTo>
                    <a:pt x="2098" y="1544"/>
                  </a:lnTo>
                  <a:lnTo>
                    <a:pt x="2102" y="1544"/>
                  </a:lnTo>
                  <a:lnTo>
                    <a:pt x="2104" y="1543"/>
                  </a:lnTo>
                  <a:lnTo>
                    <a:pt x="2106" y="1539"/>
                  </a:lnTo>
                  <a:lnTo>
                    <a:pt x="2106" y="1538"/>
                  </a:lnTo>
                  <a:lnTo>
                    <a:pt x="2108" y="1535"/>
                  </a:lnTo>
                  <a:lnTo>
                    <a:pt x="2106" y="1532"/>
                  </a:lnTo>
                  <a:lnTo>
                    <a:pt x="2105" y="1530"/>
                  </a:lnTo>
                  <a:lnTo>
                    <a:pt x="2104" y="1527"/>
                  </a:lnTo>
                  <a:lnTo>
                    <a:pt x="2103" y="1523"/>
                  </a:lnTo>
                  <a:lnTo>
                    <a:pt x="2102" y="1520"/>
                  </a:lnTo>
                  <a:lnTo>
                    <a:pt x="2101" y="1519"/>
                  </a:lnTo>
                  <a:lnTo>
                    <a:pt x="2098" y="1516"/>
                  </a:lnTo>
                  <a:lnTo>
                    <a:pt x="2095" y="1516"/>
                  </a:lnTo>
                  <a:lnTo>
                    <a:pt x="2093" y="1517"/>
                  </a:lnTo>
                  <a:lnTo>
                    <a:pt x="2089" y="1516"/>
                  </a:lnTo>
                  <a:lnTo>
                    <a:pt x="2088" y="1517"/>
                  </a:lnTo>
                  <a:lnTo>
                    <a:pt x="2087" y="1517"/>
                  </a:lnTo>
                  <a:lnTo>
                    <a:pt x="2085" y="1516"/>
                  </a:lnTo>
                  <a:lnTo>
                    <a:pt x="2082" y="1516"/>
                  </a:lnTo>
                  <a:lnTo>
                    <a:pt x="2079" y="1515"/>
                  </a:lnTo>
                  <a:lnTo>
                    <a:pt x="2077" y="1514"/>
                  </a:lnTo>
                  <a:lnTo>
                    <a:pt x="2073" y="1513"/>
                  </a:lnTo>
                  <a:lnTo>
                    <a:pt x="2071" y="1511"/>
                  </a:lnTo>
                  <a:lnTo>
                    <a:pt x="2068" y="1509"/>
                  </a:lnTo>
                  <a:lnTo>
                    <a:pt x="2066" y="1507"/>
                  </a:lnTo>
                  <a:lnTo>
                    <a:pt x="2064" y="1506"/>
                  </a:lnTo>
                  <a:lnTo>
                    <a:pt x="2063" y="1504"/>
                  </a:lnTo>
                  <a:lnTo>
                    <a:pt x="2062" y="1503"/>
                  </a:lnTo>
                  <a:lnTo>
                    <a:pt x="2060" y="1501"/>
                  </a:lnTo>
                  <a:lnTo>
                    <a:pt x="2058" y="1500"/>
                  </a:lnTo>
                  <a:lnTo>
                    <a:pt x="2056" y="1499"/>
                  </a:lnTo>
                  <a:lnTo>
                    <a:pt x="2052" y="1498"/>
                  </a:lnTo>
                  <a:lnTo>
                    <a:pt x="2049" y="1498"/>
                  </a:lnTo>
                  <a:lnTo>
                    <a:pt x="2046" y="1498"/>
                  </a:lnTo>
                  <a:lnTo>
                    <a:pt x="2044" y="1498"/>
                  </a:lnTo>
                  <a:lnTo>
                    <a:pt x="2042" y="1498"/>
                  </a:lnTo>
                  <a:lnTo>
                    <a:pt x="2040" y="1497"/>
                  </a:lnTo>
                  <a:lnTo>
                    <a:pt x="2039" y="1496"/>
                  </a:lnTo>
                  <a:lnTo>
                    <a:pt x="2037" y="1495"/>
                  </a:lnTo>
                  <a:lnTo>
                    <a:pt x="2032" y="1493"/>
                  </a:lnTo>
                  <a:lnTo>
                    <a:pt x="2029" y="1492"/>
                  </a:lnTo>
                  <a:lnTo>
                    <a:pt x="2026" y="1491"/>
                  </a:lnTo>
                  <a:lnTo>
                    <a:pt x="2025" y="1489"/>
                  </a:lnTo>
                  <a:lnTo>
                    <a:pt x="2024" y="1488"/>
                  </a:lnTo>
                  <a:lnTo>
                    <a:pt x="2023" y="1487"/>
                  </a:lnTo>
                  <a:lnTo>
                    <a:pt x="2023" y="1484"/>
                  </a:lnTo>
                  <a:lnTo>
                    <a:pt x="2023" y="1482"/>
                  </a:lnTo>
                  <a:lnTo>
                    <a:pt x="2023" y="1481"/>
                  </a:lnTo>
                  <a:lnTo>
                    <a:pt x="2024" y="1481"/>
                  </a:lnTo>
                  <a:lnTo>
                    <a:pt x="2025" y="1480"/>
                  </a:lnTo>
                  <a:lnTo>
                    <a:pt x="2025" y="1479"/>
                  </a:lnTo>
                  <a:lnTo>
                    <a:pt x="2026" y="1479"/>
                  </a:lnTo>
                  <a:lnTo>
                    <a:pt x="2030" y="1477"/>
                  </a:lnTo>
                  <a:lnTo>
                    <a:pt x="2031" y="1477"/>
                  </a:lnTo>
                  <a:lnTo>
                    <a:pt x="2033" y="1477"/>
                  </a:lnTo>
                  <a:lnTo>
                    <a:pt x="2034" y="1477"/>
                  </a:lnTo>
                  <a:lnTo>
                    <a:pt x="2038" y="1479"/>
                  </a:lnTo>
                  <a:lnTo>
                    <a:pt x="2040" y="1477"/>
                  </a:lnTo>
                  <a:lnTo>
                    <a:pt x="2041" y="1477"/>
                  </a:lnTo>
                  <a:lnTo>
                    <a:pt x="2045" y="1476"/>
                  </a:lnTo>
                  <a:lnTo>
                    <a:pt x="2047" y="1475"/>
                  </a:lnTo>
                  <a:lnTo>
                    <a:pt x="2050" y="1474"/>
                  </a:lnTo>
                  <a:lnTo>
                    <a:pt x="2053" y="1474"/>
                  </a:lnTo>
                  <a:lnTo>
                    <a:pt x="2054" y="1473"/>
                  </a:lnTo>
                  <a:lnTo>
                    <a:pt x="2056" y="1471"/>
                  </a:lnTo>
                  <a:lnTo>
                    <a:pt x="2057" y="1469"/>
                  </a:lnTo>
                  <a:lnTo>
                    <a:pt x="2057" y="1467"/>
                  </a:lnTo>
                  <a:lnTo>
                    <a:pt x="2057" y="1466"/>
                  </a:lnTo>
                  <a:lnTo>
                    <a:pt x="2056" y="1466"/>
                  </a:lnTo>
                  <a:lnTo>
                    <a:pt x="2055" y="1465"/>
                  </a:lnTo>
                  <a:lnTo>
                    <a:pt x="2054" y="1464"/>
                  </a:lnTo>
                  <a:lnTo>
                    <a:pt x="2050" y="1460"/>
                  </a:lnTo>
                  <a:lnTo>
                    <a:pt x="2049" y="1459"/>
                  </a:lnTo>
                  <a:lnTo>
                    <a:pt x="2047" y="1458"/>
                  </a:lnTo>
                  <a:lnTo>
                    <a:pt x="2045" y="1457"/>
                  </a:lnTo>
                  <a:lnTo>
                    <a:pt x="2044" y="1456"/>
                  </a:lnTo>
                  <a:lnTo>
                    <a:pt x="2042" y="1455"/>
                  </a:lnTo>
                  <a:lnTo>
                    <a:pt x="2040" y="1452"/>
                  </a:lnTo>
                  <a:lnTo>
                    <a:pt x="2039" y="1450"/>
                  </a:lnTo>
                  <a:lnTo>
                    <a:pt x="2038" y="1449"/>
                  </a:lnTo>
                  <a:lnTo>
                    <a:pt x="2038" y="1448"/>
                  </a:lnTo>
                  <a:lnTo>
                    <a:pt x="2037" y="1445"/>
                  </a:lnTo>
                  <a:lnTo>
                    <a:pt x="2037" y="1443"/>
                  </a:lnTo>
                  <a:lnTo>
                    <a:pt x="2037" y="1442"/>
                  </a:lnTo>
                  <a:lnTo>
                    <a:pt x="2037" y="1440"/>
                  </a:lnTo>
                  <a:lnTo>
                    <a:pt x="2037" y="1439"/>
                  </a:lnTo>
                  <a:lnTo>
                    <a:pt x="2037" y="1437"/>
                  </a:lnTo>
                  <a:lnTo>
                    <a:pt x="2038" y="1436"/>
                  </a:lnTo>
                  <a:lnTo>
                    <a:pt x="2038" y="1434"/>
                  </a:lnTo>
                  <a:lnTo>
                    <a:pt x="2038" y="1433"/>
                  </a:lnTo>
                  <a:lnTo>
                    <a:pt x="2039" y="1431"/>
                  </a:lnTo>
                  <a:lnTo>
                    <a:pt x="2040" y="1426"/>
                  </a:lnTo>
                  <a:lnTo>
                    <a:pt x="2042" y="1424"/>
                  </a:lnTo>
                  <a:lnTo>
                    <a:pt x="2045" y="1423"/>
                  </a:lnTo>
                  <a:lnTo>
                    <a:pt x="2049" y="1424"/>
                  </a:lnTo>
                  <a:lnTo>
                    <a:pt x="2058" y="1420"/>
                  </a:lnTo>
                  <a:lnTo>
                    <a:pt x="2064" y="1419"/>
                  </a:lnTo>
                  <a:lnTo>
                    <a:pt x="2069" y="1418"/>
                  </a:lnTo>
                  <a:lnTo>
                    <a:pt x="2073" y="1416"/>
                  </a:lnTo>
                  <a:lnTo>
                    <a:pt x="2078" y="1416"/>
                  </a:lnTo>
                  <a:lnTo>
                    <a:pt x="2084" y="1417"/>
                  </a:lnTo>
                  <a:lnTo>
                    <a:pt x="2089" y="1417"/>
                  </a:lnTo>
                  <a:lnTo>
                    <a:pt x="2093" y="1418"/>
                  </a:lnTo>
                  <a:lnTo>
                    <a:pt x="2098" y="1419"/>
                  </a:lnTo>
                  <a:lnTo>
                    <a:pt x="2102" y="1418"/>
                  </a:lnTo>
                  <a:lnTo>
                    <a:pt x="2105" y="1418"/>
                  </a:lnTo>
                  <a:lnTo>
                    <a:pt x="2109" y="1416"/>
                  </a:lnTo>
                  <a:lnTo>
                    <a:pt x="2112" y="1413"/>
                  </a:lnTo>
                  <a:lnTo>
                    <a:pt x="2116" y="1411"/>
                  </a:lnTo>
                  <a:lnTo>
                    <a:pt x="2118" y="1410"/>
                  </a:lnTo>
                  <a:lnTo>
                    <a:pt x="2121" y="1408"/>
                  </a:lnTo>
                  <a:lnTo>
                    <a:pt x="2124" y="1407"/>
                  </a:lnTo>
                  <a:lnTo>
                    <a:pt x="2127" y="1407"/>
                  </a:lnTo>
                  <a:lnTo>
                    <a:pt x="2130" y="1407"/>
                  </a:lnTo>
                  <a:lnTo>
                    <a:pt x="2134" y="1408"/>
                  </a:lnTo>
                  <a:lnTo>
                    <a:pt x="2137" y="1408"/>
                  </a:lnTo>
                  <a:lnTo>
                    <a:pt x="2140" y="1407"/>
                  </a:lnTo>
                  <a:lnTo>
                    <a:pt x="2142" y="1405"/>
                  </a:lnTo>
                  <a:lnTo>
                    <a:pt x="2145" y="1404"/>
                  </a:lnTo>
                  <a:lnTo>
                    <a:pt x="2148" y="1402"/>
                  </a:lnTo>
                  <a:lnTo>
                    <a:pt x="2149" y="1401"/>
                  </a:lnTo>
                  <a:lnTo>
                    <a:pt x="2150" y="1400"/>
                  </a:lnTo>
                  <a:lnTo>
                    <a:pt x="2151" y="1397"/>
                  </a:lnTo>
                  <a:lnTo>
                    <a:pt x="2154" y="1396"/>
                  </a:lnTo>
                  <a:lnTo>
                    <a:pt x="2157" y="1399"/>
                  </a:lnTo>
                  <a:lnTo>
                    <a:pt x="2158" y="1401"/>
                  </a:lnTo>
                  <a:lnTo>
                    <a:pt x="2158" y="1404"/>
                  </a:lnTo>
                  <a:lnTo>
                    <a:pt x="2158" y="1407"/>
                  </a:lnTo>
                  <a:lnTo>
                    <a:pt x="2159" y="1409"/>
                  </a:lnTo>
                  <a:lnTo>
                    <a:pt x="2161" y="1410"/>
                  </a:lnTo>
                  <a:lnTo>
                    <a:pt x="2165" y="1410"/>
                  </a:lnTo>
                  <a:lnTo>
                    <a:pt x="2169" y="1409"/>
                  </a:lnTo>
                  <a:lnTo>
                    <a:pt x="2172" y="1408"/>
                  </a:lnTo>
                  <a:lnTo>
                    <a:pt x="2175" y="1405"/>
                  </a:lnTo>
                  <a:lnTo>
                    <a:pt x="2177" y="1404"/>
                  </a:lnTo>
                  <a:lnTo>
                    <a:pt x="2180" y="1401"/>
                  </a:lnTo>
                  <a:lnTo>
                    <a:pt x="2181" y="1399"/>
                  </a:lnTo>
                  <a:lnTo>
                    <a:pt x="2182" y="1395"/>
                  </a:lnTo>
                  <a:lnTo>
                    <a:pt x="2184" y="1393"/>
                  </a:lnTo>
                  <a:lnTo>
                    <a:pt x="2185" y="1389"/>
                  </a:lnTo>
                  <a:lnTo>
                    <a:pt x="2186" y="1386"/>
                  </a:lnTo>
                  <a:lnTo>
                    <a:pt x="2188" y="1385"/>
                  </a:lnTo>
                  <a:lnTo>
                    <a:pt x="2190" y="1384"/>
                  </a:lnTo>
                  <a:lnTo>
                    <a:pt x="2191" y="1381"/>
                  </a:lnTo>
                  <a:lnTo>
                    <a:pt x="2191" y="1379"/>
                  </a:lnTo>
                  <a:lnTo>
                    <a:pt x="2191" y="1376"/>
                  </a:lnTo>
                  <a:lnTo>
                    <a:pt x="2189" y="1372"/>
                  </a:lnTo>
                  <a:lnTo>
                    <a:pt x="2188" y="1370"/>
                  </a:lnTo>
                  <a:lnTo>
                    <a:pt x="2186" y="1369"/>
                  </a:lnTo>
                  <a:lnTo>
                    <a:pt x="2184" y="1369"/>
                  </a:lnTo>
                  <a:lnTo>
                    <a:pt x="2183" y="1367"/>
                  </a:lnTo>
                  <a:lnTo>
                    <a:pt x="2181" y="1365"/>
                  </a:lnTo>
                  <a:lnTo>
                    <a:pt x="2178" y="1363"/>
                  </a:lnTo>
                  <a:lnTo>
                    <a:pt x="2177" y="1363"/>
                  </a:lnTo>
                  <a:lnTo>
                    <a:pt x="2174" y="1362"/>
                  </a:lnTo>
                  <a:lnTo>
                    <a:pt x="2172" y="1361"/>
                  </a:lnTo>
                  <a:lnTo>
                    <a:pt x="2172" y="1359"/>
                  </a:lnTo>
                  <a:lnTo>
                    <a:pt x="2172" y="1357"/>
                  </a:lnTo>
                  <a:lnTo>
                    <a:pt x="2172" y="1355"/>
                  </a:lnTo>
                  <a:lnTo>
                    <a:pt x="2172" y="1354"/>
                  </a:lnTo>
                  <a:lnTo>
                    <a:pt x="2173" y="1353"/>
                  </a:lnTo>
                  <a:lnTo>
                    <a:pt x="2175" y="1349"/>
                  </a:lnTo>
                  <a:lnTo>
                    <a:pt x="2177" y="1348"/>
                  </a:lnTo>
                  <a:lnTo>
                    <a:pt x="2178" y="1347"/>
                  </a:lnTo>
                  <a:lnTo>
                    <a:pt x="2177" y="1346"/>
                  </a:lnTo>
                  <a:lnTo>
                    <a:pt x="2175" y="1345"/>
                  </a:lnTo>
                  <a:lnTo>
                    <a:pt x="2174" y="1344"/>
                  </a:lnTo>
                  <a:lnTo>
                    <a:pt x="2174" y="1341"/>
                  </a:lnTo>
                  <a:lnTo>
                    <a:pt x="2174" y="1340"/>
                  </a:lnTo>
                  <a:lnTo>
                    <a:pt x="2175" y="1338"/>
                  </a:lnTo>
                  <a:lnTo>
                    <a:pt x="2175" y="1337"/>
                  </a:lnTo>
                  <a:lnTo>
                    <a:pt x="2174" y="1335"/>
                  </a:lnTo>
                  <a:lnTo>
                    <a:pt x="2173" y="1335"/>
                  </a:lnTo>
                  <a:lnTo>
                    <a:pt x="2170" y="1332"/>
                  </a:lnTo>
                  <a:lnTo>
                    <a:pt x="2170" y="1331"/>
                  </a:lnTo>
                  <a:lnTo>
                    <a:pt x="2170" y="1329"/>
                  </a:lnTo>
                  <a:lnTo>
                    <a:pt x="2173" y="1324"/>
                  </a:lnTo>
                  <a:lnTo>
                    <a:pt x="2173" y="1323"/>
                  </a:lnTo>
                  <a:lnTo>
                    <a:pt x="2174" y="1322"/>
                  </a:lnTo>
                  <a:lnTo>
                    <a:pt x="2174" y="1321"/>
                  </a:lnTo>
                  <a:lnTo>
                    <a:pt x="2173" y="1320"/>
                  </a:lnTo>
                  <a:lnTo>
                    <a:pt x="2173" y="1319"/>
                  </a:lnTo>
                  <a:lnTo>
                    <a:pt x="2172" y="1315"/>
                  </a:lnTo>
                  <a:lnTo>
                    <a:pt x="2170" y="1314"/>
                  </a:lnTo>
                  <a:lnTo>
                    <a:pt x="2169" y="1314"/>
                  </a:lnTo>
                  <a:lnTo>
                    <a:pt x="2168" y="1315"/>
                  </a:lnTo>
                  <a:lnTo>
                    <a:pt x="2168" y="1316"/>
                  </a:lnTo>
                  <a:lnTo>
                    <a:pt x="2168" y="1319"/>
                  </a:lnTo>
                  <a:lnTo>
                    <a:pt x="2164" y="1320"/>
                  </a:lnTo>
                  <a:lnTo>
                    <a:pt x="2162" y="1319"/>
                  </a:lnTo>
                  <a:lnTo>
                    <a:pt x="2160" y="1319"/>
                  </a:lnTo>
                  <a:lnTo>
                    <a:pt x="2159" y="1319"/>
                  </a:lnTo>
                  <a:lnTo>
                    <a:pt x="2157" y="1317"/>
                  </a:lnTo>
                  <a:lnTo>
                    <a:pt x="2154" y="1317"/>
                  </a:lnTo>
                  <a:lnTo>
                    <a:pt x="2153" y="1317"/>
                  </a:lnTo>
                  <a:lnTo>
                    <a:pt x="2151" y="1317"/>
                  </a:lnTo>
                  <a:lnTo>
                    <a:pt x="2151" y="1319"/>
                  </a:lnTo>
                  <a:lnTo>
                    <a:pt x="2150" y="1321"/>
                  </a:lnTo>
                  <a:lnTo>
                    <a:pt x="2149" y="1323"/>
                  </a:lnTo>
                  <a:lnTo>
                    <a:pt x="2148" y="1324"/>
                  </a:lnTo>
                  <a:lnTo>
                    <a:pt x="2145" y="1325"/>
                  </a:lnTo>
                  <a:lnTo>
                    <a:pt x="2144" y="1327"/>
                  </a:lnTo>
                  <a:lnTo>
                    <a:pt x="2143" y="1328"/>
                  </a:lnTo>
                  <a:lnTo>
                    <a:pt x="2141" y="1329"/>
                  </a:lnTo>
                  <a:lnTo>
                    <a:pt x="2138" y="1330"/>
                  </a:lnTo>
                  <a:lnTo>
                    <a:pt x="2136" y="1331"/>
                  </a:lnTo>
                  <a:lnTo>
                    <a:pt x="2136" y="1332"/>
                  </a:lnTo>
                  <a:lnTo>
                    <a:pt x="2135" y="1335"/>
                  </a:lnTo>
                  <a:lnTo>
                    <a:pt x="2134" y="1337"/>
                  </a:lnTo>
                  <a:lnTo>
                    <a:pt x="2133" y="1339"/>
                  </a:lnTo>
                  <a:lnTo>
                    <a:pt x="2132" y="1341"/>
                  </a:lnTo>
                  <a:lnTo>
                    <a:pt x="2129" y="1343"/>
                  </a:lnTo>
                  <a:lnTo>
                    <a:pt x="2127" y="1344"/>
                  </a:lnTo>
                  <a:lnTo>
                    <a:pt x="2125" y="1345"/>
                  </a:lnTo>
                  <a:lnTo>
                    <a:pt x="2122" y="1345"/>
                  </a:lnTo>
                  <a:lnTo>
                    <a:pt x="2119" y="1346"/>
                  </a:lnTo>
                  <a:lnTo>
                    <a:pt x="2117" y="1345"/>
                  </a:lnTo>
                  <a:lnTo>
                    <a:pt x="2113" y="1344"/>
                  </a:lnTo>
                  <a:lnTo>
                    <a:pt x="2106" y="1343"/>
                  </a:lnTo>
                  <a:lnTo>
                    <a:pt x="2104" y="1341"/>
                  </a:lnTo>
                  <a:lnTo>
                    <a:pt x="2102" y="1341"/>
                  </a:lnTo>
                  <a:lnTo>
                    <a:pt x="2098" y="1341"/>
                  </a:lnTo>
                  <a:lnTo>
                    <a:pt x="2097" y="1343"/>
                  </a:lnTo>
                  <a:lnTo>
                    <a:pt x="2095" y="1344"/>
                  </a:lnTo>
                  <a:lnTo>
                    <a:pt x="2094" y="1345"/>
                  </a:lnTo>
                  <a:lnTo>
                    <a:pt x="2092" y="1346"/>
                  </a:lnTo>
                  <a:lnTo>
                    <a:pt x="2088" y="1346"/>
                  </a:lnTo>
                  <a:lnTo>
                    <a:pt x="2086" y="1346"/>
                  </a:lnTo>
                  <a:lnTo>
                    <a:pt x="2082" y="1348"/>
                  </a:lnTo>
                  <a:lnTo>
                    <a:pt x="2081" y="1348"/>
                  </a:lnTo>
                  <a:lnTo>
                    <a:pt x="2079" y="1349"/>
                  </a:lnTo>
                  <a:lnTo>
                    <a:pt x="2078" y="1351"/>
                  </a:lnTo>
                  <a:lnTo>
                    <a:pt x="2074" y="1352"/>
                  </a:lnTo>
                  <a:lnTo>
                    <a:pt x="2071" y="1352"/>
                  </a:lnTo>
                  <a:lnTo>
                    <a:pt x="2069" y="1352"/>
                  </a:lnTo>
                  <a:lnTo>
                    <a:pt x="2068" y="1353"/>
                  </a:lnTo>
                  <a:lnTo>
                    <a:pt x="2065" y="1354"/>
                  </a:lnTo>
                  <a:lnTo>
                    <a:pt x="2062" y="1354"/>
                  </a:lnTo>
                  <a:lnTo>
                    <a:pt x="2058" y="1354"/>
                  </a:lnTo>
                  <a:lnTo>
                    <a:pt x="2057" y="1354"/>
                  </a:lnTo>
                  <a:lnTo>
                    <a:pt x="2055" y="1354"/>
                  </a:lnTo>
                  <a:lnTo>
                    <a:pt x="2054" y="1353"/>
                  </a:lnTo>
                  <a:lnTo>
                    <a:pt x="2053" y="1352"/>
                  </a:lnTo>
                  <a:lnTo>
                    <a:pt x="2052" y="1349"/>
                  </a:lnTo>
                  <a:lnTo>
                    <a:pt x="2052" y="1344"/>
                  </a:lnTo>
                  <a:lnTo>
                    <a:pt x="2049" y="1343"/>
                  </a:lnTo>
                  <a:lnTo>
                    <a:pt x="2048" y="1341"/>
                  </a:lnTo>
                  <a:lnTo>
                    <a:pt x="2047" y="1341"/>
                  </a:lnTo>
                  <a:lnTo>
                    <a:pt x="2045" y="1340"/>
                  </a:lnTo>
                  <a:lnTo>
                    <a:pt x="2044" y="1339"/>
                  </a:lnTo>
                  <a:lnTo>
                    <a:pt x="2041" y="1339"/>
                  </a:lnTo>
                  <a:lnTo>
                    <a:pt x="2040" y="1339"/>
                  </a:lnTo>
                  <a:lnTo>
                    <a:pt x="2039" y="1339"/>
                  </a:lnTo>
                  <a:lnTo>
                    <a:pt x="2038" y="1339"/>
                  </a:lnTo>
                  <a:lnTo>
                    <a:pt x="2037" y="1340"/>
                  </a:lnTo>
                  <a:lnTo>
                    <a:pt x="2033" y="1339"/>
                  </a:lnTo>
                  <a:lnTo>
                    <a:pt x="2031" y="1338"/>
                  </a:lnTo>
                  <a:lnTo>
                    <a:pt x="2028" y="1336"/>
                  </a:lnTo>
                  <a:lnTo>
                    <a:pt x="2023" y="1336"/>
                  </a:lnTo>
                  <a:lnTo>
                    <a:pt x="2020" y="1337"/>
                  </a:lnTo>
                  <a:lnTo>
                    <a:pt x="2017" y="1337"/>
                  </a:lnTo>
                  <a:lnTo>
                    <a:pt x="2010" y="1336"/>
                  </a:lnTo>
                  <a:lnTo>
                    <a:pt x="2010" y="1333"/>
                  </a:lnTo>
                  <a:lnTo>
                    <a:pt x="2009" y="1331"/>
                  </a:lnTo>
                  <a:lnTo>
                    <a:pt x="2008" y="1330"/>
                  </a:lnTo>
                  <a:lnTo>
                    <a:pt x="2005" y="1329"/>
                  </a:lnTo>
                  <a:lnTo>
                    <a:pt x="2001" y="1330"/>
                  </a:lnTo>
                  <a:lnTo>
                    <a:pt x="1999" y="1331"/>
                  </a:lnTo>
                  <a:lnTo>
                    <a:pt x="1996" y="1331"/>
                  </a:lnTo>
                  <a:lnTo>
                    <a:pt x="1993" y="1330"/>
                  </a:lnTo>
                  <a:lnTo>
                    <a:pt x="1989" y="1329"/>
                  </a:lnTo>
                  <a:lnTo>
                    <a:pt x="1986" y="1328"/>
                  </a:lnTo>
                  <a:lnTo>
                    <a:pt x="1982" y="1323"/>
                  </a:lnTo>
                  <a:lnTo>
                    <a:pt x="1980" y="1321"/>
                  </a:lnTo>
                  <a:lnTo>
                    <a:pt x="1977" y="1319"/>
                  </a:lnTo>
                  <a:lnTo>
                    <a:pt x="1974" y="1317"/>
                  </a:lnTo>
                  <a:lnTo>
                    <a:pt x="1970" y="1317"/>
                  </a:lnTo>
                  <a:lnTo>
                    <a:pt x="1968" y="1315"/>
                  </a:lnTo>
                  <a:lnTo>
                    <a:pt x="1966" y="1309"/>
                  </a:lnTo>
                  <a:lnTo>
                    <a:pt x="1965" y="1307"/>
                  </a:lnTo>
                  <a:lnTo>
                    <a:pt x="1961" y="1305"/>
                  </a:lnTo>
                  <a:lnTo>
                    <a:pt x="1958" y="1303"/>
                  </a:lnTo>
                  <a:lnTo>
                    <a:pt x="1953" y="1301"/>
                  </a:lnTo>
                  <a:lnTo>
                    <a:pt x="1951" y="1301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30" name="HR"/>
            <p:cNvSpPr>
              <a:spLocks/>
            </p:cNvSpPr>
            <p:nvPr/>
          </p:nvSpPr>
          <p:spPr bwMode="auto">
            <a:xfrm>
              <a:off x="6024642" y="2582506"/>
              <a:ext cx="345896" cy="348573"/>
            </a:xfrm>
            <a:custGeom>
              <a:avLst/>
              <a:gdLst>
                <a:gd name="T0" fmla="*/ 2 w 860"/>
                <a:gd name="T1" fmla="*/ 333 h 901"/>
                <a:gd name="T2" fmla="*/ 35 w 860"/>
                <a:gd name="T3" fmla="*/ 373 h 901"/>
                <a:gd name="T4" fmla="*/ 24 w 860"/>
                <a:gd name="T5" fmla="*/ 418 h 901"/>
                <a:gd name="T6" fmla="*/ 67 w 860"/>
                <a:gd name="T7" fmla="*/ 433 h 901"/>
                <a:gd name="T8" fmla="*/ 128 w 860"/>
                <a:gd name="T9" fmla="*/ 434 h 901"/>
                <a:gd name="T10" fmla="*/ 192 w 860"/>
                <a:gd name="T11" fmla="*/ 465 h 901"/>
                <a:gd name="T12" fmla="*/ 237 w 860"/>
                <a:gd name="T13" fmla="*/ 471 h 901"/>
                <a:gd name="T14" fmla="*/ 249 w 860"/>
                <a:gd name="T15" fmla="*/ 490 h 901"/>
                <a:gd name="T16" fmla="*/ 289 w 860"/>
                <a:gd name="T17" fmla="*/ 531 h 901"/>
                <a:gd name="T18" fmla="*/ 287 w 860"/>
                <a:gd name="T19" fmla="*/ 571 h 901"/>
                <a:gd name="T20" fmla="*/ 314 w 860"/>
                <a:gd name="T21" fmla="*/ 646 h 901"/>
                <a:gd name="T22" fmla="*/ 357 w 860"/>
                <a:gd name="T23" fmla="*/ 694 h 901"/>
                <a:gd name="T24" fmla="*/ 423 w 860"/>
                <a:gd name="T25" fmla="*/ 737 h 901"/>
                <a:gd name="T26" fmla="*/ 402 w 860"/>
                <a:gd name="T27" fmla="*/ 784 h 901"/>
                <a:gd name="T28" fmla="*/ 413 w 860"/>
                <a:gd name="T29" fmla="*/ 807 h 901"/>
                <a:gd name="T30" fmla="*/ 452 w 860"/>
                <a:gd name="T31" fmla="*/ 849 h 901"/>
                <a:gd name="T32" fmla="*/ 472 w 860"/>
                <a:gd name="T33" fmla="*/ 833 h 901"/>
                <a:gd name="T34" fmla="*/ 513 w 860"/>
                <a:gd name="T35" fmla="*/ 792 h 901"/>
                <a:gd name="T36" fmla="*/ 567 w 860"/>
                <a:gd name="T37" fmla="*/ 777 h 901"/>
                <a:gd name="T38" fmla="*/ 594 w 860"/>
                <a:gd name="T39" fmla="*/ 807 h 901"/>
                <a:gd name="T40" fmla="*/ 635 w 860"/>
                <a:gd name="T41" fmla="*/ 770 h 901"/>
                <a:gd name="T42" fmla="*/ 689 w 860"/>
                <a:gd name="T43" fmla="*/ 767 h 901"/>
                <a:gd name="T44" fmla="*/ 685 w 860"/>
                <a:gd name="T45" fmla="*/ 842 h 901"/>
                <a:gd name="T46" fmla="*/ 683 w 860"/>
                <a:gd name="T47" fmla="*/ 898 h 901"/>
                <a:gd name="T48" fmla="*/ 721 w 860"/>
                <a:gd name="T49" fmla="*/ 863 h 901"/>
                <a:gd name="T50" fmla="*/ 803 w 860"/>
                <a:gd name="T51" fmla="*/ 848 h 901"/>
                <a:gd name="T52" fmla="*/ 845 w 860"/>
                <a:gd name="T53" fmla="*/ 810 h 901"/>
                <a:gd name="T54" fmla="*/ 835 w 860"/>
                <a:gd name="T55" fmla="*/ 733 h 901"/>
                <a:gd name="T56" fmla="*/ 793 w 860"/>
                <a:gd name="T57" fmla="*/ 674 h 901"/>
                <a:gd name="T58" fmla="*/ 730 w 860"/>
                <a:gd name="T59" fmla="*/ 672 h 901"/>
                <a:gd name="T60" fmla="*/ 673 w 860"/>
                <a:gd name="T61" fmla="*/ 669 h 901"/>
                <a:gd name="T62" fmla="*/ 675 w 860"/>
                <a:gd name="T63" fmla="*/ 631 h 901"/>
                <a:gd name="T64" fmla="*/ 706 w 860"/>
                <a:gd name="T65" fmla="*/ 576 h 901"/>
                <a:gd name="T66" fmla="*/ 748 w 860"/>
                <a:gd name="T67" fmla="*/ 515 h 901"/>
                <a:gd name="T68" fmla="*/ 731 w 860"/>
                <a:gd name="T69" fmla="*/ 419 h 901"/>
                <a:gd name="T70" fmla="*/ 727 w 860"/>
                <a:gd name="T71" fmla="*/ 339 h 901"/>
                <a:gd name="T72" fmla="*/ 772 w 860"/>
                <a:gd name="T73" fmla="*/ 257 h 901"/>
                <a:gd name="T74" fmla="*/ 839 w 860"/>
                <a:gd name="T75" fmla="*/ 186 h 901"/>
                <a:gd name="T76" fmla="*/ 848 w 860"/>
                <a:gd name="T77" fmla="*/ 139 h 901"/>
                <a:gd name="T78" fmla="*/ 792 w 860"/>
                <a:gd name="T79" fmla="*/ 128 h 901"/>
                <a:gd name="T80" fmla="*/ 730 w 860"/>
                <a:gd name="T81" fmla="*/ 96 h 901"/>
                <a:gd name="T82" fmla="*/ 700 w 860"/>
                <a:gd name="T83" fmla="*/ 40 h 901"/>
                <a:gd name="T84" fmla="*/ 642 w 860"/>
                <a:gd name="T85" fmla="*/ 21 h 901"/>
                <a:gd name="T86" fmla="*/ 621 w 860"/>
                <a:gd name="T87" fmla="*/ 41 h 901"/>
                <a:gd name="T88" fmla="*/ 674 w 860"/>
                <a:gd name="T89" fmla="*/ 89 h 901"/>
                <a:gd name="T90" fmla="*/ 652 w 860"/>
                <a:gd name="T91" fmla="*/ 126 h 901"/>
                <a:gd name="T92" fmla="*/ 623 w 860"/>
                <a:gd name="T93" fmla="*/ 153 h 901"/>
                <a:gd name="T94" fmla="*/ 586 w 860"/>
                <a:gd name="T95" fmla="*/ 192 h 901"/>
                <a:gd name="T96" fmla="*/ 580 w 860"/>
                <a:gd name="T97" fmla="*/ 238 h 901"/>
                <a:gd name="T98" fmla="*/ 532 w 860"/>
                <a:gd name="T99" fmla="*/ 225 h 901"/>
                <a:gd name="T100" fmla="*/ 492 w 860"/>
                <a:gd name="T101" fmla="*/ 219 h 901"/>
                <a:gd name="T102" fmla="*/ 483 w 860"/>
                <a:gd name="T103" fmla="*/ 239 h 901"/>
                <a:gd name="T104" fmla="*/ 475 w 860"/>
                <a:gd name="T105" fmla="*/ 283 h 901"/>
                <a:gd name="T106" fmla="*/ 448 w 860"/>
                <a:gd name="T107" fmla="*/ 312 h 901"/>
                <a:gd name="T108" fmla="*/ 381 w 860"/>
                <a:gd name="T109" fmla="*/ 321 h 901"/>
                <a:gd name="T110" fmla="*/ 323 w 860"/>
                <a:gd name="T111" fmla="*/ 321 h 901"/>
                <a:gd name="T112" fmla="*/ 267 w 860"/>
                <a:gd name="T113" fmla="*/ 315 h 901"/>
                <a:gd name="T114" fmla="*/ 228 w 860"/>
                <a:gd name="T115" fmla="*/ 373 h 901"/>
                <a:gd name="T116" fmla="*/ 201 w 860"/>
                <a:gd name="T117" fmla="*/ 353 h 901"/>
                <a:gd name="T118" fmla="*/ 201 w 860"/>
                <a:gd name="T119" fmla="*/ 305 h 901"/>
                <a:gd name="T120" fmla="*/ 175 w 860"/>
                <a:gd name="T121" fmla="*/ 294 h 901"/>
                <a:gd name="T122" fmla="*/ 123 w 860"/>
                <a:gd name="T123" fmla="*/ 278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60" h="901">
                  <a:moveTo>
                    <a:pt x="43" y="280"/>
                  </a:moveTo>
                  <a:lnTo>
                    <a:pt x="44" y="283"/>
                  </a:lnTo>
                  <a:lnTo>
                    <a:pt x="42" y="286"/>
                  </a:lnTo>
                  <a:lnTo>
                    <a:pt x="39" y="287"/>
                  </a:lnTo>
                  <a:lnTo>
                    <a:pt x="35" y="288"/>
                  </a:lnTo>
                  <a:lnTo>
                    <a:pt x="29" y="293"/>
                  </a:lnTo>
                  <a:lnTo>
                    <a:pt x="24" y="297"/>
                  </a:lnTo>
                  <a:lnTo>
                    <a:pt x="17" y="303"/>
                  </a:lnTo>
                  <a:lnTo>
                    <a:pt x="11" y="310"/>
                  </a:lnTo>
                  <a:lnTo>
                    <a:pt x="9" y="314"/>
                  </a:lnTo>
                  <a:lnTo>
                    <a:pt x="5" y="320"/>
                  </a:lnTo>
                  <a:lnTo>
                    <a:pt x="0" y="327"/>
                  </a:lnTo>
                  <a:lnTo>
                    <a:pt x="0" y="330"/>
                  </a:lnTo>
                  <a:lnTo>
                    <a:pt x="2" y="333"/>
                  </a:lnTo>
                  <a:lnTo>
                    <a:pt x="7" y="334"/>
                  </a:lnTo>
                  <a:lnTo>
                    <a:pt x="11" y="334"/>
                  </a:lnTo>
                  <a:lnTo>
                    <a:pt x="16" y="333"/>
                  </a:lnTo>
                  <a:lnTo>
                    <a:pt x="20" y="330"/>
                  </a:lnTo>
                  <a:lnTo>
                    <a:pt x="27" y="327"/>
                  </a:lnTo>
                  <a:lnTo>
                    <a:pt x="32" y="326"/>
                  </a:lnTo>
                  <a:lnTo>
                    <a:pt x="35" y="326"/>
                  </a:lnTo>
                  <a:lnTo>
                    <a:pt x="39" y="327"/>
                  </a:lnTo>
                  <a:lnTo>
                    <a:pt x="41" y="329"/>
                  </a:lnTo>
                  <a:lnTo>
                    <a:pt x="41" y="335"/>
                  </a:lnTo>
                  <a:lnTo>
                    <a:pt x="37" y="346"/>
                  </a:lnTo>
                  <a:lnTo>
                    <a:pt x="36" y="355"/>
                  </a:lnTo>
                  <a:lnTo>
                    <a:pt x="35" y="365"/>
                  </a:lnTo>
                  <a:lnTo>
                    <a:pt x="35" y="373"/>
                  </a:lnTo>
                  <a:lnTo>
                    <a:pt x="35" y="376"/>
                  </a:lnTo>
                  <a:lnTo>
                    <a:pt x="34" y="381"/>
                  </a:lnTo>
                  <a:lnTo>
                    <a:pt x="35" y="384"/>
                  </a:lnTo>
                  <a:lnTo>
                    <a:pt x="39" y="389"/>
                  </a:lnTo>
                  <a:lnTo>
                    <a:pt x="40" y="393"/>
                  </a:lnTo>
                  <a:lnTo>
                    <a:pt x="40" y="400"/>
                  </a:lnTo>
                  <a:lnTo>
                    <a:pt x="37" y="405"/>
                  </a:lnTo>
                  <a:lnTo>
                    <a:pt x="34" y="408"/>
                  </a:lnTo>
                  <a:lnTo>
                    <a:pt x="32" y="405"/>
                  </a:lnTo>
                  <a:lnTo>
                    <a:pt x="28" y="408"/>
                  </a:lnTo>
                  <a:lnTo>
                    <a:pt x="25" y="411"/>
                  </a:lnTo>
                  <a:lnTo>
                    <a:pt x="20" y="414"/>
                  </a:lnTo>
                  <a:lnTo>
                    <a:pt x="18" y="416"/>
                  </a:lnTo>
                  <a:lnTo>
                    <a:pt x="24" y="418"/>
                  </a:lnTo>
                  <a:lnTo>
                    <a:pt x="26" y="419"/>
                  </a:lnTo>
                  <a:lnTo>
                    <a:pt x="29" y="422"/>
                  </a:lnTo>
                  <a:lnTo>
                    <a:pt x="32" y="426"/>
                  </a:lnTo>
                  <a:lnTo>
                    <a:pt x="32" y="431"/>
                  </a:lnTo>
                  <a:lnTo>
                    <a:pt x="39" y="435"/>
                  </a:lnTo>
                  <a:lnTo>
                    <a:pt x="40" y="440"/>
                  </a:lnTo>
                  <a:lnTo>
                    <a:pt x="41" y="447"/>
                  </a:lnTo>
                  <a:lnTo>
                    <a:pt x="45" y="448"/>
                  </a:lnTo>
                  <a:lnTo>
                    <a:pt x="49" y="446"/>
                  </a:lnTo>
                  <a:lnTo>
                    <a:pt x="52" y="442"/>
                  </a:lnTo>
                  <a:lnTo>
                    <a:pt x="55" y="437"/>
                  </a:lnTo>
                  <a:lnTo>
                    <a:pt x="59" y="433"/>
                  </a:lnTo>
                  <a:lnTo>
                    <a:pt x="65" y="433"/>
                  </a:lnTo>
                  <a:lnTo>
                    <a:pt x="67" y="433"/>
                  </a:lnTo>
                  <a:lnTo>
                    <a:pt x="72" y="433"/>
                  </a:lnTo>
                  <a:lnTo>
                    <a:pt x="74" y="437"/>
                  </a:lnTo>
                  <a:lnTo>
                    <a:pt x="79" y="439"/>
                  </a:lnTo>
                  <a:lnTo>
                    <a:pt x="84" y="438"/>
                  </a:lnTo>
                  <a:lnTo>
                    <a:pt x="89" y="437"/>
                  </a:lnTo>
                  <a:lnTo>
                    <a:pt x="93" y="433"/>
                  </a:lnTo>
                  <a:lnTo>
                    <a:pt x="98" y="429"/>
                  </a:lnTo>
                  <a:lnTo>
                    <a:pt x="105" y="425"/>
                  </a:lnTo>
                  <a:lnTo>
                    <a:pt x="109" y="427"/>
                  </a:lnTo>
                  <a:lnTo>
                    <a:pt x="115" y="429"/>
                  </a:lnTo>
                  <a:lnTo>
                    <a:pt x="122" y="429"/>
                  </a:lnTo>
                  <a:lnTo>
                    <a:pt x="125" y="430"/>
                  </a:lnTo>
                  <a:lnTo>
                    <a:pt x="127" y="431"/>
                  </a:lnTo>
                  <a:lnTo>
                    <a:pt x="128" y="434"/>
                  </a:lnTo>
                  <a:lnTo>
                    <a:pt x="129" y="440"/>
                  </a:lnTo>
                  <a:lnTo>
                    <a:pt x="129" y="446"/>
                  </a:lnTo>
                  <a:lnTo>
                    <a:pt x="133" y="455"/>
                  </a:lnTo>
                  <a:lnTo>
                    <a:pt x="139" y="458"/>
                  </a:lnTo>
                  <a:lnTo>
                    <a:pt x="145" y="459"/>
                  </a:lnTo>
                  <a:lnTo>
                    <a:pt x="151" y="458"/>
                  </a:lnTo>
                  <a:lnTo>
                    <a:pt x="156" y="457"/>
                  </a:lnTo>
                  <a:lnTo>
                    <a:pt x="163" y="464"/>
                  </a:lnTo>
                  <a:lnTo>
                    <a:pt x="169" y="467"/>
                  </a:lnTo>
                  <a:lnTo>
                    <a:pt x="172" y="469"/>
                  </a:lnTo>
                  <a:lnTo>
                    <a:pt x="177" y="470"/>
                  </a:lnTo>
                  <a:lnTo>
                    <a:pt x="181" y="470"/>
                  </a:lnTo>
                  <a:lnTo>
                    <a:pt x="188" y="467"/>
                  </a:lnTo>
                  <a:lnTo>
                    <a:pt x="192" y="465"/>
                  </a:lnTo>
                  <a:lnTo>
                    <a:pt x="196" y="464"/>
                  </a:lnTo>
                  <a:lnTo>
                    <a:pt x="200" y="464"/>
                  </a:lnTo>
                  <a:lnTo>
                    <a:pt x="201" y="466"/>
                  </a:lnTo>
                  <a:lnTo>
                    <a:pt x="202" y="471"/>
                  </a:lnTo>
                  <a:lnTo>
                    <a:pt x="204" y="473"/>
                  </a:lnTo>
                  <a:lnTo>
                    <a:pt x="209" y="472"/>
                  </a:lnTo>
                  <a:lnTo>
                    <a:pt x="216" y="467"/>
                  </a:lnTo>
                  <a:lnTo>
                    <a:pt x="224" y="464"/>
                  </a:lnTo>
                  <a:lnTo>
                    <a:pt x="229" y="459"/>
                  </a:lnTo>
                  <a:lnTo>
                    <a:pt x="235" y="456"/>
                  </a:lnTo>
                  <a:lnTo>
                    <a:pt x="241" y="457"/>
                  </a:lnTo>
                  <a:lnTo>
                    <a:pt x="243" y="462"/>
                  </a:lnTo>
                  <a:lnTo>
                    <a:pt x="242" y="465"/>
                  </a:lnTo>
                  <a:lnTo>
                    <a:pt x="237" y="471"/>
                  </a:lnTo>
                  <a:lnTo>
                    <a:pt x="240" y="475"/>
                  </a:lnTo>
                  <a:lnTo>
                    <a:pt x="243" y="475"/>
                  </a:lnTo>
                  <a:lnTo>
                    <a:pt x="249" y="471"/>
                  </a:lnTo>
                  <a:lnTo>
                    <a:pt x="252" y="466"/>
                  </a:lnTo>
                  <a:lnTo>
                    <a:pt x="256" y="465"/>
                  </a:lnTo>
                  <a:lnTo>
                    <a:pt x="259" y="469"/>
                  </a:lnTo>
                  <a:lnTo>
                    <a:pt x="259" y="472"/>
                  </a:lnTo>
                  <a:lnTo>
                    <a:pt x="256" y="474"/>
                  </a:lnTo>
                  <a:lnTo>
                    <a:pt x="256" y="477"/>
                  </a:lnTo>
                  <a:lnTo>
                    <a:pt x="257" y="479"/>
                  </a:lnTo>
                  <a:lnTo>
                    <a:pt x="259" y="483"/>
                  </a:lnTo>
                  <a:lnTo>
                    <a:pt x="256" y="486"/>
                  </a:lnTo>
                  <a:lnTo>
                    <a:pt x="251" y="489"/>
                  </a:lnTo>
                  <a:lnTo>
                    <a:pt x="249" y="490"/>
                  </a:lnTo>
                  <a:lnTo>
                    <a:pt x="249" y="496"/>
                  </a:lnTo>
                  <a:lnTo>
                    <a:pt x="250" y="498"/>
                  </a:lnTo>
                  <a:lnTo>
                    <a:pt x="253" y="498"/>
                  </a:lnTo>
                  <a:lnTo>
                    <a:pt x="256" y="501"/>
                  </a:lnTo>
                  <a:lnTo>
                    <a:pt x="257" y="505"/>
                  </a:lnTo>
                  <a:lnTo>
                    <a:pt x="257" y="518"/>
                  </a:lnTo>
                  <a:lnTo>
                    <a:pt x="258" y="521"/>
                  </a:lnTo>
                  <a:lnTo>
                    <a:pt x="261" y="523"/>
                  </a:lnTo>
                  <a:lnTo>
                    <a:pt x="266" y="529"/>
                  </a:lnTo>
                  <a:lnTo>
                    <a:pt x="273" y="529"/>
                  </a:lnTo>
                  <a:lnTo>
                    <a:pt x="276" y="529"/>
                  </a:lnTo>
                  <a:lnTo>
                    <a:pt x="283" y="529"/>
                  </a:lnTo>
                  <a:lnTo>
                    <a:pt x="287" y="529"/>
                  </a:lnTo>
                  <a:lnTo>
                    <a:pt x="289" y="531"/>
                  </a:lnTo>
                  <a:lnTo>
                    <a:pt x="292" y="537"/>
                  </a:lnTo>
                  <a:lnTo>
                    <a:pt x="293" y="542"/>
                  </a:lnTo>
                  <a:lnTo>
                    <a:pt x="291" y="547"/>
                  </a:lnTo>
                  <a:lnTo>
                    <a:pt x="290" y="551"/>
                  </a:lnTo>
                  <a:lnTo>
                    <a:pt x="289" y="554"/>
                  </a:lnTo>
                  <a:lnTo>
                    <a:pt x="285" y="555"/>
                  </a:lnTo>
                  <a:lnTo>
                    <a:pt x="281" y="554"/>
                  </a:lnTo>
                  <a:lnTo>
                    <a:pt x="279" y="554"/>
                  </a:lnTo>
                  <a:lnTo>
                    <a:pt x="277" y="557"/>
                  </a:lnTo>
                  <a:lnTo>
                    <a:pt x="279" y="558"/>
                  </a:lnTo>
                  <a:lnTo>
                    <a:pt x="282" y="560"/>
                  </a:lnTo>
                  <a:lnTo>
                    <a:pt x="283" y="562"/>
                  </a:lnTo>
                  <a:lnTo>
                    <a:pt x="287" y="565"/>
                  </a:lnTo>
                  <a:lnTo>
                    <a:pt x="287" y="571"/>
                  </a:lnTo>
                  <a:lnTo>
                    <a:pt x="287" y="576"/>
                  </a:lnTo>
                  <a:lnTo>
                    <a:pt x="285" y="579"/>
                  </a:lnTo>
                  <a:lnTo>
                    <a:pt x="288" y="589"/>
                  </a:lnTo>
                  <a:lnTo>
                    <a:pt x="289" y="597"/>
                  </a:lnTo>
                  <a:lnTo>
                    <a:pt x="291" y="599"/>
                  </a:lnTo>
                  <a:lnTo>
                    <a:pt x="295" y="603"/>
                  </a:lnTo>
                  <a:lnTo>
                    <a:pt x="297" y="608"/>
                  </a:lnTo>
                  <a:lnTo>
                    <a:pt x="298" y="616"/>
                  </a:lnTo>
                  <a:lnTo>
                    <a:pt x="297" y="619"/>
                  </a:lnTo>
                  <a:lnTo>
                    <a:pt x="299" y="630"/>
                  </a:lnTo>
                  <a:lnTo>
                    <a:pt x="301" y="637"/>
                  </a:lnTo>
                  <a:lnTo>
                    <a:pt x="305" y="640"/>
                  </a:lnTo>
                  <a:lnTo>
                    <a:pt x="309" y="643"/>
                  </a:lnTo>
                  <a:lnTo>
                    <a:pt x="314" y="646"/>
                  </a:lnTo>
                  <a:lnTo>
                    <a:pt x="317" y="650"/>
                  </a:lnTo>
                  <a:lnTo>
                    <a:pt x="319" y="654"/>
                  </a:lnTo>
                  <a:lnTo>
                    <a:pt x="322" y="657"/>
                  </a:lnTo>
                  <a:lnTo>
                    <a:pt x="325" y="661"/>
                  </a:lnTo>
                  <a:lnTo>
                    <a:pt x="331" y="663"/>
                  </a:lnTo>
                  <a:lnTo>
                    <a:pt x="337" y="670"/>
                  </a:lnTo>
                  <a:lnTo>
                    <a:pt x="341" y="671"/>
                  </a:lnTo>
                  <a:lnTo>
                    <a:pt x="345" y="672"/>
                  </a:lnTo>
                  <a:lnTo>
                    <a:pt x="347" y="677"/>
                  </a:lnTo>
                  <a:lnTo>
                    <a:pt x="351" y="680"/>
                  </a:lnTo>
                  <a:lnTo>
                    <a:pt x="354" y="682"/>
                  </a:lnTo>
                  <a:lnTo>
                    <a:pt x="356" y="685"/>
                  </a:lnTo>
                  <a:lnTo>
                    <a:pt x="356" y="689"/>
                  </a:lnTo>
                  <a:lnTo>
                    <a:pt x="357" y="694"/>
                  </a:lnTo>
                  <a:lnTo>
                    <a:pt x="357" y="697"/>
                  </a:lnTo>
                  <a:lnTo>
                    <a:pt x="360" y="701"/>
                  </a:lnTo>
                  <a:lnTo>
                    <a:pt x="365" y="701"/>
                  </a:lnTo>
                  <a:lnTo>
                    <a:pt x="371" y="701"/>
                  </a:lnTo>
                  <a:lnTo>
                    <a:pt x="377" y="701"/>
                  </a:lnTo>
                  <a:lnTo>
                    <a:pt x="381" y="704"/>
                  </a:lnTo>
                  <a:lnTo>
                    <a:pt x="388" y="706"/>
                  </a:lnTo>
                  <a:lnTo>
                    <a:pt x="392" y="706"/>
                  </a:lnTo>
                  <a:lnTo>
                    <a:pt x="396" y="709"/>
                  </a:lnTo>
                  <a:lnTo>
                    <a:pt x="400" y="714"/>
                  </a:lnTo>
                  <a:lnTo>
                    <a:pt x="404" y="718"/>
                  </a:lnTo>
                  <a:lnTo>
                    <a:pt x="412" y="726"/>
                  </a:lnTo>
                  <a:lnTo>
                    <a:pt x="420" y="734"/>
                  </a:lnTo>
                  <a:lnTo>
                    <a:pt x="423" y="737"/>
                  </a:lnTo>
                  <a:lnTo>
                    <a:pt x="428" y="744"/>
                  </a:lnTo>
                  <a:lnTo>
                    <a:pt x="435" y="751"/>
                  </a:lnTo>
                  <a:lnTo>
                    <a:pt x="437" y="754"/>
                  </a:lnTo>
                  <a:lnTo>
                    <a:pt x="441" y="758"/>
                  </a:lnTo>
                  <a:lnTo>
                    <a:pt x="442" y="761"/>
                  </a:lnTo>
                  <a:lnTo>
                    <a:pt x="443" y="762"/>
                  </a:lnTo>
                  <a:lnTo>
                    <a:pt x="439" y="763"/>
                  </a:lnTo>
                  <a:lnTo>
                    <a:pt x="434" y="763"/>
                  </a:lnTo>
                  <a:lnTo>
                    <a:pt x="429" y="765"/>
                  </a:lnTo>
                  <a:lnTo>
                    <a:pt x="421" y="770"/>
                  </a:lnTo>
                  <a:lnTo>
                    <a:pt x="412" y="775"/>
                  </a:lnTo>
                  <a:lnTo>
                    <a:pt x="409" y="777"/>
                  </a:lnTo>
                  <a:lnTo>
                    <a:pt x="404" y="779"/>
                  </a:lnTo>
                  <a:lnTo>
                    <a:pt x="402" y="784"/>
                  </a:lnTo>
                  <a:lnTo>
                    <a:pt x="407" y="790"/>
                  </a:lnTo>
                  <a:lnTo>
                    <a:pt x="411" y="789"/>
                  </a:lnTo>
                  <a:lnTo>
                    <a:pt x="416" y="786"/>
                  </a:lnTo>
                  <a:lnTo>
                    <a:pt x="423" y="787"/>
                  </a:lnTo>
                  <a:lnTo>
                    <a:pt x="431" y="786"/>
                  </a:lnTo>
                  <a:lnTo>
                    <a:pt x="437" y="786"/>
                  </a:lnTo>
                  <a:lnTo>
                    <a:pt x="440" y="790"/>
                  </a:lnTo>
                  <a:lnTo>
                    <a:pt x="437" y="793"/>
                  </a:lnTo>
                  <a:lnTo>
                    <a:pt x="432" y="794"/>
                  </a:lnTo>
                  <a:lnTo>
                    <a:pt x="427" y="798"/>
                  </a:lnTo>
                  <a:lnTo>
                    <a:pt x="424" y="800"/>
                  </a:lnTo>
                  <a:lnTo>
                    <a:pt x="419" y="800"/>
                  </a:lnTo>
                  <a:lnTo>
                    <a:pt x="416" y="802"/>
                  </a:lnTo>
                  <a:lnTo>
                    <a:pt x="413" y="807"/>
                  </a:lnTo>
                  <a:lnTo>
                    <a:pt x="420" y="808"/>
                  </a:lnTo>
                  <a:lnTo>
                    <a:pt x="420" y="811"/>
                  </a:lnTo>
                  <a:lnTo>
                    <a:pt x="421" y="815"/>
                  </a:lnTo>
                  <a:lnTo>
                    <a:pt x="425" y="822"/>
                  </a:lnTo>
                  <a:lnTo>
                    <a:pt x="425" y="827"/>
                  </a:lnTo>
                  <a:lnTo>
                    <a:pt x="419" y="835"/>
                  </a:lnTo>
                  <a:lnTo>
                    <a:pt x="420" y="839"/>
                  </a:lnTo>
                  <a:lnTo>
                    <a:pt x="424" y="847"/>
                  </a:lnTo>
                  <a:lnTo>
                    <a:pt x="425" y="849"/>
                  </a:lnTo>
                  <a:lnTo>
                    <a:pt x="427" y="853"/>
                  </a:lnTo>
                  <a:lnTo>
                    <a:pt x="432" y="854"/>
                  </a:lnTo>
                  <a:lnTo>
                    <a:pt x="439" y="854"/>
                  </a:lnTo>
                  <a:lnTo>
                    <a:pt x="445" y="850"/>
                  </a:lnTo>
                  <a:lnTo>
                    <a:pt x="452" y="849"/>
                  </a:lnTo>
                  <a:lnTo>
                    <a:pt x="457" y="848"/>
                  </a:lnTo>
                  <a:lnTo>
                    <a:pt x="461" y="851"/>
                  </a:lnTo>
                  <a:lnTo>
                    <a:pt x="463" y="856"/>
                  </a:lnTo>
                  <a:lnTo>
                    <a:pt x="465" y="859"/>
                  </a:lnTo>
                  <a:lnTo>
                    <a:pt x="469" y="865"/>
                  </a:lnTo>
                  <a:lnTo>
                    <a:pt x="474" y="866"/>
                  </a:lnTo>
                  <a:lnTo>
                    <a:pt x="479" y="863"/>
                  </a:lnTo>
                  <a:lnTo>
                    <a:pt x="482" y="861"/>
                  </a:lnTo>
                  <a:lnTo>
                    <a:pt x="485" y="857"/>
                  </a:lnTo>
                  <a:lnTo>
                    <a:pt x="484" y="850"/>
                  </a:lnTo>
                  <a:lnTo>
                    <a:pt x="479" y="848"/>
                  </a:lnTo>
                  <a:lnTo>
                    <a:pt x="475" y="843"/>
                  </a:lnTo>
                  <a:lnTo>
                    <a:pt x="474" y="837"/>
                  </a:lnTo>
                  <a:lnTo>
                    <a:pt x="472" y="833"/>
                  </a:lnTo>
                  <a:lnTo>
                    <a:pt x="471" y="829"/>
                  </a:lnTo>
                  <a:lnTo>
                    <a:pt x="474" y="823"/>
                  </a:lnTo>
                  <a:lnTo>
                    <a:pt x="474" y="818"/>
                  </a:lnTo>
                  <a:lnTo>
                    <a:pt x="468" y="811"/>
                  </a:lnTo>
                  <a:lnTo>
                    <a:pt x="467" y="805"/>
                  </a:lnTo>
                  <a:lnTo>
                    <a:pt x="468" y="799"/>
                  </a:lnTo>
                  <a:lnTo>
                    <a:pt x="472" y="793"/>
                  </a:lnTo>
                  <a:lnTo>
                    <a:pt x="477" y="792"/>
                  </a:lnTo>
                  <a:lnTo>
                    <a:pt x="483" y="794"/>
                  </a:lnTo>
                  <a:lnTo>
                    <a:pt x="488" y="794"/>
                  </a:lnTo>
                  <a:lnTo>
                    <a:pt x="496" y="790"/>
                  </a:lnTo>
                  <a:lnTo>
                    <a:pt x="499" y="791"/>
                  </a:lnTo>
                  <a:lnTo>
                    <a:pt x="503" y="792"/>
                  </a:lnTo>
                  <a:lnTo>
                    <a:pt x="513" y="792"/>
                  </a:lnTo>
                  <a:lnTo>
                    <a:pt x="520" y="790"/>
                  </a:lnTo>
                  <a:lnTo>
                    <a:pt x="520" y="787"/>
                  </a:lnTo>
                  <a:lnTo>
                    <a:pt x="512" y="782"/>
                  </a:lnTo>
                  <a:lnTo>
                    <a:pt x="509" y="777"/>
                  </a:lnTo>
                  <a:lnTo>
                    <a:pt x="512" y="775"/>
                  </a:lnTo>
                  <a:lnTo>
                    <a:pt x="517" y="774"/>
                  </a:lnTo>
                  <a:lnTo>
                    <a:pt x="525" y="775"/>
                  </a:lnTo>
                  <a:lnTo>
                    <a:pt x="531" y="771"/>
                  </a:lnTo>
                  <a:lnTo>
                    <a:pt x="536" y="769"/>
                  </a:lnTo>
                  <a:lnTo>
                    <a:pt x="541" y="768"/>
                  </a:lnTo>
                  <a:lnTo>
                    <a:pt x="548" y="769"/>
                  </a:lnTo>
                  <a:lnTo>
                    <a:pt x="556" y="770"/>
                  </a:lnTo>
                  <a:lnTo>
                    <a:pt x="563" y="774"/>
                  </a:lnTo>
                  <a:lnTo>
                    <a:pt x="567" y="777"/>
                  </a:lnTo>
                  <a:lnTo>
                    <a:pt x="562" y="779"/>
                  </a:lnTo>
                  <a:lnTo>
                    <a:pt x="557" y="778"/>
                  </a:lnTo>
                  <a:lnTo>
                    <a:pt x="555" y="781"/>
                  </a:lnTo>
                  <a:lnTo>
                    <a:pt x="552" y="785"/>
                  </a:lnTo>
                  <a:lnTo>
                    <a:pt x="551" y="791"/>
                  </a:lnTo>
                  <a:lnTo>
                    <a:pt x="548" y="793"/>
                  </a:lnTo>
                  <a:lnTo>
                    <a:pt x="565" y="810"/>
                  </a:lnTo>
                  <a:lnTo>
                    <a:pt x="568" y="815"/>
                  </a:lnTo>
                  <a:lnTo>
                    <a:pt x="573" y="816"/>
                  </a:lnTo>
                  <a:lnTo>
                    <a:pt x="579" y="815"/>
                  </a:lnTo>
                  <a:lnTo>
                    <a:pt x="580" y="811"/>
                  </a:lnTo>
                  <a:lnTo>
                    <a:pt x="584" y="808"/>
                  </a:lnTo>
                  <a:lnTo>
                    <a:pt x="591" y="808"/>
                  </a:lnTo>
                  <a:lnTo>
                    <a:pt x="594" y="807"/>
                  </a:lnTo>
                  <a:lnTo>
                    <a:pt x="601" y="808"/>
                  </a:lnTo>
                  <a:lnTo>
                    <a:pt x="608" y="810"/>
                  </a:lnTo>
                  <a:lnTo>
                    <a:pt x="613" y="809"/>
                  </a:lnTo>
                  <a:lnTo>
                    <a:pt x="619" y="808"/>
                  </a:lnTo>
                  <a:lnTo>
                    <a:pt x="621" y="805"/>
                  </a:lnTo>
                  <a:lnTo>
                    <a:pt x="623" y="800"/>
                  </a:lnTo>
                  <a:lnTo>
                    <a:pt x="623" y="798"/>
                  </a:lnTo>
                  <a:lnTo>
                    <a:pt x="623" y="794"/>
                  </a:lnTo>
                  <a:lnTo>
                    <a:pt x="625" y="790"/>
                  </a:lnTo>
                  <a:lnTo>
                    <a:pt x="624" y="786"/>
                  </a:lnTo>
                  <a:lnTo>
                    <a:pt x="624" y="783"/>
                  </a:lnTo>
                  <a:lnTo>
                    <a:pt x="625" y="778"/>
                  </a:lnTo>
                  <a:lnTo>
                    <a:pt x="629" y="774"/>
                  </a:lnTo>
                  <a:lnTo>
                    <a:pt x="635" y="770"/>
                  </a:lnTo>
                  <a:lnTo>
                    <a:pt x="639" y="766"/>
                  </a:lnTo>
                  <a:lnTo>
                    <a:pt x="639" y="761"/>
                  </a:lnTo>
                  <a:lnTo>
                    <a:pt x="642" y="758"/>
                  </a:lnTo>
                  <a:lnTo>
                    <a:pt x="647" y="752"/>
                  </a:lnTo>
                  <a:lnTo>
                    <a:pt x="650" y="749"/>
                  </a:lnTo>
                  <a:lnTo>
                    <a:pt x="655" y="750"/>
                  </a:lnTo>
                  <a:lnTo>
                    <a:pt x="659" y="750"/>
                  </a:lnTo>
                  <a:lnTo>
                    <a:pt x="663" y="750"/>
                  </a:lnTo>
                  <a:lnTo>
                    <a:pt x="667" y="750"/>
                  </a:lnTo>
                  <a:lnTo>
                    <a:pt x="671" y="753"/>
                  </a:lnTo>
                  <a:lnTo>
                    <a:pt x="673" y="758"/>
                  </a:lnTo>
                  <a:lnTo>
                    <a:pt x="681" y="761"/>
                  </a:lnTo>
                  <a:lnTo>
                    <a:pt x="684" y="763"/>
                  </a:lnTo>
                  <a:lnTo>
                    <a:pt x="689" y="767"/>
                  </a:lnTo>
                  <a:lnTo>
                    <a:pt x="690" y="770"/>
                  </a:lnTo>
                  <a:lnTo>
                    <a:pt x="689" y="775"/>
                  </a:lnTo>
                  <a:lnTo>
                    <a:pt x="687" y="778"/>
                  </a:lnTo>
                  <a:lnTo>
                    <a:pt x="684" y="783"/>
                  </a:lnTo>
                  <a:lnTo>
                    <a:pt x="681" y="789"/>
                  </a:lnTo>
                  <a:lnTo>
                    <a:pt x="677" y="794"/>
                  </a:lnTo>
                  <a:lnTo>
                    <a:pt x="676" y="799"/>
                  </a:lnTo>
                  <a:lnTo>
                    <a:pt x="675" y="808"/>
                  </a:lnTo>
                  <a:lnTo>
                    <a:pt x="676" y="814"/>
                  </a:lnTo>
                  <a:lnTo>
                    <a:pt x="679" y="819"/>
                  </a:lnTo>
                  <a:lnTo>
                    <a:pt x="682" y="825"/>
                  </a:lnTo>
                  <a:lnTo>
                    <a:pt x="685" y="834"/>
                  </a:lnTo>
                  <a:lnTo>
                    <a:pt x="687" y="838"/>
                  </a:lnTo>
                  <a:lnTo>
                    <a:pt x="685" y="842"/>
                  </a:lnTo>
                  <a:lnTo>
                    <a:pt x="684" y="846"/>
                  </a:lnTo>
                  <a:lnTo>
                    <a:pt x="680" y="849"/>
                  </a:lnTo>
                  <a:lnTo>
                    <a:pt x="675" y="855"/>
                  </a:lnTo>
                  <a:lnTo>
                    <a:pt x="672" y="859"/>
                  </a:lnTo>
                  <a:lnTo>
                    <a:pt x="671" y="865"/>
                  </a:lnTo>
                  <a:lnTo>
                    <a:pt x="669" y="875"/>
                  </a:lnTo>
                  <a:lnTo>
                    <a:pt x="671" y="882"/>
                  </a:lnTo>
                  <a:lnTo>
                    <a:pt x="672" y="887"/>
                  </a:lnTo>
                  <a:lnTo>
                    <a:pt x="674" y="890"/>
                  </a:lnTo>
                  <a:lnTo>
                    <a:pt x="673" y="894"/>
                  </a:lnTo>
                  <a:lnTo>
                    <a:pt x="672" y="897"/>
                  </a:lnTo>
                  <a:lnTo>
                    <a:pt x="677" y="897"/>
                  </a:lnTo>
                  <a:lnTo>
                    <a:pt x="681" y="896"/>
                  </a:lnTo>
                  <a:lnTo>
                    <a:pt x="683" y="898"/>
                  </a:lnTo>
                  <a:lnTo>
                    <a:pt x="687" y="901"/>
                  </a:lnTo>
                  <a:lnTo>
                    <a:pt x="695" y="899"/>
                  </a:lnTo>
                  <a:lnTo>
                    <a:pt x="696" y="895"/>
                  </a:lnTo>
                  <a:lnTo>
                    <a:pt x="695" y="890"/>
                  </a:lnTo>
                  <a:lnTo>
                    <a:pt x="698" y="880"/>
                  </a:lnTo>
                  <a:lnTo>
                    <a:pt x="703" y="878"/>
                  </a:lnTo>
                  <a:lnTo>
                    <a:pt x="707" y="877"/>
                  </a:lnTo>
                  <a:lnTo>
                    <a:pt x="711" y="874"/>
                  </a:lnTo>
                  <a:lnTo>
                    <a:pt x="713" y="871"/>
                  </a:lnTo>
                  <a:lnTo>
                    <a:pt x="712" y="866"/>
                  </a:lnTo>
                  <a:lnTo>
                    <a:pt x="707" y="859"/>
                  </a:lnTo>
                  <a:lnTo>
                    <a:pt x="712" y="858"/>
                  </a:lnTo>
                  <a:lnTo>
                    <a:pt x="716" y="861"/>
                  </a:lnTo>
                  <a:lnTo>
                    <a:pt x="721" y="863"/>
                  </a:lnTo>
                  <a:lnTo>
                    <a:pt x="725" y="864"/>
                  </a:lnTo>
                  <a:lnTo>
                    <a:pt x="730" y="865"/>
                  </a:lnTo>
                  <a:lnTo>
                    <a:pt x="738" y="865"/>
                  </a:lnTo>
                  <a:lnTo>
                    <a:pt x="752" y="865"/>
                  </a:lnTo>
                  <a:lnTo>
                    <a:pt x="756" y="861"/>
                  </a:lnTo>
                  <a:lnTo>
                    <a:pt x="761" y="861"/>
                  </a:lnTo>
                  <a:lnTo>
                    <a:pt x="764" y="862"/>
                  </a:lnTo>
                  <a:lnTo>
                    <a:pt x="771" y="861"/>
                  </a:lnTo>
                  <a:lnTo>
                    <a:pt x="775" y="858"/>
                  </a:lnTo>
                  <a:lnTo>
                    <a:pt x="781" y="855"/>
                  </a:lnTo>
                  <a:lnTo>
                    <a:pt x="788" y="851"/>
                  </a:lnTo>
                  <a:lnTo>
                    <a:pt x="792" y="848"/>
                  </a:lnTo>
                  <a:lnTo>
                    <a:pt x="797" y="848"/>
                  </a:lnTo>
                  <a:lnTo>
                    <a:pt x="803" y="848"/>
                  </a:lnTo>
                  <a:lnTo>
                    <a:pt x="811" y="848"/>
                  </a:lnTo>
                  <a:lnTo>
                    <a:pt x="815" y="845"/>
                  </a:lnTo>
                  <a:lnTo>
                    <a:pt x="813" y="841"/>
                  </a:lnTo>
                  <a:lnTo>
                    <a:pt x="813" y="838"/>
                  </a:lnTo>
                  <a:lnTo>
                    <a:pt x="820" y="838"/>
                  </a:lnTo>
                  <a:lnTo>
                    <a:pt x="826" y="837"/>
                  </a:lnTo>
                  <a:lnTo>
                    <a:pt x="828" y="832"/>
                  </a:lnTo>
                  <a:lnTo>
                    <a:pt x="827" y="827"/>
                  </a:lnTo>
                  <a:lnTo>
                    <a:pt x="829" y="822"/>
                  </a:lnTo>
                  <a:lnTo>
                    <a:pt x="835" y="822"/>
                  </a:lnTo>
                  <a:lnTo>
                    <a:pt x="841" y="823"/>
                  </a:lnTo>
                  <a:lnTo>
                    <a:pt x="843" y="821"/>
                  </a:lnTo>
                  <a:lnTo>
                    <a:pt x="843" y="816"/>
                  </a:lnTo>
                  <a:lnTo>
                    <a:pt x="845" y="810"/>
                  </a:lnTo>
                  <a:lnTo>
                    <a:pt x="843" y="807"/>
                  </a:lnTo>
                  <a:lnTo>
                    <a:pt x="844" y="801"/>
                  </a:lnTo>
                  <a:lnTo>
                    <a:pt x="842" y="794"/>
                  </a:lnTo>
                  <a:lnTo>
                    <a:pt x="840" y="791"/>
                  </a:lnTo>
                  <a:lnTo>
                    <a:pt x="839" y="783"/>
                  </a:lnTo>
                  <a:lnTo>
                    <a:pt x="839" y="777"/>
                  </a:lnTo>
                  <a:lnTo>
                    <a:pt x="839" y="770"/>
                  </a:lnTo>
                  <a:lnTo>
                    <a:pt x="835" y="761"/>
                  </a:lnTo>
                  <a:lnTo>
                    <a:pt x="832" y="757"/>
                  </a:lnTo>
                  <a:lnTo>
                    <a:pt x="827" y="753"/>
                  </a:lnTo>
                  <a:lnTo>
                    <a:pt x="829" y="746"/>
                  </a:lnTo>
                  <a:lnTo>
                    <a:pt x="839" y="739"/>
                  </a:lnTo>
                  <a:lnTo>
                    <a:pt x="839" y="736"/>
                  </a:lnTo>
                  <a:lnTo>
                    <a:pt x="835" y="733"/>
                  </a:lnTo>
                  <a:lnTo>
                    <a:pt x="832" y="729"/>
                  </a:lnTo>
                  <a:lnTo>
                    <a:pt x="829" y="725"/>
                  </a:lnTo>
                  <a:lnTo>
                    <a:pt x="827" y="719"/>
                  </a:lnTo>
                  <a:lnTo>
                    <a:pt x="826" y="713"/>
                  </a:lnTo>
                  <a:lnTo>
                    <a:pt x="825" y="704"/>
                  </a:lnTo>
                  <a:lnTo>
                    <a:pt x="827" y="699"/>
                  </a:lnTo>
                  <a:lnTo>
                    <a:pt x="828" y="695"/>
                  </a:lnTo>
                  <a:lnTo>
                    <a:pt x="828" y="688"/>
                  </a:lnTo>
                  <a:lnTo>
                    <a:pt x="824" y="685"/>
                  </a:lnTo>
                  <a:lnTo>
                    <a:pt x="821" y="683"/>
                  </a:lnTo>
                  <a:lnTo>
                    <a:pt x="815" y="682"/>
                  </a:lnTo>
                  <a:lnTo>
                    <a:pt x="807" y="680"/>
                  </a:lnTo>
                  <a:lnTo>
                    <a:pt x="799" y="678"/>
                  </a:lnTo>
                  <a:lnTo>
                    <a:pt x="793" y="674"/>
                  </a:lnTo>
                  <a:lnTo>
                    <a:pt x="791" y="677"/>
                  </a:lnTo>
                  <a:lnTo>
                    <a:pt x="783" y="679"/>
                  </a:lnTo>
                  <a:lnTo>
                    <a:pt x="776" y="678"/>
                  </a:lnTo>
                  <a:lnTo>
                    <a:pt x="771" y="680"/>
                  </a:lnTo>
                  <a:lnTo>
                    <a:pt x="769" y="683"/>
                  </a:lnTo>
                  <a:lnTo>
                    <a:pt x="764" y="688"/>
                  </a:lnTo>
                  <a:lnTo>
                    <a:pt x="760" y="690"/>
                  </a:lnTo>
                  <a:lnTo>
                    <a:pt x="754" y="689"/>
                  </a:lnTo>
                  <a:lnTo>
                    <a:pt x="747" y="685"/>
                  </a:lnTo>
                  <a:lnTo>
                    <a:pt x="743" y="687"/>
                  </a:lnTo>
                  <a:lnTo>
                    <a:pt x="733" y="685"/>
                  </a:lnTo>
                  <a:lnTo>
                    <a:pt x="733" y="681"/>
                  </a:lnTo>
                  <a:lnTo>
                    <a:pt x="733" y="674"/>
                  </a:lnTo>
                  <a:lnTo>
                    <a:pt x="730" y="672"/>
                  </a:lnTo>
                  <a:lnTo>
                    <a:pt x="727" y="670"/>
                  </a:lnTo>
                  <a:lnTo>
                    <a:pt x="723" y="667"/>
                  </a:lnTo>
                  <a:lnTo>
                    <a:pt x="723" y="664"/>
                  </a:lnTo>
                  <a:lnTo>
                    <a:pt x="722" y="661"/>
                  </a:lnTo>
                  <a:lnTo>
                    <a:pt x="721" y="661"/>
                  </a:lnTo>
                  <a:lnTo>
                    <a:pt x="715" y="661"/>
                  </a:lnTo>
                  <a:lnTo>
                    <a:pt x="711" y="659"/>
                  </a:lnTo>
                  <a:lnTo>
                    <a:pt x="706" y="661"/>
                  </a:lnTo>
                  <a:lnTo>
                    <a:pt x="703" y="664"/>
                  </a:lnTo>
                  <a:lnTo>
                    <a:pt x="697" y="666"/>
                  </a:lnTo>
                  <a:lnTo>
                    <a:pt x="692" y="666"/>
                  </a:lnTo>
                  <a:lnTo>
                    <a:pt x="684" y="666"/>
                  </a:lnTo>
                  <a:lnTo>
                    <a:pt x="680" y="667"/>
                  </a:lnTo>
                  <a:lnTo>
                    <a:pt x="673" y="669"/>
                  </a:lnTo>
                  <a:lnTo>
                    <a:pt x="668" y="666"/>
                  </a:lnTo>
                  <a:lnTo>
                    <a:pt x="666" y="663"/>
                  </a:lnTo>
                  <a:lnTo>
                    <a:pt x="661" y="657"/>
                  </a:lnTo>
                  <a:lnTo>
                    <a:pt x="659" y="656"/>
                  </a:lnTo>
                  <a:lnTo>
                    <a:pt x="657" y="655"/>
                  </a:lnTo>
                  <a:lnTo>
                    <a:pt x="656" y="651"/>
                  </a:lnTo>
                  <a:lnTo>
                    <a:pt x="658" y="648"/>
                  </a:lnTo>
                  <a:lnTo>
                    <a:pt x="661" y="646"/>
                  </a:lnTo>
                  <a:lnTo>
                    <a:pt x="665" y="642"/>
                  </a:lnTo>
                  <a:lnTo>
                    <a:pt x="665" y="639"/>
                  </a:lnTo>
                  <a:lnTo>
                    <a:pt x="665" y="635"/>
                  </a:lnTo>
                  <a:lnTo>
                    <a:pt x="668" y="634"/>
                  </a:lnTo>
                  <a:lnTo>
                    <a:pt x="673" y="633"/>
                  </a:lnTo>
                  <a:lnTo>
                    <a:pt x="675" y="631"/>
                  </a:lnTo>
                  <a:lnTo>
                    <a:pt x="679" y="626"/>
                  </a:lnTo>
                  <a:lnTo>
                    <a:pt x="682" y="623"/>
                  </a:lnTo>
                  <a:lnTo>
                    <a:pt x="684" y="619"/>
                  </a:lnTo>
                  <a:lnTo>
                    <a:pt x="687" y="615"/>
                  </a:lnTo>
                  <a:lnTo>
                    <a:pt x="689" y="611"/>
                  </a:lnTo>
                  <a:lnTo>
                    <a:pt x="689" y="608"/>
                  </a:lnTo>
                  <a:lnTo>
                    <a:pt x="688" y="602"/>
                  </a:lnTo>
                  <a:lnTo>
                    <a:pt x="687" y="599"/>
                  </a:lnTo>
                  <a:lnTo>
                    <a:pt x="687" y="593"/>
                  </a:lnTo>
                  <a:lnTo>
                    <a:pt x="689" y="589"/>
                  </a:lnTo>
                  <a:lnTo>
                    <a:pt x="692" y="585"/>
                  </a:lnTo>
                  <a:lnTo>
                    <a:pt x="696" y="582"/>
                  </a:lnTo>
                  <a:lnTo>
                    <a:pt x="700" y="578"/>
                  </a:lnTo>
                  <a:lnTo>
                    <a:pt x="706" y="576"/>
                  </a:lnTo>
                  <a:lnTo>
                    <a:pt x="711" y="576"/>
                  </a:lnTo>
                  <a:lnTo>
                    <a:pt x="714" y="569"/>
                  </a:lnTo>
                  <a:lnTo>
                    <a:pt x="714" y="565"/>
                  </a:lnTo>
                  <a:lnTo>
                    <a:pt x="717" y="559"/>
                  </a:lnTo>
                  <a:lnTo>
                    <a:pt x="722" y="557"/>
                  </a:lnTo>
                  <a:lnTo>
                    <a:pt x="727" y="554"/>
                  </a:lnTo>
                  <a:lnTo>
                    <a:pt x="731" y="550"/>
                  </a:lnTo>
                  <a:lnTo>
                    <a:pt x="735" y="546"/>
                  </a:lnTo>
                  <a:lnTo>
                    <a:pt x="737" y="542"/>
                  </a:lnTo>
                  <a:lnTo>
                    <a:pt x="741" y="535"/>
                  </a:lnTo>
                  <a:lnTo>
                    <a:pt x="748" y="530"/>
                  </a:lnTo>
                  <a:lnTo>
                    <a:pt x="749" y="525"/>
                  </a:lnTo>
                  <a:lnTo>
                    <a:pt x="749" y="519"/>
                  </a:lnTo>
                  <a:lnTo>
                    <a:pt x="748" y="515"/>
                  </a:lnTo>
                  <a:lnTo>
                    <a:pt x="745" y="512"/>
                  </a:lnTo>
                  <a:lnTo>
                    <a:pt x="743" y="506"/>
                  </a:lnTo>
                  <a:lnTo>
                    <a:pt x="741" y="501"/>
                  </a:lnTo>
                  <a:lnTo>
                    <a:pt x="741" y="495"/>
                  </a:lnTo>
                  <a:lnTo>
                    <a:pt x="741" y="483"/>
                  </a:lnTo>
                  <a:lnTo>
                    <a:pt x="741" y="473"/>
                  </a:lnTo>
                  <a:lnTo>
                    <a:pt x="739" y="467"/>
                  </a:lnTo>
                  <a:lnTo>
                    <a:pt x="738" y="461"/>
                  </a:lnTo>
                  <a:lnTo>
                    <a:pt x="738" y="453"/>
                  </a:lnTo>
                  <a:lnTo>
                    <a:pt x="739" y="445"/>
                  </a:lnTo>
                  <a:lnTo>
                    <a:pt x="738" y="439"/>
                  </a:lnTo>
                  <a:lnTo>
                    <a:pt x="738" y="433"/>
                  </a:lnTo>
                  <a:lnTo>
                    <a:pt x="735" y="425"/>
                  </a:lnTo>
                  <a:lnTo>
                    <a:pt x="731" y="419"/>
                  </a:lnTo>
                  <a:lnTo>
                    <a:pt x="723" y="413"/>
                  </a:lnTo>
                  <a:lnTo>
                    <a:pt x="720" y="409"/>
                  </a:lnTo>
                  <a:lnTo>
                    <a:pt x="716" y="406"/>
                  </a:lnTo>
                  <a:lnTo>
                    <a:pt x="713" y="398"/>
                  </a:lnTo>
                  <a:lnTo>
                    <a:pt x="713" y="393"/>
                  </a:lnTo>
                  <a:lnTo>
                    <a:pt x="714" y="389"/>
                  </a:lnTo>
                  <a:lnTo>
                    <a:pt x="713" y="384"/>
                  </a:lnTo>
                  <a:lnTo>
                    <a:pt x="716" y="377"/>
                  </a:lnTo>
                  <a:lnTo>
                    <a:pt x="719" y="371"/>
                  </a:lnTo>
                  <a:lnTo>
                    <a:pt x="723" y="365"/>
                  </a:lnTo>
                  <a:lnTo>
                    <a:pt x="724" y="361"/>
                  </a:lnTo>
                  <a:lnTo>
                    <a:pt x="724" y="350"/>
                  </a:lnTo>
                  <a:lnTo>
                    <a:pt x="725" y="345"/>
                  </a:lnTo>
                  <a:lnTo>
                    <a:pt x="727" y="339"/>
                  </a:lnTo>
                  <a:lnTo>
                    <a:pt x="729" y="335"/>
                  </a:lnTo>
                  <a:lnTo>
                    <a:pt x="735" y="323"/>
                  </a:lnTo>
                  <a:lnTo>
                    <a:pt x="739" y="315"/>
                  </a:lnTo>
                  <a:lnTo>
                    <a:pt x="745" y="307"/>
                  </a:lnTo>
                  <a:lnTo>
                    <a:pt x="746" y="301"/>
                  </a:lnTo>
                  <a:lnTo>
                    <a:pt x="746" y="291"/>
                  </a:lnTo>
                  <a:lnTo>
                    <a:pt x="746" y="288"/>
                  </a:lnTo>
                  <a:lnTo>
                    <a:pt x="747" y="281"/>
                  </a:lnTo>
                  <a:lnTo>
                    <a:pt x="748" y="277"/>
                  </a:lnTo>
                  <a:lnTo>
                    <a:pt x="753" y="273"/>
                  </a:lnTo>
                  <a:lnTo>
                    <a:pt x="759" y="269"/>
                  </a:lnTo>
                  <a:lnTo>
                    <a:pt x="764" y="265"/>
                  </a:lnTo>
                  <a:lnTo>
                    <a:pt x="769" y="262"/>
                  </a:lnTo>
                  <a:lnTo>
                    <a:pt x="772" y="257"/>
                  </a:lnTo>
                  <a:lnTo>
                    <a:pt x="777" y="253"/>
                  </a:lnTo>
                  <a:lnTo>
                    <a:pt x="780" y="248"/>
                  </a:lnTo>
                  <a:lnTo>
                    <a:pt x="785" y="243"/>
                  </a:lnTo>
                  <a:lnTo>
                    <a:pt x="791" y="239"/>
                  </a:lnTo>
                  <a:lnTo>
                    <a:pt x="795" y="233"/>
                  </a:lnTo>
                  <a:lnTo>
                    <a:pt x="801" y="227"/>
                  </a:lnTo>
                  <a:lnTo>
                    <a:pt x="805" y="222"/>
                  </a:lnTo>
                  <a:lnTo>
                    <a:pt x="810" y="218"/>
                  </a:lnTo>
                  <a:lnTo>
                    <a:pt x="815" y="214"/>
                  </a:lnTo>
                  <a:lnTo>
                    <a:pt x="820" y="209"/>
                  </a:lnTo>
                  <a:lnTo>
                    <a:pt x="824" y="202"/>
                  </a:lnTo>
                  <a:lnTo>
                    <a:pt x="827" y="195"/>
                  </a:lnTo>
                  <a:lnTo>
                    <a:pt x="833" y="190"/>
                  </a:lnTo>
                  <a:lnTo>
                    <a:pt x="839" y="186"/>
                  </a:lnTo>
                  <a:lnTo>
                    <a:pt x="845" y="184"/>
                  </a:lnTo>
                  <a:lnTo>
                    <a:pt x="850" y="179"/>
                  </a:lnTo>
                  <a:lnTo>
                    <a:pt x="855" y="175"/>
                  </a:lnTo>
                  <a:lnTo>
                    <a:pt x="858" y="171"/>
                  </a:lnTo>
                  <a:lnTo>
                    <a:pt x="860" y="168"/>
                  </a:lnTo>
                  <a:lnTo>
                    <a:pt x="860" y="163"/>
                  </a:lnTo>
                  <a:lnTo>
                    <a:pt x="860" y="160"/>
                  </a:lnTo>
                  <a:lnTo>
                    <a:pt x="860" y="157"/>
                  </a:lnTo>
                  <a:lnTo>
                    <a:pt x="860" y="151"/>
                  </a:lnTo>
                  <a:lnTo>
                    <a:pt x="858" y="147"/>
                  </a:lnTo>
                  <a:lnTo>
                    <a:pt x="857" y="146"/>
                  </a:lnTo>
                  <a:lnTo>
                    <a:pt x="855" y="145"/>
                  </a:lnTo>
                  <a:lnTo>
                    <a:pt x="851" y="142"/>
                  </a:lnTo>
                  <a:lnTo>
                    <a:pt x="848" y="139"/>
                  </a:lnTo>
                  <a:lnTo>
                    <a:pt x="837" y="135"/>
                  </a:lnTo>
                  <a:lnTo>
                    <a:pt x="835" y="135"/>
                  </a:lnTo>
                  <a:lnTo>
                    <a:pt x="831" y="137"/>
                  </a:lnTo>
                  <a:lnTo>
                    <a:pt x="826" y="137"/>
                  </a:lnTo>
                  <a:lnTo>
                    <a:pt x="826" y="134"/>
                  </a:lnTo>
                  <a:lnTo>
                    <a:pt x="825" y="129"/>
                  </a:lnTo>
                  <a:lnTo>
                    <a:pt x="819" y="130"/>
                  </a:lnTo>
                  <a:lnTo>
                    <a:pt x="816" y="133"/>
                  </a:lnTo>
                  <a:lnTo>
                    <a:pt x="812" y="136"/>
                  </a:lnTo>
                  <a:lnTo>
                    <a:pt x="808" y="138"/>
                  </a:lnTo>
                  <a:lnTo>
                    <a:pt x="802" y="136"/>
                  </a:lnTo>
                  <a:lnTo>
                    <a:pt x="801" y="135"/>
                  </a:lnTo>
                  <a:lnTo>
                    <a:pt x="795" y="131"/>
                  </a:lnTo>
                  <a:lnTo>
                    <a:pt x="792" y="128"/>
                  </a:lnTo>
                  <a:lnTo>
                    <a:pt x="785" y="128"/>
                  </a:lnTo>
                  <a:lnTo>
                    <a:pt x="779" y="128"/>
                  </a:lnTo>
                  <a:lnTo>
                    <a:pt x="775" y="128"/>
                  </a:lnTo>
                  <a:lnTo>
                    <a:pt x="771" y="126"/>
                  </a:lnTo>
                  <a:lnTo>
                    <a:pt x="763" y="121"/>
                  </a:lnTo>
                  <a:lnTo>
                    <a:pt x="760" y="119"/>
                  </a:lnTo>
                  <a:lnTo>
                    <a:pt x="755" y="117"/>
                  </a:lnTo>
                  <a:lnTo>
                    <a:pt x="752" y="114"/>
                  </a:lnTo>
                  <a:lnTo>
                    <a:pt x="747" y="112"/>
                  </a:lnTo>
                  <a:lnTo>
                    <a:pt x="740" y="110"/>
                  </a:lnTo>
                  <a:lnTo>
                    <a:pt x="735" y="106"/>
                  </a:lnTo>
                  <a:lnTo>
                    <a:pt x="731" y="105"/>
                  </a:lnTo>
                  <a:lnTo>
                    <a:pt x="728" y="101"/>
                  </a:lnTo>
                  <a:lnTo>
                    <a:pt x="730" y="96"/>
                  </a:lnTo>
                  <a:lnTo>
                    <a:pt x="736" y="95"/>
                  </a:lnTo>
                  <a:lnTo>
                    <a:pt x="737" y="93"/>
                  </a:lnTo>
                  <a:lnTo>
                    <a:pt x="735" y="89"/>
                  </a:lnTo>
                  <a:lnTo>
                    <a:pt x="733" y="85"/>
                  </a:lnTo>
                  <a:lnTo>
                    <a:pt x="733" y="80"/>
                  </a:lnTo>
                  <a:lnTo>
                    <a:pt x="735" y="74"/>
                  </a:lnTo>
                  <a:lnTo>
                    <a:pt x="732" y="70"/>
                  </a:lnTo>
                  <a:lnTo>
                    <a:pt x="730" y="63"/>
                  </a:lnTo>
                  <a:lnTo>
                    <a:pt x="725" y="55"/>
                  </a:lnTo>
                  <a:lnTo>
                    <a:pt x="720" y="51"/>
                  </a:lnTo>
                  <a:lnTo>
                    <a:pt x="715" y="49"/>
                  </a:lnTo>
                  <a:lnTo>
                    <a:pt x="707" y="46"/>
                  </a:lnTo>
                  <a:lnTo>
                    <a:pt x="703" y="45"/>
                  </a:lnTo>
                  <a:lnTo>
                    <a:pt x="700" y="40"/>
                  </a:lnTo>
                  <a:lnTo>
                    <a:pt x="700" y="37"/>
                  </a:lnTo>
                  <a:lnTo>
                    <a:pt x="699" y="32"/>
                  </a:lnTo>
                  <a:lnTo>
                    <a:pt x="698" y="30"/>
                  </a:lnTo>
                  <a:lnTo>
                    <a:pt x="695" y="32"/>
                  </a:lnTo>
                  <a:lnTo>
                    <a:pt x="690" y="33"/>
                  </a:lnTo>
                  <a:lnTo>
                    <a:pt x="685" y="31"/>
                  </a:lnTo>
                  <a:lnTo>
                    <a:pt x="680" y="25"/>
                  </a:lnTo>
                  <a:lnTo>
                    <a:pt x="671" y="23"/>
                  </a:lnTo>
                  <a:lnTo>
                    <a:pt x="664" y="23"/>
                  </a:lnTo>
                  <a:lnTo>
                    <a:pt x="659" y="24"/>
                  </a:lnTo>
                  <a:lnTo>
                    <a:pt x="653" y="24"/>
                  </a:lnTo>
                  <a:lnTo>
                    <a:pt x="648" y="23"/>
                  </a:lnTo>
                  <a:lnTo>
                    <a:pt x="647" y="23"/>
                  </a:lnTo>
                  <a:lnTo>
                    <a:pt x="642" y="21"/>
                  </a:lnTo>
                  <a:lnTo>
                    <a:pt x="641" y="16"/>
                  </a:lnTo>
                  <a:lnTo>
                    <a:pt x="636" y="8"/>
                  </a:lnTo>
                  <a:lnTo>
                    <a:pt x="629" y="0"/>
                  </a:lnTo>
                  <a:lnTo>
                    <a:pt x="631" y="3"/>
                  </a:lnTo>
                  <a:lnTo>
                    <a:pt x="633" y="6"/>
                  </a:lnTo>
                  <a:lnTo>
                    <a:pt x="632" y="11"/>
                  </a:lnTo>
                  <a:lnTo>
                    <a:pt x="632" y="18"/>
                  </a:lnTo>
                  <a:lnTo>
                    <a:pt x="633" y="21"/>
                  </a:lnTo>
                  <a:lnTo>
                    <a:pt x="635" y="23"/>
                  </a:lnTo>
                  <a:lnTo>
                    <a:pt x="637" y="26"/>
                  </a:lnTo>
                  <a:lnTo>
                    <a:pt x="635" y="30"/>
                  </a:lnTo>
                  <a:lnTo>
                    <a:pt x="632" y="34"/>
                  </a:lnTo>
                  <a:lnTo>
                    <a:pt x="627" y="38"/>
                  </a:lnTo>
                  <a:lnTo>
                    <a:pt x="621" y="41"/>
                  </a:lnTo>
                  <a:lnTo>
                    <a:pt x="619" y="45"/>
                  </a:lnTo>
                  <a:lnTo>
                    <a:pt x="619" y="49"/>
                  </a:lnTo>
                  <a:lnTo>
                    <a:pt x="619" y="56"/>
                  </a:lnTo>
                  <a:lnTo>
                    <a:pt x="621" y="61"/>
                  </a:lnTo>
                  <a:lnTo>
                    <a:pt x="625" y="62"/>
                  </a:lnTo>
                  <a:lnTo>
                    <a:pt x="629" y="65"/>
                  </a:lnTo>
                  <a:lnTo>
                    <a:pt x="634" y="67"/>
                  </a:lnTo>
                  <a:lnTo>
                    <a:pt x="639" y="70"/>
                  </a:lnTo>
                  <a:lnTo>
                    <a:pt x="643" y="72"/>
                  </a:lnTo>
                  <a:lnTo>
                    <a:pt x="648" y="73"/>
                  </a:lnTo>
                  <a:lnTo>
                    <a:pt x="657" y="75"/>
                  </a:lnTo>
                  <a:lnTo>
                    <a:pt x="667" y="80"/>
                  </a:lnTo>
                  <a:lnTo>
                    <a:pt x="672" y="85"/>
                  </a:lnTo>
                  <a:lnTo>
                    <a:pt x="674" y="89"/>
                  </a:lnTo>
                  <a:lnTo>
                    <a:pt x="674" y="96"/>
                  </a:lnTo>
                  <a:lnTo>
                    <a:pt x="671" y="99"/>
                  </a:lnTo>
                  <a:lnTo>
                    <a:pt x="667" y="103"/>
                  </a:lnTo>
                  <a:lnTo>
                    <a:pt x="666" y="106"/>
                  </a:lnTo>
                  <a:lnTo>
                    <a:pt x="666" y="109"/>
                  </a:lnTo>
                  <a:lnTo>
                    <a:pt x="668" y="110"/>
                  </a:lnTo>
                  <a:lnTo>
                    <a:pt x="674" y="110"/>
                  </a:lnTo>
                  <a:lnTo>
                    <a:pt x="677" y="111"/>
                  </a:lnTo>
                  <a:lnTo>
                    <a:pt x="677" y="113"/>
                  </a:lnTo>
                  <a:lnTo>
                    <a:pt x="679" y="117"/>
                  </a:lnTo>
                  <a:lnTo>
                    <a:pt x="674" y="119"/>
                  </a:lnTo>
                  <a:lnTo>
                    <a:pt x="666" y="120"/>
                  </a:lnTo>
                  <a:lnTo>
                    <a:pt x="659" y="122"/>
                  </a:lnTo>
                  <a:lnTo>
                    <a:pt x="652" y="126"/>
                  </a:lnTo>
                  <a:lnTo>
                    <a:pt x="650" y="127"/>
                  </a:lnTo>
                  <a:lnTo>
                    <a:pt x="651" y="129"/>
                  </a:lnTo>
                  <a:lnTo>
                    <a:pt x="653" y="131"/>
                  </a:lnTo>
                  <a:lnTo>
                    <a:pt x="657" y="136"/>
                  </a:lnTo>
                  <a:lnTo>
                    <a:pt x="657" y="138"/>
                  </a:lnTo>
                  <a:lnTo>
                    <a:pt x="652" y="139"/>
                  </a:lnTo>
                  <a:lnTo>
                    <a:pt x="649" y="137"/>
                  </a:lnTo>
                  <a:lnTo>
                    <a:pt x="643" y="135"/>
                  </a:lnTo>
                  <a:lnTo>
                    <a:pt x="634" y="135"/>
                  </a:lnTo>
                  <a:lnTo>
                    <a:pt x="631" y="134"/>
                  </a:lnTo>
                  <a:lnTo>
                    <a:pt x="626" y="135"/>
                  </a:lnTo>
                  <a:lnTo>
                    <a:pt x="624" y="143"/>
                  </a:lnTo>
                  <a:lnTo>
                    <a:pt x="624" y="149"/>
                  </a:lnTo>
                  <a:lnTo>
                    <a:pt x="623" y="153"/>
                  </a:lnTo>
                  <a:lnTo>
                    <a:pt x="620" y="158"/>
                  </a:lnTo>
                  <a:lnTo>
                    <a:pt x="617" y="162"/>
                  </a:lnTo>
                  <a:lnTo>
                    <a:pt x="613" y="166"/>
                  </a:lnTo>
                  <a:lnTo>
                    <a:pt x="608" y="168"/>
                  </a:lnTo>
                  <a:lnTo>
                    <a:pt x="594" y="173"/>
                  </a:lnTo>
                  <a:lnTo>
                    <a:pt x="586" y="179"/>
                  </a:lnTo>
                  <a:lnTo>
                    <a:pt x="585" y="182"/>
                  </a:lnTo>
                  <a:lnTo>
                    <a:pt x="581" y="184"/>
                  </a:lnTo>
                  <a:lnTo>
                    <a:pt x="578" y="185"/>
                  </a:lnTo>
                  <a:lnTo>
                    <a:pt x="575" y="193"/>
                  </a:lnTo>
                  <a:lnTo>
                    <a:pt x="578" y="195"/>
                  </a:lnTo>
                  <a:lnTo>
                    <a:pt x="579" y="195"/>
                  </a:lnTo>
                  <a:lnTo>
                    <a:pt x="583" y="194"/>
                  </a:lnTo>
                  <a:lnTo>
                    <a:pt x="586" y="192"/>
                  </a:lnTo>
                  <a:lnTo>
                    <a:pt x="591" y="191"/>
                  </a:lnTo>
                  <a:lnTo>
                    <a:pt x="595" y="192"/>
                  </a:lnTo>
                  <a:lnTo>
                    <a:pt x="596" y="195"/>
                  </a:lnTo>
                  <a:lnTo>
                    <a:pt x="596" y="198"/>
                  </a:lnTo>
                  <a:lnTo>
                    <a:pt x="599" y="198"/>
                  </a:lnTo>
                  <a:lnTo>
                    <a:pt x="599" y="203"/>
                  </a:lnTo>
                  <a:lnTo>
                    <a:pt x="599" y="208"/>
                  </a:lnTo>
                  <a:lnTo>
                    <a:pt x="596" y="211"/>
                  </a:lnTo>
                  <a:lnTo>
                    <a:pt x="594" y="216"/>
                  </a:lnTo>
                  <a:lnTo>
                    <a:pt x="591" y="219"/>
                  </a:lnTo>
                  <a:lnTo>
                    <a:pt x="587" y="223"/>
                  </a:lnTo>
                  <a:lnTo>
                    <a:pt x="586" y="227"/>
                  </a:lnTo>
                  <a:lnTo>
                    <a:pt x="584" y="231"/>
                  </a:lnTo>
                  <a:lnTo>
                    <a:pt x="580" y="238"/>
                  </a:lnTo>
                  <a:lnTo>
                    <a:pt x="578" y="242"/>
                  </a:lnTo>
                  <a:lnTo>
                    <a:pt x="575" y="243"/>
                  </a:lnTo>
                  <a:lnTo>
                    <a:pt x="570" y="243"/>
                  </a:lnTo>
                  <a:lnTo>
                    <a:pt x="564" y="241"/>
                  </a:lnTo>
                  <a:lnTo>
                    <a:pt x="561" y="235"/>
                  </a:lnTo>
                  <a:lnTo>
                    <a:pt x="559" y="231"/>
                  </a:lnTo>
                  <a:lnTo>
                    <a:pt x="556" y="226"/>
                  </a:lnTo>
                  <a:lnTo>
                    <a:pt x="553" y="222"/>
                  </a:lnTo>
                  <a:lnTo>
                    <a:pt x="549" y="218"/>
                  </a:lnTo>
                  <a:lnTo>
                    <a:pt x="545" y="217"/>
                  </a:lnTo>
                  <a:lnTo>
                    <a:pt x="541" y="217"/>
                  </a:lnTo>
                  <a:lnTo>
                    <a:pt x="537" y="219"/>
                  </a:lnTo>
                  <a:lnTo>
                    <a:pt x="535" y="223"/>
                  </a:lnTo>
                  <a:lnTo>
                    <a:pt x="532" y="225"/>
                  </a:lnTo>
                  <a:lnTo>
                    <a:pt x="530" y="224"/>
                  </a:lnTo>
                  <a:lnTo>
                    <a:pt x="525" y="222"/>
                  </a:lnTo>
                  <a:lnTo>
                    <a:pt x="520" y="218"/>
                  </a:lnTo>
                  <a:lnTo>
                    <a:pt x="514" y="218"/>
                  </a:lnTo>
                  <a:lnTo>
                    <a:pt x="514" y="221"/>
                  </a:lnTo>
                  <a:lnTo>
                    <a:pt x="515" y="225"/>
                  </a:lnTo>
                  <a:lnTo>
                    <a:pt x="515" y="229"/>
                  </a:lnTo>
                  <a:lnTo>
                    <a:pt x="515" y="231"/>
                  </a:lnTo>
                  <a:lnTo>
                    <a:pt x="512" y="230"/>
                  </a:lnTo>
                  <a:lnTo>
                    <a:pt x="508" y="227"/>
                  </a:lnTo>
                  <a:lnTo>
                    <a:pt x="506" y="225"/>
                  </a:lnTo>
                  <a:lnTo>
                    <a:pt x="499" y="224"/>
                  </a:lnTo>
                  <a:lnTo>
                    <a:pt x="496" y="222"/>
                  </a:lnTo>
                  <a:lnTo>
                    <a:pt x="492" y="219"/>
                  </a:lnTo>
                  <a:lnTo>
                    <a:pt x="488" y="216"/>
                  </a:lnTo>
                  <a:lnTo>
                    <a:pt x="484" y="215"/>
                  </a:lnTo>
                  <a:lnTo>
                    <a:pt x="480" y="215"/>
                  </a:lnTo>
                  <a:lnTo>
                    <a:pt x="479" y="217"/>
                  </a:lnTo>
                  <a:lnTo>
                    <a:pt x="479" y="221"/>
                  </a:lnTo>
                  <a:lnTo>
                    <a:pt x="480" y="222"/>
                  </a:lnTo>
                  <a:lnTo>
                    <a:pt x="483" y="224"/>
                  </a:lnTo>
                  <a:lnTo>
                    <a:pt x="487" y="224"/>
                  </a:lnTo>
                  <a:lnTo>
                    <a:pt x="491" y="225"/>
                  </a:lnTo>
                  <a:lnTo>
                    <a:pt x="492" y="229"/>
                  </a:lnTo>
                  <a:lnTo>
                    <a:pt x="492" y="230"/>
                  </a:lnTo>
                  <a:lnTo>
                    <a:pt x="489" y="232"/>
                  </a:lnTo>
                  <a:lnTo>
                    <a:pt x="485" y="235"/>
                  </a:lnTo>
                  <a:lnTo>
                    <a:pt x="483" y="239"/>
                  </a:lnTo>
                  <a:lnTo>
                    <a:pt x="484" y="242"/>
                  </a:lnTo>
                  <a:lnTo>
                    <a:pt x="483" y="251"/>
                  </a:lnTo>
                  <a:lnTo>
                    <a:pt x="482" y="256"/>
                  </a:lnTo>
                  <a:lnTo>
                    <a:pt x="482" y="259"/>
                  </a:lnTo>
                  <a:lnTo>
                    <a:pt x="481" y="262"/>
                  </a:lnTo>
                  <a:lnTo>
                    <a:pt x="481" y="265"/>
                  </a:lnTo>
                  <a:lnTo>
                    <a:pt x="481" y="271"/>
                  </a:lnTo>
                  <a:lnTo>
                    <a:pt x="477" y="275"/>
                  </a:lnTo>
                  <a:lnTo>
                    <a:pt x="475" y="275"/>
                  </a:lnTo>
                  <a:lnTo>
                    <a:pt x="472" y="274"/>
                  </a:lnTo>
                  <a:lnTo>
                    <a:pt x="469" y="275"/>
                  </a:lnTo>
                  <a:lnTo>
                    <a:pt x="471" y="279"/>
                  </a:lnTo>
                  <a:lnTo>
                    <a:pt x="472" y="281"/>
                  </a:lnTo>
                  <a:lnTo>
                    <a:pt x="475" y="283"/>
                  </a:lnTo>
                  <a:lnTo>
                    <a:pt x="479" y="287"/>
                  </a:lnTo>
                  <a:lnTo>
                    <a:pt x="483" y="290"/>
                  </a:lnTo>
                  <a:lnTo>
                    <a:pt x="487" y="295"/>
                  </a:lnTo>
                  <a:lnTo>
                    <a:pt x="488" y="298"/>
                  </a:lnTo>
                  <a:lnTo>
                    <a:pt x="485" y="301"/>
                  </a:lnTo>
                  <a:lnTo>
                    <a:pt x="481" y="302"/>
                  </a:lnTo>
                  <a:lnTo>
                    <a:pt x="473" y="304"/>
                  </a:lnTo>
                  <a:lnTo>
                    <a:pt x="468" y="306"/>
                  </a:lnTo>
                  <a:lnTo>
                    <a:pt x="465" y="309"/>
                  </a:lnTo>
                  <a:lnTo>
                    <a:pt x="460" y="309"/>
                  </a:lnTo>
                  <a:lnTo>
                    <a:pt x="457" y="307"/>
                  </a:lnTo>
                  <a:lnTo>
                    <a:pt x="456" y="307"/>
                  </a:lnTo>
                  <a:lnTo>
                    <a:pt x="451" y="309"/>
                  </a:lnTo>
                  <a:lnTo>
                    <a:pt x="448" y="312"/>
                  </a:lnTo>
                  <a:lnTo>
                    <a:pt x="442" y="318"/>
                  </a:lnTo>
                  <a:lnTo>
                    <a:pt x="440" y="321"/>
                  </a:lnTo>
                  <a:lnTo>
                    <a:pt x="436" y="325"/>
                  </a:lnTo>
                  <a:lnTo>
                    <a:pt x="428" y="327"/>
                  </a:lnTo>
                  <a:lnTo>
                    <a:pt x="421" y="329"/>
                  </a:lnTo>
                  <a:lnTo>
                    <a:pt x="417" y="333"/>
                  </a:lnTo>
                  <a:lnTo>
                    <a:pt x="413" y="334"/>
                  </a:lnTo>
                  <a:lnTo>
                    <a:pt x="410" y="334"/>
                  </a:lnTo>
                  <a:lnTo>
                    <a:pt x="405" y="333"/>
                  </a:lnTo>
                  <a:lnTo>
                    <a:pt x="401" y="330"/>
                  </a:lnTo>
                  <a:lnTo>
                    <a:pt x="396" y="328"/>
                  </a:lnTo>
                  <a:lnTo>
                    <a:pt x="392" y="326"/>
                  </a:lnTo>
                  <a:lnTo>
                    <a:pt x="387" y="322"/>
                  </a:lnTo>
                  <a:lnTo>
                    <a:pt x="381" y="321"/>
                  </a:lnTo>
                  <a:lnTo>
                    <a:pt x="377" y="320"/>
                  </a:lnTo>
                  <a:lnTo>
                    <a:pt x="372" y="321"/>
                  </a:lnTo>
                  <a:lnTo>
                    <a:pt x="368" y="325"/>
                  </a:lnTo>
                  <a:lnTo>
                    <a:pt x="364" y="325"/>
                  </a:lnTo>
                  <a:lnTo>
                    <a:pt x="361" y="325"/>
                  </a:lnTo>
                  <a:lnTo>
                    <a:pt x="354" y="323"/>
                  </a:lnTo>
                  <a:lnTo>
                    <a:pt x="347" y="323"/>
                  </a:lnTo>
                  <a:lnTo>
                    <a:pt x="341" y="326"/>
                  </a:lnTo>
                  <a:lnTo>
                    <a:pt x="340" y="327"/>
                  </a:lnTo>
                  <a:lnTo>
                    <a:pt x="337" y="326"/>
                  </a:lnTo>
                  <a:lnTo>
                    <a:pt x="335" y="323"/>
                  </a:lnTo>
                  <a:lnTo>
                    <a:pt x="331" y="321"/>
                  </a:lnTo>
                  <a:lnTo>
                    <a:pt x="328" y="320"/>
                  </a:lnTo>
                  <a:lnTo>
                    <a:pt x="323" y="321"/>
                  </a:lnTo>
                  <a:lnTo>
                    <a:pt x="321" y="325"/>
                  </a:lnTo>
                  <a:lnTo>
                    <a:pt x="320" y="328"/>
                  </a:lnTo>
                  <a:lnTo>
                    <a:pt x="319" y="328"/>
                  </a:lnTo>
                  <a:lnTo>
                    <a:pt x="313" y="329"/>
                  </a:lnTo>
                  <a:lnTo>
                    <a:pt x="308" y="327"/>
                  </a:lnTo>
                  <a:lnTo>
                    <a:pt x="303" y="325"/>
                  </a:lnTo>
                  <a:lnTo>
                    <a:pt x="299" y="323"/>
                  </a:lnTo>
                  <a:lnTo>
                    <a:pt x="292" y="322"/>
                  </a:lnTo>
                  <a:lnTo>
                    <a:pt x="285" y="321"/>
                  </a:lnTo>
                  <a:lnTo>
                    <a:pt x="283" y="320"/>
                  </a:lnTo>
                  <a:lnTo>
                    <a:pt x="280" y="318"/>
                  </a:lnTo>
                  <a:lnTo>
                    <a:pt x="276" y="314"/>
                  </a:lnTo>
                  <a:lnTo>
                    <a:pt x="269" y="314"/>
                  </a:lnTo>
                  <a:lnTo>
                    <a:pt x="267" y="315"/>
                  </a:lnTo>
                  <a:lnTo>
                    <a:pt x="266" y="318"/>
                  </a:lnTo>
                  <a:lnTo>
                    <a:pt x="265" y="321"/>
                  </a:lnTo>
                  <a:lnTo>
                    <a:pt x="263" y="325"/>
                  </a:lnTo>
                  <a:lnTo>
                    <a:pt x="259" y="327"/>
                  </a:lnTo>
                  <a:lnTo>
                    <a:pt x="255" y="334"/>
                  </a:lnTo>
                  <a:lnTo>
                    <a:pt x="253" y="337"/>
                  </a:lnTo>
                  <a:lnTo>
                    <a:pt x="247" y="342"/>
                  </a:lnTo>
                  <a:lnTo>
                    <a:pt x="241" y="346"/>
                  </a:lnTo>
                  <a:lnTo>
                    <a:pt x="234" y="355"/>
                  </a:lnTo>
                  <a:lnTo>
                    <a:pt x="233" y="359"/>
                  </a:lnTo>
                  <a:lnTo>
                    <a:pt x="231" y="362"/>
                  </a:lnTo>
                  <a:lnTo>
                    <a:pt x="228" y="365"/>
                  </a:lnTo>
                  <a:lnTo>
                    <a:pt x="227" y="368"/>
                  </a:lnTo>
                  <a:lnTo>
                    <a:pt x="228" y="373"/>
                  </a:lnTo>
                  <a:lnTo>
                    <a:pt x="231" y="379"/>
                  </a:lnTo>
                  <a:lnTo>
                    <a:pt x="229" y="382"/>
                  </a:lnTo>
                  <a:lnTo>
                    <a:pt x="226" y="382"/>
                  </a:lnTo>
                  <a:lnTo>
                    <a:pt x="221" y="384"/>
                  </a:lnTo>
                  <a:lnTo>
                    <a:pt x="216" y="385"/>
                  </a:lnTo>
                  <a:lnTo>
                    <a:pt x="213" y="383"/>
                  </a:lnTo>
                  <a:lnTo>
                    <a:pt x="211" y="377"/>
                  </a:lnTo>
                  <a:lnTo>
                    <a:pt x="210" y="374"/>
                  </a:lnTo>
                  <a:lnTo>
                    <a:pt x="207" y="368"/>
                  </a:lnTo>
                  <a:lnTo>
                    <a:pt x="202" y="361"/>
                  </a:lnTo>
                  <a:lnTo>
                    <a:pt x="199" y="359"/>
                  </a:lnTo>
                  <a:lnTo>
                    <a:pt x="196" y="355"/>
                  </a:lnTo>
                  <a:lnTo>
                    <a:pt x="197" y="353"/>
                  </a:lnTo>
                  <a:lnTo>
                    <a:pt x="201" y="353"/>
                  </a:lnTo>
                  <a:lnTo>
                    <a:pt x="204" y="353"/>
                  </a:lnTo>
                  <a:lnTo>
                    <a:pt x="205" y="350"/>
                  </a:lnTo>
                  <a:lnTo>
                    <a:pt x="204" y="346"/>
                  </a:lnTo>
                  <a:lnTo>
                    <a:pt x="203" y="343"/>
                  </a:lnTo>
                  <a:lnTo>
                    <a:pt x="202" y="339"/>
                  </a:lnTo>
                  <a:lnTo>
                    <a:pt x="205" y="336"/>
                  </a:lnTo>
                  <a:lnTo>
                    <a:pt x="211" y="335"/>
                  </a:lnTo>
                  <a:lnTo>
                    <a:pt x="213" y="333"/>
                  </a:lnTo>
                  <a:lnTo>
                    <a:pt x="213" y="329"/>
                  </a:lnTo>
                  <a:lnTo>
                    <a:pt x="211" y="323"/>
                  </a:lnTo>
                  <a:lnTo>
                    <a:pt x="209" y="320"/>
                  </a:lnTo>
                  <a:lnTo>
                    <a:pt x="208" y="315"/>
                  </a:lnTo>
                  <a:lnTo>
                    <a:pt x="203" y="307"/>
                  </a:lnTo>
                  <a:lnTo>
                    <a:pt x="201" y="305"/>
                  </a:lnTo>
                  <a:lnTo>
                    <a:pt x="197" y="304"/>
                  </a:lnTo>
                  <a:lnTo>
                    <a:pt x="193" y="305"/>
                  </a:lnTo>
                  <a:lnTo>
                    <a:pt x="192" y="310"/>
                  </a:lnTo>
                  <a:lnTo>
                    <a:pt x="191" y="314"/>
                  </a:lnTo>
                  <a:lnTo>
                    <a:pt x="189" y="318"/>
                  </a:lnTo>
                  <a:lnTo>
                    <a:pt x="186" y="319"/>
                  </a:lnTo>
                  <a:lnTo>
                    <a:pt x="183" y="318"/>
                  </a:lnTo>
                  <a:lnTo>
                    <a:pt x="178" y="313"/>
                  </a:lnTo>
                  <a:lnTo>
                    <a:pt x="173" y="311"/>
                  </a:lnTo>
                  <a:lnTo>
                    <a:pt x="171" y="310"/>
                  </a:lnTo>
                  <a:lnTo>
                    <a:pt x="168" y="304"/>
                  </a:lnTo>
                  <a:lnTo>
                    <a:pt x="170" y="302"/>
                  </a:lnTo>
                  <a:lnTo>
                    <a:pt x="173" y="297"/>
                  </a:lnTo>
                  <a:lnTo>
                    <a:pt x="175" y="294"/>
                  </a:lnTo>
                  <a:lnTo>
                    <a:pt x="173" y="288"/>
                  </a:lnTo>
                  <a:lnTo>
                    <a:pt x="171" y="286"/>
                  </a:lnTo>
                  <a:lnTo>
                    <a:pt x="169" y="285"/>
                  </a:lnTo>
                  <a:lnTo>
                    <a:pt x="167" y="285"/>
                  </a:lnTo>
                  <a:lnTo>
                    <a:pt x="164" y="288"/>
                  </a:lnTo>
                  <a:lnTo>
                    <a:pt x="161" y="290"/>
                  </a:lnTo>
                  <a:lnTo>
                    <a:pt x="153" y="295"/>
                  </a:lnTo>
                  <a:lnTo>
                    <a:pt x="147" y="295"/>
                  </a:lnTo>
                  <a:lnTo>
                    <a:pt x="143" y="293"/>
                  </a:lnTo>
                  <a:lnTo>
                    <a:pt x="138" y="290"/>
                  </a:lnTo>
                  <a:lnTo>
                    <a:pt x="133" y="286"/>
                  </a:lnTo>
                  <a:lnTo>
                    <a:pt x="130" y="281"/>
                  </a:lnTo>
                  <a:lnTo>
                    <a:pt x="129" y="280"/>
                  </a:lnTo>
                  <a:lnTo>
                    <a:pt x="123" y="278"/>
                  </a:lnTo>
                  <a:lnTo>
                    <a:pt x="117" y="274"/>
                  </a:lnTo>
                  <a:lnTo>
                    <a:pt x="113" y="271"/>
                  </a:lnTo>
                  <a:lnTo>
                    <a:pt x="109" y="269"/>
                  </a:lnTo>
                  <a:lnTo>
                    <a:pt x="106" y="266"/>
                  </a:lnTo>
                  <a:lnTo>
                    <a:pt x="101" y="264"/>
                  </a:lnTo>
                  <a:lnTo>
                    <a:pt x="96" y="263"/>
                  </a:lnTo>
                  <a:lnTo>
                    <a:pt x="85" y="263"/>
                  </a:lnTo>
                  <a:lnTo>
                    <a:pt x="81" y="265"/>
                  </a:lnTo>
                  <a:lnTo>
                    <a:pt x="69" y="264"/>
                  </a:lnTo>
                  <a:lnTo>
                    <a:pt x="65" y="265"/>
                  </a:lnTo>
                  <a:lnTo>
                    <a:pt x="56" y="271"/>
                  </a:lnTo>
                  <a:lnTo>
                    <a:pt x="49" y="275"/>
                  </a:lnTo>
                  <a:lnTo>
                    <a:pt x="43" y="280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32" name="UP"/>
            <p:cNvSpPr>
              <a:spLocks/>
            </p:cNvSpPr>
            <p:nvPr/>
          </p:nvSpPr>
          <p:spPr bwMode="auto">
            <a:xfrm>
              <a:off x="6311609" y="2636892"/>
              <a:ext cx="837834" cy="699622"/>
            </a:xfrm>
            <a:custGeom>
              <a:avLst/>
              <a:gdLst>
                <a:gd name="T0" fmla="*/ 14 w 2088"/>
                <a:gd name="T1" fmla="*/ 200 h 1810"/>
                <a:gd name="T2" fmla="*/ 54 w 2088"/>
                <a:gd name="T3" fmla="*/ 458 h 1810"/>
                <a:gd name="T4" fmla="*/ 128 w 2088"/>
                <a:gd name="T5" fmla="*/ 684 h 1810"/>
                <a:gd name="T6" fmla="*/ 96 w 2088"/>
                <a:gd name="T7" fmla="*/ 806 h 1810"/>
                <a:gd name="T8" fmla="*/ 144 w 2088"/>
                <a:gd name="T9" fmla="*/ 927 h 1810"/>
                <a:gd name="T10" fmla="*/ 131 w 2088"/>
                <a:gd name="T11" fmla="*/ 990 h 1810"/>
                <a:gd name="T12" fmla="*/ 305 w 2088"/>
                <a:gd name="T13" fmla="*/ 999 h 1810"/>
                <a:gd name="T14" fmla="*/ 497 w 2088"/>
                <a:gd name="T15" fmla="*/ 1019 h 1810"/>
                <a:gd name="T16" fmla="*/ 535 w 2088"/>
                <a:gd name="T17" fmla="*/ 1164 h 1810"/>
                <a:gd name="T18" fmla="*/ 497 w 2088"/>
                <a:gd name="T19" fmla="*/ 1266 h 1810"/>
                <a:gd name="T20" fmla="*/ 346 w 2088"/>
                <a:gd name="T21" fmla="*/ 1387 h 1810"/>
                <a:gd name="T22" fmla="*/ 308 w 2088"/>
                <a:gd name="T23" fmla="*/ 1528 h 1810"/>
                <a:gd name="T24" fmla="*/ 374 w 2088"/>
                <a:gd name="T25" fmla="*/ 1696 h 1810"/>
                <a:gd name="T26" fmla="*/ 534 w 2088"/>
                <a:gd name="T27" fmla="*/ 1675 h 1810"/>
                <a:gd name="T28" fmla="*/ 439 w 2088"/>
                <a:gd name="T29" fmla="*/ 1508 h 1810"/>
                <a:gd name="T30" fmla="*/ 443 w 2088"/>
                <a:gd name="T31" fmla="*/ 1398 h 1810"/>
                <a:gd name="T32" fmla="*/ 524 w 2088"/>
                <a:gd name="T33" fmla="*/ 1390 h 1810"/>
                <a:gd name="T34" fmla="*/ 537 w 2088"/>
                <a:gd name="T35" fmla="*/ 1443 h 1810"/>
                <a:gd name="T36" fmla="*/ 604 w 2088"/>
                <a:gd name="T37" fmla="*/ 1453 h 1810"/>
                <a:gd name="T38" fmla="*/ 633 w 2088"/>
                <a:gd name="T39" fmla="*/ 1477 h 1810"/>
                <a:gd name="T40" fmla="*/ 771 w 2088"/>
                <a:gd name="T41" fmla="*/ 1437 h 1810"/>
                <a:gd name="T42" fmla="*/ 928 w 2088"/>
                <a:gd name="T43" fmla="*/ 1453 h 1810"/>
                <a:gd name="T44" fmla="*/ 950 w 2088"/>
                <a:gd name="T45" fmla="*/ 1502 h 1810"/>
                <a:gd name="T46" fmla="*/ 1018 w 2088"/>
                <a:gd name="T47" fmla="*/ 1483 h 1810"/>
                <a:gd name="T48" fmla="*/ 1074 w 2088"/>
                <a:gd name="T49" fmla="*/ 1511 h 1810"/>
                <a:gd name="T50" fmla="*/ 1177 w 2088"/>
                <a:gd name="T51" fmla="*/ 1452 h 1810"/>
                <a:gd name="T52" fmla="*/ 1259 w 2088"/>
                <a:gd name="T53" fmla="*/ 1444 h 1810"/>
                <a:gd name="T54" fmla="*/ 1335 w 2088"/>
                <a:gd name="T55" fmla="*/ 1515 h 1810"/>
                <a:gd name="T56" fmla="*/ 1449 w 2088"/>
                <a:gd name="T57" fmla="*/ 1595 h 1810"/>
                <a:gd name="T58" fmla="*/ 1564 w 2088"/>
                <a:gd name="T59" fmla="*/ 1615 h 1810"/>
                <a:gd name="T60" fmla="*/ 1576 w 2088"/>
                <a:gd name="T61" fmla="*/ 1760 h 1810"/>
                <a:gd name="T62" fmla="*/ 1745 w 2088"/>
                <a:gd name="T63" fmla="*/ 1706 h 1810"/>
                <a:gd name="T64" fmla="*/ 1744 w 2088"/>
                <a:gd name="T65" fmla="*/ 1544 h 1810"/>
                <a:gd name="T66" fmla="*/ 1889 w 2088"/>
                <a:gd name="T67" fmla="*/ 1350 h 1810"/>
                <a:gd name="T68" fmla="*/ 2070 w 2088"/>
                <a:gd name="T69" fmla="*/ 1271 h 1810"/>
                <a:gd name="T70" fmla="*/ 1967 w 2088"/>
                <a:gd name="T71" fmla="*/ 1133 h 1810"/>
                <a:gd name="T72" fmla="*/ 1911 w 2088"/>
                <a:gd name="T73" fmla="*/ 1067 h 1810"/>
                <a:gd name="T74" fmla="*/ 2004 w 2088"/>
                <a:gd name="T75" fmla="*/ 1018 h 1810"/>
                <a:gd name="T76" fmla="*/ 1923 w 2088"/>
                <a:gd name="T77" fmla="*/ 947 h 1810"/>
                <a:gd name="T78" fmla="*/ 1902 w 2088"/>
                <a:gd name="T79" fmla="*/ 877 h 1810"/>
                <a:gd name="T80" fmla="*/ 1740 w 2088"/>
                <a:gd name="T81" fmla="*/ 848 h 1810"/>
                <a:gd name="T82" fmla="*/ 1570 w 2088"/>
                <a:gd name="T83" fmla="*/ 774 h 1810"/>
                <a:gd name="T84" fmla="*/ 1342 w 2088"/>
                <a:gd name="T85" fmla="*/ 696 h 1810"/>
                <a:gd name="T86" fmla="*/ 1154 w 2088"/>
                <a:gd name="T87" fmla="*/ 596 h 1810"/>
                <a:gd name="T88" fmla="*/ 944 w 2088"/>
                <a:gd name="T89" fmla="*/ 487 h 1810"/>
                <a:gd name="T90" fmla="*/ 804 w 2088"/>
                <a:gd name="T91" fmla="*/ 467 h 1810"/>
                <a:gd name="T92" fmla="*/ 786 w 2088"/>
                <a:gd name="T93" fmla="*/ 444 h 1810"/>
                <a:gd name="T94" fmla="*/ 758 w 2088"/>
                <a:gd name="T95" fmla="*/ 423 h 1810"/>
                <a:gd name="T96" fmla="*/ 721 w 2088"/>
                <a:gd name="T97" fmla="*/ 430 h 1810"/>
                <a:gd name="T98" fmla="*/ 662 w 2088"/>
                <a:gd name="T99" fmla="*/ 429 h 1810"/>
                <a:gd name="T100" fmla="*/ 604 w 2088"/>
                <a:gd name="T101" fmla="*/ 391 h 1810"/>
                <a:gd name="T102" fmla="*/ 546 w 2088"/>
                <a:gd name="T103" fmla="*/ 349 h 1810"/>
                <a:gd name="T104" fmla="*/ 500 w 2088"/>
                <a:gd name="T105" fmla="*/ 331 h 1810"/>
                <a:gd name="T106" fmla="*/ 467 w 2088"/>
                <a:gd name="T107" fmla="*/ 301 h 1810"/>
                <a:gd name="T108" fmla="*/ 512 w 2088"/>
                <a:gd name="T109" fmla="*/ 280 h 1810"/>
                <a:gd name="T110" fmla="*/ 419 w 2088"/>
                <a:gd name="T111" fmla="*/ 228 h 1810"/>
                <a:gd name="T112" fmla="*/ 326 w 2088"/>
                <a:gd name="T113" fmla="*/ 189 h 1810"/>
                <a:gd name="T114" fmla="*/ 267 w 2088"/>
                <a:gd name="T115" fmla="*/ 229 h 1810"/>
                <a:gd name="T116" fmla="*/ 243 w 2088"/>
                <a:gd name="T117" fmla="*/ 195 h 1810"/>
                <a:gd name="T118" fmla="*/ 194 w 2088"/>
                <a:gd name="T119" fmla="*/ 160 h 1810"/>
                <a:gd name="T120" fmla="*/ 209 w 2088"/>
                <a:gd name="T121" fmla="*/ 87 h 1810"/>
                <a:gd name="T122" fmla="*/ 225 w 2088"/>
                <a:gd name="T123" fmla="*/ 43 h 1810"/>
                <a:gd name="T124" fmla="*/ 168 w 2088"/>
                <a:gd name="T125" fmla="*/ 8 h 1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8" h="1810">
                  <a:moveTo>
                    <a:pt x="146" y="0"/>
                  </a:moveTo>
                  <a:lnTo>
                    <a:pt x="138" y="3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5" y="8"/>
                  </a:lnTo>
                  <a:lnTo>
                    <a:pt x="147" y="12"/>
                  </a:lnTo>
                  <a:lnTo>
                    <a:pt x="147" y="18"/>
                  </a:lnTo>
                  <a:lnTo>
                    <a:pt x="147" y="21"/>
                  </a:lnTo>
                  <a:lnTo>
                    <a:pt x="147" y="24"/>
                  </a:lnTo>
                  <a:lnTo>
                    <a:pt x="147" y="29"/>
                  </a:lnTo>
                  <a:lnTo>
                    <a:pt x="145" y="32"/>
                  </a:lnTo>
                  <a:lnTo>
                    <a:pt x="142" y="36"/>
                  </a:lnTo>
                  <a:lnTo>
                    <a:pt x="137" y="40"/>
                  </a:lnTo>
                  <a:lnTo>
                    <a:pt x="132" y="45"/>
                  </a:lnTo>
                  <a:lnTo>
                    <a:pt x="126" y="47"/>
                  </a:lnTo>
                  <a:lnTo>
                    <a:pt x="120" y="51"/>
                  </a:lnTo>
                  <a:lnTo>
                    <a:pt x="114" y="56"/>
                  </a:lnTo>
                  <a:lnTo>
                    <a:pt x="111" y="63"/>
                  </a:lnTo>
                  <a:lnTo>
                    <a:pt x="107" y="70"/>
                  </a:lnTo>
                  <a:lnTo>
                    <a:pt x="102" y="75"/>
                  </a:lnTo>
                  <a:lnTo>
                    <a:pt x="97" y="79"/>
                  </a:lnTo>
                  <a:lnTo>
                    <a:pt x="92" y="83"/>
                  </a:lnTo>
                  <a:lnTo>
                    <a:pt x="88" y="88"/>
                  </a:lnTo>
                  <a:lnTo>
                    <a:pt x="82" y="94"/>
                  </a:lnTo>
                  <a:lnTo>
                    <a:pt x="78" y="100"/>
                  </a:lnTo>
                  <a:lnTo>
                    <a:pt x="72" y="104"/>
                  </a:lnTo>
                  <a:lnTo>
                    <a:pt x="67" y="109"/>
                  </a:lnTo>
                  <a:lnTo>
                    <a:pt x="64" y="114"/>
                  </a:lnTo>
                  <a:lnTo>
                    <a:pt x="59" y="118"/>
                  </a:lnTo>
                  <a:lnTo>
                    <a:pt x="56" y="123"/>
                  </a:lnTo>
                  <a:lnTo>
                    <a:pt x="51" y="126"/>
                  </a:lnTo>
                  <a:lnTo>
                    <a:pt x="46" y="130"/>
                  </a:lnTo>
                  <a:lnTo>
                    <a:pt x="40" y="134"/>
                  </a:lnTo>
                  <a:lnTo>
                    <a:pt x="35" y="138"/>
                  </a:lnTo>
                  <a:lnTo>
                    <a:pt x="34" y="142"/>
                  </a:lnTo>
                  <a:lnTo>
                    <a:pt x="33" y="149"/>
                  </a:lnTo>
                  <a:lnTo>
                    <a:pt x="33" y="152"/>
                  </a:lnTo>
                  <a:lnTo>
                    <a:pt x="33" y="162"/>
                  </a:lnTo>
                  <a:lnTo>
                    <a:pt x="32" y="168"/>
                  </a:lnTo>
                  <a:lnTo>
                    <a:pt x="26" y="176"/>
                  </a:lnTo>
                  <a:lnTo>
                    <a:pt x="22" y="184"/>
                  </a:lnTo>
                  <a:lnTo>
                    <a:pt x="16" y="196"/>
                  </a:lnTo>
                  <a:lnTo>
                    <a:pt x="14" y="200"/>
                  </a:lnTo>
                  <a:lnTo>
                    <a:pt x="12" y="206"/>
                  </a:lnTo>
                  <a:lnTo>
                    <a:pt x="11" y="211"/>
                  </a:lnTo>
                  <a:lnTo>
                    <a:pt x="11" y="222"/>
                  </a:lnTo>
                  <a:lnTo>
                    <a:pt x="10" y="226"/>
                  </a:lnTo>
                  <a:lnTo>
                    <a:pt x="6" y="232"/>
                  </a:lnTo>
                  <a:lnTo>
                    <a:pt x="3" y="238"/>
                  </a:lnTo>
                  <a:lnTo>
                    <a:pt x="0" y="245"/>
                  </a:lnTo>
                  <a:lnTo>
                    <a:pt x="1" y="250"/>
                  </a:lnTo>
                  <a:lnTo>
                    <a:pt x="0" y="254"/>
                  </a:lnTo>
                  <a:lnTo>
                    <a:pt x="0" y="259"/>
                  </a:lnTo>
                  <a:lnTo>
                    <a:pt x="3" y="267"/>
                  </a:lnTo>
                  <a:lnTo>
                    <a:pt x="7" y="270"/>
                  </a:lnTo>
                  <a:lnTo>
                    <a:pt x="10" y="274"/>
                  </a:lnTo>
                  <a:lnTo>
                    <a:pt x="18" y="280"/>
                  </a:lnTo>
                  <a:lnTo>
                    <a:pt x="22" y="286"/>
                  </a:lnTo>
                  <a:lnTo>
                    <a:pt x="25" y="294"/>
                  </a:lnTo>
                  <a:lnTo>
                    <a:pt x="25" y="300"/>
                  </a:lnTo>
                  <a:lnTo>
                    <a:pt x="26" y="306"/>
                  </a:lnTo>
                  <a:lnTo>
                    <a:pt x="25" y="314"/>
                  </a:lnTo>
                  <a:lnTo>
                    <a:pt x="25" y="322"/>
                  </a:lnTo>
                  <a:lnTo>
                    <a:pt x="26" y="328"/>
                  </a:lnTo>
                  <a:lnTo>
                    <a:pt x="28" y="334"/>
                  </a:lnTo>
                  <a:lnTo>
                    <a:pt x="28" y="344"/>
                  </a:lnTo>
                  <a:lnTo>
                    <a:pt x="28" y="356"/>
                  </a:lnTo>
                  <a:lnTo>
                    <a:pt x="28" y="362"/>
                  </a:lnTo>
                  <a:lnTo>
                    <a:pt x="30" y="367"/>
                  </a:lnTo>
                  <a:lnTo>
                    <a:pt x="32" y="373"/>
                  </a:lnTo>
                  <a:lnTo>
                    <a:pt x="35" y="376"/>
                  </a:lnTo>
                  <a:lnTo>
                    <a:pt x="36" y="380"/>
                  </a:lnTo>
                  <a:lnTo>
                    <a:pt x="36" y="386"/>
                  </a:lnTo>
                  <a:lnTo>
                    <a:pt x="35" y="391"/>
                  </a:lnTo>
                  <a:lnTo>
                    <a:pt x="34" y="399"/>
                  </a:lnTo>
                  <a:lnTo>
                    <a:pt x="34" y="406"/>
                  </a:lnTo>
                  <a:lnTo>
                    <a:pt x="35" y="412"/>
                  </a:lnTo>
                  <a:lnTo>
                    <a:pt x="35" y="416"/>
                  </a:lnTo>
                  <a:lnTo>
                    <a:pt x="36" y="421"/>
                  </a:lnTo>
                  <a:lnTo>
                    <a:pt x="39" y="427"/>
                  </a:lnTo>
                  <a:lnTo>
                    <a:pt x="41" y="431"/>
                  </a:lnTo>
                  <a:lnTo>
                    <a:pt x="47" y="440"/>
                  </a:lnTo>
                  <a:lnTo>
                    <a:pt x="48" y="447"/>
                  </a:lnTo>
                  <a:lnTo>
                    <a:pt x="51" y="451"/>
                  </a:lnTo>
                  <a:lnTo>
                    <a:pt x="52" y="453"/>
                  </a:lnTo>
                  <a:lnTo>
                    <a:pt x="54" y="458"/>
                  </a:lnTo>
                  <a:lnTo>
                    <a:pt x="54" y="462"/>
                  </a:lnTo>
                  <a:lnTo>
                    <a:pt x="64" y="474"/>
                  </a:lnTo>
                  <a:lnTo>
                    <a:pt x="66" y="475"/>
                  </a:lnTo>
                  <a:lnTo>
                    <a:pt x="67" y="479"/>
                  </a:lnTo>
                  <a:lnTo>
                    <a:pt x="62" y="487"/>
                  </a:lnTo>
                  <a:lnTo>
                    <a:pt x="62" y="490"/>
                  </a:lnTo>
                  <a:lnTo>
                    <a:pt x="62" y="494"/>
                  </a:lnTo>
                  <a:lnTo>
                    <a:pt x="68" y="512"/>
                  </a:lnTo>
                  <a:lnTo>
                    <a:pt x="72" y="517"/>
                  </a:lnTo>
                  <a:lnTo>
                    <a:pt x="74" y="523"/>
                  </a:lnTo>
                  <a:lnTo>
                    <a:pt x="75" y="531"/>
                  </a:lnTo>
                  <a:lnTo>
                    <a:pt x="80" y="535"/>
                  </a:lnTo>
                  <a:lnTo>
                    <a:pt x="86" y="539"/>
                  </a:lnTo>
                  <a:lnTo>
                    <a:pt x="94" y="541"/>
                  </a:lnTo>
                  <a:lnTo>
                    <a:pt x="102" y="543"/>
                  </a:lnTo>
                  <a:lnTo>
                    <a:pt x="108" y="544"/>
                  </a:lnTo>
                  <a:lnTo>
                    <a:pt x="111" y="546"/>
                  </a:lnTo>
                  <a:lnTo>
                    <a:pt x="115" y="549"/>
                  </a:lnTo>
                  <a:lnTo>
                    <a:pt x="115" y="556"/>
                  </a:lnTo>
                  <a:lnTo>
                    <a:pt x="114" y="560"/>
                  </a:lnTo>
                  <a:lnTo>
                    <a:pt x="112" y="565"/>
                  </a:lnTo>
                  <a:lnTo>
                    <a:pt x="113" y="574"/>
                  </a:lnTo>
                  <a:lnTo>
                    <a:pt x="114" y="580"/>
                  </a:lnTo>
                  <a:lnTo>
                    <a:pt x="116" y="586"/>
                  </a:lnTo>
                  <a:lnTo>
                    <a:pt x="119" y="590"/>
                  </a:lnTo>
                  <a:lnTo>
                    <a:pt x="122" y="594"/>
                  </a:lnTo>
                  <a:lnTo>
                    <a:pt x="126" y="597"/>
                  </a:lnTo>
                  <a:lnTo>
                    <a:pt x="126" y="600"/>
                  </a:lnTo>
                  <a:lnTo>
                    <a:pt x="116" y="607"/>
                  </a:lnTo>
                  <a:lnTo>
                    <a:pt x="114" y="614"/>
                  </a:lnTo>
                  <a:lnTo>
                    <a:pt x="119" y="618"/>
                  </a:lnTo>
                  <a:lnTo>
                    <a:pt x="122" y="622"/>
                  </a:lnTo>
                  <a:lnTo>
                    <a:pt x="126" y="631"/>
                  </a:lnTo>
                  <a:lnTo>
                    <a:pt x="126" y="638"/>
                  </a:lnTo>
                  <a:lnTo>
                    <a:pt x="126" y="644"/>
                  </a:lnTo>
                  <a:lnTo>
                    <a:pt x="127" y="652"/>
                  </a:lnTo>
                  <a:lnTo>
                    <a:pt x="129" y="655"/>
                  </a:lnTo>
                  <a:lnTo>
                    <a:pt x="131" y="662"/>
                  </a:lnTo>
                  <a:lnTo>
                    <a:pt x="130" y="668"/>
                  </a:lnTo>
                  <a:lnTo>
                    <a:pt x="132" y="671"/>
                  </a:lnTo>
                  <a:lnTo>
                    <a:pt x="130" y="677"/>
                  </a:lnTo>
                  <a:lnTo>
                    <a:pt x="130" y="682"/>
                  </a:lnTo>
                  <a:lnTo>
                    <a:pt x="128" y="684"/>
                  </a:lnTo>
                  <a:lnTo>
                    <a:pt x="122" y="683"/>
                  </a:lnTo>
                  <a:lnTo>
                    <a:pt x="116" y="683"/>
                  </a:lnTo>
                  <a:lnTo>
                    <a:pt x="114" y="688"/>
                  </a:lnTo>
                  <a:lnTo>
                    <a:pt x="115" y="693"/>
                  </a:lnTo>
                  <a:lnTo>
                    <a:pt x="113" y="698"/>
                  </a:lnTo>
                  <a:lnTo>
                    <a:pt x="107" y="699"/>
                  </a:lnTo>
                  <a:lnTo>
                    <a:pt x="100" y="699"/>
                  </a:lnTo>
                  <a:lnTo>
                    <a:pt x="100" y="702"/>
                  </a:lnTo>
                  <a:lnTo>
                    <a:pt x="102" y="706"/>
                  </a:lnTo>
                  <a:lnTo>
                    <a:pt x="98" y="709"/>
                  </a:lnTo>
                  <a:lnTo>
                    <a:pt x="90" y="709"/>
                  </a:lnTo>
                  <a:lnTo>
                    <a:pt x="84" y="709"/>
                  </a:lnTo>
                  <a:lnTo>
                    <a:pt x="79" y="709"/>
                  </a:lnTo>
                  <a:lnTo>
                    <a:pt x="75" y="712"/>
                  </a:lnTo>
                  <a:lnTo>
                    <a:pt x="68" y="716"/>
                  </a:lnTo>
                  <a:lnTo>
                    <a:pt x="62" y="719"/>
                  </a:lnTo>
                  <a:lnTo>
                    <a:pt x="58" y="722"/>
                  </a:lnTo>
                  <a:lnTo>
                    <a:pt x="64" y="726"/>
                  </a:lnTo>
                  <a:lnTo>
                    <a:pt x="68" y="727"/>
                  </a:lnTo>
                  <a:lnTo>
                    <a:pt x="70" y="731"/>
                  </a:lnTo>
                  <a:lnTo>
                    <a:pt x="68" y="735"/>
                  </a:lnTo>
                  <a:lnTo>
                    <a:pt x="68" y="739"/>
                  </a:lnTo>
                  <a:lnTo>
                    <a:pt x="71" y="741"/>
                  </a:lnTo>
                  <a:lnTo>
                    <a:pt x="70" y="742"/>
                  </a:lnTo>
                  <a:lnTo>
                    <a:pt x="70" y="744"/>
                  </a:lnTo>
                  <a:lnTo>
                    <a:pt x="72" y="747"/>
                  </a:lnTo>
                  <a:lnTo>
                    <a:pt x="76" y="750"/>
                  </a:lnTo>
                  <a:lnTo>
                    <a:pt x="79" y="756"/>
                  </a:lnTo>
                  <a:lnTo>
                    <a:pt x="81" y="760"/>
                  </a:lnTo>
                  <a:lnTo>
                    <a:pt x="80" y="768"/>
                  </a:lnTo>
                  <a:lnTo>
                    <a:pt x="78" y="770"/>
                  </a:lnTo>
                  <a:lnTo>
                    <a:pt x="74" y="773"/>
                  </a:lnTo>
                  <a:lnTo>
                    <a:pt x="72" y="778"/>
                  </a:lnTo>
                  <a:lnTo>
                    <a:pt x="74" y="780"/>
                  </a:lnTo>
                  <a:lnTo>
                    <a:pt x="78" y="781"/>
                  </a:lnTo>
                  <a:lnTo>
                    <a:pt x="81" y="781"/>
                  </a:lnTo>
                  <a:lnTo>
                    <a:pt x="82" y="783"/>
                  </a:lnTo>
                  <a:lnTo>
                    <a:pt x="80" y="787"/>
                  </a:lnTo>
                  <a:lnTo>
                    <a:pt x="81" y="792"/>
                  </a:lnTo>
                  <a:lnTo>
                    <a:pt x="83" y="796"/>
                  </a:lnTo>
                  <a:lnTo>
                    <a:pt x="83" y="799"/>
                  </a:lnTo>
                  <a:lnTo>
                    <a:pt x="87" y="802"/>
                  </a:lnTo>
                  <a:lnTo>
                    <a:pt x="96" y="806"/>
                  </a:lnTo>
                  <a:lnTo>
                    <a:pt x="104" y="812"/>
                  </a:lnTo>
                  <a:lnTo>
                    <a:pt x="107" y="815"/>
                  </a:lnTo>
                  <a:lnTo>
                    <a:pt x="107" y="819"/>
                  </a:lnTo>
                  <a:lnTo>
                    <a:pt x="106" y="826"/>
                  </a:lnTo>
                  <a:lnTo>
                    <a:pt x="105" y="830"/>
                  </a:lnTo>
                  <a:lnTo>
                    <a:pt x="105" y="834"/>
                  </a:lnTo>
                  <a:lnTo>
                    <a:pt x="108" y="837"/>
                  </a:lnTo>
                  <a:lnTo>
                    <a:pt x="114" y="837"/>
                  </a:lnTo>
                  <a:lnTo>
                    <a:pt x="119" y="837"/>
                  </a:lnTo>
                  <a:lnTo>
                    <a:pt x="126" y="839"/>
                  </a:lnTo>
                  <a:lnTo>
                    <a:pt x="130" y="840"/>
                  </a:lnTo>
                  <a:lnTo>
                    <a:pt x="130" y="845"/>
                  </a:lnTo>
                  <a:lnTo>
                    <a:pt x="132" y="848"/>
                  </a:lnTo>
                  <a:lnTo>
                    <a:pt x="137" y="850"/>
                  </a:lnTo>
                  <a:lnTo>
                    <a:pt x="140" y="851"/>
                  </a:lnTo>
                  <a:lnTo>
                    <a:pt x="146" y="853"/>
                  </a:lnTo>
                  <a:lnTo>
                    <a:pt x="152" y="855"/>
                  </a:lnTo>
                  <a:lnTo>
                    <a:pt x="155" y="859"/>
                  </a:lnTo>
                  <a:lnTo>
                    <a:pt x="155" y="863"/>
                  </a:lnTo>
                  <a:lnTo>
                    <a:pt x="162" y="871"/>
                  </a:lnTo>
                  <a:lnTo>
                    <a:pt x="164" y="875"/>
                  </a:lnTo>
                  <a:lnTo>
                    <a:pt x="171" y="882"/>
                  </a:lnTo>
                  <a:lnTo>
                    <a:pt x="176" y="884"/>
                  </a:lnTo>
                  <a:lnTo>
                    <a:pt x="177" y="887"/>
                  </a:lnTo>
                  <a:lnTo>
                    <a:pt x="177" y="892"/>
                  </a:lnTo>
                  <a:lnTo>
                    <a:pt x="176" y="895"/>
                  </a:lnTo>
                  <a:lnTo>
                    <a:pt x="175" y="898"/>
                  </a:lnTo>
                  <a:lnTo>
                    <a:pt x="171" y="899"/>
                  </a:lnTo>
                  <a:lnTo>
                    <a:pt x="167" y="901"/>
                  </a:lnTo>
                  <a:lnTo>
                    <a:pt x="162" y="902"/>
                  </a:lnTo>
                  <a:lnTo>
                    <a:pt x="155" y="904"/>
                  </a:lnTo>
                  <a:lnTo>
                    <a:pt x="151" y="908"/>
                  </a:lnTo>
                  <a:lnTo>
                    <a:pt x="147" y="910"/>
                  </a:lnTo>
                  <a:lnTo>
                    <a:pt x="142" y="912"/>
                  </a:lnTo>
                  <a:lnTo>
                    <a:pt x="137" y="914"/>
                  </a:lnTo>
                  <a:lnTo>
                    <a:pt x="132" y="914"/>
                  </a:lnTo>
                  <a:lnTo>
                    <a:pt x="128" y="916"/>
                  </a:lnTo>
                  <a:lnTo>
                    <a:pt x="128" y="918"/>
                  </a:lnTo>
                  <a:lnTo>
                    <a:pt x="130" y="920"/>
                  </a:lnTo>
                  <a:lnTo>
                    <a:pt x="134" y="922"/>
                  </a:lnTo>
                  <a:lnTo>
                    <a:pt x="139" y="922"/>
                  </a:lnTo>
                  <a:lnTo>
                    <a:pt x="143" y="926"/>
                  </a:lnTo>
                  <a:lnTo>
                    <a:pt x="144" y="927"/>
                  </a:lnTo>
                  <a:lnTo>
                    <a:pt x="147" y="930"/>
                  </a:lnTo>
                  <a:lnTo>
                    <a:pt x="151" y="931"/>
                  </a:lnTo>
                  <a:lnTo>
                    <a:pt x="159" y="938"/>
                  </a:lnTo>
                  <a:lnTo>
                    <a:pt x="163" y="939"/>
                  </a:lnTo>
                  <a:lnTo>
                    <a:pt x="167" y="936"/>
                  </a:lnTo>
                  <a:lnTo>
                    <a:pt x="170" y="934"/>
                  </a:lnTo>
                  <a:lnTo>
                    <a:pt x="176" y="934"/>
                  </a:lnTo>
                  <a:lnTo>
                    <a:pt x="182" y="938"/>
                  </a:lnTo>
                  <a:lnTo>
                    <a:pt x="185" y="935"/>
                  </a:lnTo>
                  <a:lnTo>
                    <a:pt x="190" y="934"/>
                  </a:lnTo>
                  <a:lnTo>
                    <a:pt x="192" y="936"/>
                  </a:lnTo>
                  <a:lnTo>
                    <a:pt x="195" y="939"/>
                  </a:lnTo>
                  <a:lnTo>
                    <a:pt x="193" y="942"/>
                  </a:lnTo>
                  <a:lnTo>
                    <a:pt x="187" y="943"/>
                  </a:lnTo>
                  <a:lnTo>
                    <a:pt x="176" y="948"/>
                  </a:lnTo>
                  <a:lnTo>
                    <a:pt x="169" y="950"/>
                  </a:lnTo>
                  <a:lnTo>
                    <a:pt x="163" y="951"/>
                  </a:lnTo>
                  <a:lnTo>
                    <a:pt x="158" y="954"/>
                  </a:lnTo>
                  <a:lnTo>
                    <a:pt x="150" y="955"/>
                  </a:lnTo>
                  <a:lnTo>
                    <a:pt x="142" y="960"/>
                  </a:lnTo>
                  <a:lnTo>
                    <a:pt x="135" y="964"/>
                  </a:lnTo>
                  <a:lnTo>
                    <a:pt x="129" y="966"/>
                  </a:lnTo>
                  <a:lnTo>
                    <a:pt x="123" y="967"/>
                  </a:lnTo>
                  <a:lnTo>
                    <a:pt x="116" y="970"/>
                  </a:lnTo>
                  <a:lnTo>
                    <a:pt x="107" y="975"/>
                  </a:lnTo>
                  <a:lnTo>
                    <a:pt x="104" y="979"/>
                  </a:lnTo>
                  <a:lnTo>
                    <a:pt x="100" y="982"/>
                  </a:lnTo>
                  <a:lnTo>
                    <a:pt x="100" y="987"/>
                  </a:lnTo>
                  <a:lnTo>
                    <a:pt x="102" y="992"/>
                  </a:lnTo>
                  <a:lnTo>
                    <a:pt x="103" y="995"/>
                  </a:lnTo>
                  <a:lnTo>
                    <a:pt x="103" y="996"/>
                  </a:lnTo>
                  <a:lnTo>
                    <a:pt x="103" y="999"/>
                  </a:lnTo>
                  <a:lnTo>
                    <a:pt x="104" y="1003"/>
                  </a:lnTo>
                  <a:lnTo>
                    <a:pt x="106" y="1004"/>
                  </a:lnTo>
                  <a:lnTo>
                    <a:pt x="108" y="1005"/>
                  </a:lnTo>
                  <a:lnTo>
                    <a:pt x="111" y="1010"/>
                  </a:lnTo>
                  <a:lnTo>
                    <a:pt x="114" y="1012"/>
                  </a:lnTo>
                  <a:lnTo>
                    <a:pt x="119" y="1013"/>
                  </a:lnTo>
                  <a:lnTo>
                    <a:pt x="120" y="1011"/>
                  </a:lnTo>
                  <a:lnTo>
                    <a:pt x="121" y="1005"/>
                  </a:lnTo>
                  <a:lnTo>
                    <a:pt x="123" y="994"/>
                  </a:lnTo>
                  <a:lnTo>
                    <a:pt x="127" y="991"/>
                  </a:lnTo>
                  <a:lnTo>
                    <a:pt x="131" y="990"/>
                  </a:lnTo>
                  <a:lnTo>
                    <a:pt x="136" y="990"/>
                  </a:lnTo>
                  <a:lnTo>
                    <a:pt x="150" y="987"/>
                  </a:lnTo>
                  <a:lnTo>
                    <a:pt x="155" y="987"/>
                  </a:lnTo>
                  <a:lnTo>
                    <a:pt x="163" y="983"/>
                  </a:lnTo>
                  <a:lnTo>
                    <a:pt x="168" y="978"/>
                  </a:lnTo>
                  <a:lnTo>
                    <a:pt x="174" y="972"/>
                  </a:lnTo>
                  <a:lnTo>
                    <a:pt x="178" y="968"/>
                  </a:lnTo>
                  <a:lnTo>
                    <a:pt x="184" y="967"/>
                  </a:lnTo>
                  <a:lnTo>
                    <a:pt x="192" y="966"/>
                  </a:lnTo>
                  <a:lnTo>
                    <a:pt x="195" y="963"/>
                  </a:lnTo>
                  <a:lnTo>
                    <a:pt x="207" y="966"/>
                  </a:lnTo>
                  <a:lnTo>
                    <a:pt x="212" y="966"/>
                  </a:lnTo>
                  <a:lnTo>
                    <a:pt x="223" y="968"/>
                  </a:lnTo>
                  <a:lnTo>
                    <a:pt x="227" y="971"/>
                  </a:lnTo>
                  <a:lnTo>
                    <a:pt x="240" y="971"/>
                  </a:lnTo>
                  <a:lnTo>
                    <a:pt x="248" y="968"/>
                  </a:lnTo>
                  <a:lnTo>
                    <a:pt x="254" y="967"/>
                  </a:lnTo>
                  <a:lnTo>
                    <a:pt x="260" y="970"/>
                  </a:lnTo>
                  <a:lnTo>
                    <a:pt x="265" y="972"/>
                  </a:lnTo>
                  <a:lnTo>
                    <a:pt x="272" y="972"/>
                  </a:lnTo>
                  <a:lnTo>
                    <a:pt x="273" y="968"/>
                  </a:lnTo>
                  <a:lnTo>
                    <a:pt x="276" y="965"/>
                  </a:lnTo>
                  <a:lnTo>
                    <a:pt x="281" y="967"/>
                  </a:lnTo>
                  <a:lnTo>
                    <a:pt x="286" y="970"/>
                  </a:lnTo>
                  <a:lnTo>
                    <a:pt x="289" y="966"/>
                  </a:lnTo>
                  <a:lnTo>
                    <a:pt x="291" y="963"/>
                  </a:lnTo>
                  <a:lnTo>
                    <a:pt x="294" y="963"/>
                  </a:lnTo>
                  <a:lnTo>
                    <a:pt x="297" y="963"/>
                  </a:lnTo>
                  <a:lnTo>
                    <a:pt x="311" y="963"/>
                  </a:lnTo>
                  <a:lnTo>
                    <a:pt x="316" y="965"/>
                  </a:lnTo>
                  <a:lnTo>
                    <a:pt x="321" y="964"/>
                  </a:lnTo>
                  <a:lnTo>
                    <a:pt x="326" y="963"/>
                  </a:lnTo>
                  <a:lnTo>
                    <a:pt x="327" y="966"/>
                  </a:lnTo>
                  <a:lnTo>
                    <a:pt x="324" y="970"/>
                  </a:lnTo>
                  <a:lnTo>
                    <a:pt x="321" y="971"/>
                  </a:lnTo>
                  <a:lnTo>
                    <a:pt x="316" y="973"/>
                  </a:lnTo>
                  <a:lnTo>
                    <a:pt x="312" y="976"/>
                  </a:lnTo>
                  <a:lnTo>
                    <a:pt x="312" y="982"/>
                  </a:lnTo>
                  <a:lnTo>
                    <a:pt x="313" y="984"/>
                  </a:lnTo>
                  <a:lnTo>
                    <a:pt x="311" y="987"/>
                  </a:lnTo>
                  <a:lnTo>
                    <a:pt x="306" y="991"/>
                  </a:lnTo>
                  <a:lnTo>
                    <a:pt x="305" y="995"/>
                  </a:lnTo>
                  <a:lnTo>
                    <a:pt x="305" y="999"/>
                  </a:lnTo>
                  <a:lnTo>
                    <a:pt x="311" y="1000"/>
                  </a:lnTo>
                  <a:lnTo>
                    <a:pt x="315" y="1000"/>
                  </a:lnTo>
                  <a:lnTo>
                    <a:pt x="326" y="998"/>
                  </a:lnTo>
                  <a:lnTo>
                    <a:pt x="331" y="996"/>
                  </a:lnTo>
                  <a:lnTo>
                    <a:pt x="338" y="996"/>
                  </a:lnTo>
                  <a:lnTo>
                    <a:pt x="344" y="991"/>
                  </a:lnTo>
                  <a:lnTo>
                    <a:pt x="347" y="988"/>
                  </a:lnTo>
                  <a:lnTo>
                    <a:pt x="351" y="983"/>
                  </a:lnTo>
                  <a:lnTo>
                    <a:pt x="355" y="980"/>
                  </a:lnTo>
                  <a:lnTo>
                    <a:pt x="358" y="978"/>
                  </a:lnTo>
                  <a:lnTo>
                    <a:pt x="360" y="978"/>
                  </a:lnTo>
                  <a:lnTo>
                    <a:pt x="363" y="980"/>
                  </a:lnTo>
                  <a:lnTo>
                    <a:pt x="368" y="983"/>
                  </a:lnTo>
                  <a:lnTo>
                    <a:pt x="372" y="986"/>
                  </a:lnTo>
                  <a:lnTo>
                    <a:pt x="377" y="988"/>
                  </a:lnTo>
                  <a:lnTo>
                    <a:pt x="379" y="992"/>
                  </a:lnTo>
                  <a:lnTo>
                    <a:pt x="380" y="998"/>
                  </a:lnTo>
                  <a:lnTo>
                    <a:pt x="385" y="1002"/>
                  </a:lnTo>
                  <a:lnTo>
                    <a:pt x="393" y="1008"/>
                  </a:lnTo>
                  <a:lnTo>
                    <a:pt x="399" y="1008"/>
                  </a:lnTo>
                  <a:lnTo>
                    <a:pt x="404" y="1007"/>
                  </a:lnTo>
                  <a:lnTo>
                    <a:pt x="407" y="1003"/>
                  </a:lnTo>
                  <a:lnTo>
                    <a:pt x="410" y="1000"/>
                  </a:lnTo>
                  <a:lnTo>
                    <a:pt x="416" y="1000"/>
                  </a:lnTo>
                  <a:lnTo>
                    <a:pt x="422" y="1002"/>
                  </a:lnTo>
                  <a:lnTo>
                    <a:pt x="428" y="1000"/>
                  </a:lnTo>
                  <a:lnTo>
                    <a:pt x="433" y="1000"/>
                  </a:lnTo>
                  <a:lnTo>
                    <a:pt x="435" y="1002"/>
                  </a:lnTo>
                  <a:lnTo>
                    <a:pt x="440" y="1004"/>
                  </a:lnTo>
                  <a:lnTo>
                    <a:pt x="446" y="1005"/>
                  </a:lnTo>
                  <a:lnTo>
                    <a:pt x="451" y="1004"/>
                  </a:lnTo>
                  <a:lnTo>
                    <a:pt x="454" y="1006"/>
                  </a:lnTo>
                  <a:lnTo>
                    <a:pt x="458" y="1011"/>
                  </a:lnTo>
                  <a:lnTo>
                    <a:pt x="463" y="1011"/>
                  </a:lnTo>
                  <a:lnTo>
                    <a:pt x="471" y="1008"/>
                  </a:lnTo>
                  <a:lnTo>
                    <a:pt x="474" y="1006"/>
                  </a:lnTo>
                  <a:lnTo>
                    <a:pt x="476" y="1003"/>
                  </a:lnTo>
                  <a:lnTo>
                    <a:pt x="480" y="999"/>
                  </a:lnTo>
                  <a:lnTo>
                    <a:pt x="483" y="1000"/>
                  </a:lnTo>
                  <a:lnTo>
                    <a:pt x="486" y="1003"/>
                  </a:lnTo>
                  <a:lnTo>
                    <a:pt x="489" y="1005"/>
                  </a:lnTo>
                  <a:lnTo>
                    <a:pt x="495" y="1012"/>
                  </a:lnTo>
                  <a:lnTo>
                    <a:pt x="497" y="1019"/>
                  </a:lnTo>
                  <a:lnTo>
                    <a:pt x="498" y="1022"/>
                  </a:lnTo>
                  <a:lnTo>
                    <a:pt x="499" y="1027"/>
                  </a:lnTo>
                  <a:lnTo>
                    <a:pt x="503" y="1030"/>
                  </a:lnTo>
                  <a:lnTo>
                    <a:pt x="505" y="1032"/>
                  </a:lnTo>
                  <a:lnTo>
                    <a:pt x="507" y="1035"/>
                  </a:lnTo>
                  <a:lnTo>
                    <a:pt x="513" y="1036"/>
                  </a:lnTo>
                  <a:lnTo>
                    <a:pt x="518" y="1035"/>
                  </a:lnTo>
                  <a:lnTo>
                    <a:pt x="520" y="1031"/>
                  </a:lnTo>
                  <a:lnTo>
                    <a:pt x="521" y="1027"/>
                  </a:lnTo>
                  <a:lnTo>
                    <a:pt x="528" y="1026"/>
                  </a:lnTo>
                  <a:lnTo>
                    <a:pt x="531" y="1027"/>
                  </a:lnTo>
                  <a:lnTo>
                    <a:pt x="532" y="1028"/>
                  </a:lnTo>
                  <a:lnTo>
                    <a:pt x="534" y="1034"/>
                  </a:lnTo>
                  <a:lnTo>
                    <a:pt x="535" y="1039"/>
                  </a:lnTo>
                  <a:lnTo>
                    <a:pt x="536" y="1048"/>
                  </a:lnTo>
                  <a:lnTo>
                    <a:pt x="535" y="1051"/>
                  </a:lnTo>
                  <a:lnTo>
                    <a:pt x="532" y="1053"/>
                  </a:lnTo>
                  <a:lnTo>
                    <a:pt x="527" y="1053"/>
                  </a:lnTo>
                  <a:lnTo>
                    <a:pt x="524" y="1061"/>
                  </a:lnTo>
                  <a:lnTo>
                    <a:pt x="529" y="1063"/>
                  </a:lnTo>
                  <a:lnTo>
                    <a:pt x="536" y="1064"/>
                  </a:lnTo>
                  <a:lnTo>
                    <a:pt x="543" y="1066"/>
                  </a:lnTo>
                  <a:lnTo>
                    <a:pt x="550" y="1075"/>
                  </a:lnTo>
                  <a:lnTo>
                    <a:pt x="552" y="1079"/>
                  </a:lnTo>
                  <a:lnTo>
                    <a:pt x="555" y="1088"/>
                  </a:lnTo>
                  <a:lnTo>
                    <a:pt x="559" y="1093"/>
                  </a:lnTo>
                  <a:lnTo>
                    <a:pt x="559" y="1098"/>
                  </a:lnTo>
                  <a:lnTo>
                    <a:pt x="559" y="1100"/>
                  </a:lnTo>
                  <a:lnTo>
                    <a:pt x="559" y="1109"/>
                  </a:lnTo>
                  <a:lnTo>
                    <a:pt x="559" y="1119"/>
                  </a:lnTo>
                  <a:lnTo>
                    <a:pt x="560" y="1123"/>
                  </a:lnTo>
                  <a:lnTo>
                    <a:pt x="562" y="1131"/>
                  </a:lnTo>
                  <a:lnTo>
                    <a:pt x="555" y="1142"/>
                  </a:lnTo>
                  <a:lnTo>
                    <a:pt x="552" y="1144"/>
                  </a:lnTo>
                  <a:lnTo>
                    <a:pt x="550" y="1149"/>
                  </a:lnTo>
                  <a:lnTo>
                    <a:pt x="550" y="1152"/>
                  </a:lnTo>
                  <a:lnTo>
                    <a:pt x="547" y="1155"/>
                  </a:lnTo>
                  <a:lnTo>
                    <a:pt x="542" y="1156"/>
                  </a:lnTo>
                  <a:lnTo>
                    <a:pt x="537" y="1157"/>
                  </a:lnTo>
                  <a:lnTo>
                    <a:pt x="532" y="1159"/>
                  </a:lnTo>
                  <a:lnTo>
                    <a:pt x="531" y="1160"/>
                  </a:lnTo>
                  <a:lnTo>
                    <a:pt x="532" y="1163"/>
                  </a:lnTo>
                  <a:lnTo>
                    <a:pt x="535" y="1164"/>
                  </a:lnTo>
                  <a:lnTo>
                    <a:pt x="537" y="1165"/>
                  </a:lnTo>
                  <a:lnTo>
                    <a:pt x="538" y="1166"/>
                  </a:lnTo>
                  <a:lnTo>
                    <a:pt x="539" y="1170"/>
                  </a:lnTo>
                  <a:lnTo>
                    <a:pt x="537" y="1174"/>
                  </a:lnTo>
                  <a:lnTo>
                    <a:pt x="535" y="1178"/>
                  </a:lnTo>
                  <a:lnTo>
                    <a:pt x="535" y="1180"/>
                  </a:lnTo>
                  <a:lnTo>
                    <a:pt x="530" y="1181"/>
                  </a:lnTo>
                  <a:lnTo>
                    <a:pt x="527" y="1181"/>
                  </a:lnTo>
                  <a:lnTo>
                    <a:pt x="522" y="1181"/>
                  </a:lnTo>
                  <a:lnTo>
                    <a:pt x="520" y="1182"/>
                  </a:lnTo>
                  <a:lnTo>
                    <a:pt x="519" y="1184"/>
                  </a:lnTo>
                  <a:lnTo>
                    <a:pt x="520" y="1186"/>
                  </a:lnTo>
                  <a:lnTo>
                    <a:pt x="521" y="1189"/>
                  </a:lnTo>
                  <a:lnTo>
                    <a:pt x="523" y="1190"/>
                  </a:lnTo>
                  <a:lnTo>
                    <a:pt x="528" y="1194"/>
                  </a:lnTo>
                  <a:lnTo>
                    <a:pt x="530" y="1195"/>
                  </a:lnTo>
                  <a:lnTo>
                    <a:pt x="532" y="1197"/>
                  </a:lnTo>
                  <a:lnTo>
                    <a:pt x="534" y="1199"/>
                  </a:lnTo>
                  <a:lnTo>
                    <a:pt x="534" y="1200"/>
                  </a:lnTo>
                  <a:lnTo>
                    <a:pt x="532" y="1203"/>
                  </a:lnTo>
                  <a:lnTo>
                    <a:pt x="530" y="1205"/>
                  </a:lnTo>
                  <a:lnTo>
                    <a:pt x="527" y="1207"/>
                  </a:lnTo>
                  <a:lnTo>
                    <a:pt x="523" y="1208"/>
                  </a:lnTo>
                  <a:lnTo>
                    <a:pt x="521" y="1208"/>
                  </a:lnTo>
                  <a:lnTo>
                    <a:pt x="519" y="1211"/>
                  </a:lnTo>
                  <a:lnTo>
                    <a:pt x="518" y="1212"/>
                  </a:lnTo>
                  <a:lnTo>
                    <a:pt x="519" y="1214"/>
                  </a:lnTo>
                  <a:lnTo>
                    <a:pt x="520" y="1215"/>
                  </a:lnTo>
                  <a:lnTo>
                    <a:pt x="522" y="1218"/>
                  </a:lnTo>
                  <a:lnTo>
                    <a:pt x="523" y="1223"/>
                  </a:lnTo>
                  <a:lnTo>
                    <a:pt x="524" y="1228"/>
                  </a:lnTo>
                  <a:lnTo>
                    <a:pt x="524" y="1229"/>
                  </a:lnTo>
                  <a:lnTo>
                    <a:pt x="523" y="1234"/>
                  </a:lnTo>
                  <a:lnTo>
                    <a:pt x="522" y="1236"/>
                  </a:lnTo>
                  <a:lnTo>
                    <a:pt x="520" y="1242"/>
                  </a:lnTo>
                  <a:lnTo>
                    <a:pt x="518" y="1245"/>
                  </a:lnTo>
                  <a:lnTo>
                    <a:pt x="514" y="1247"/>
                  </a:lnTo>
                  <a:lnTo>
                    <a:pt x="508" y="1252"/>
                  </a:lnTo>
                  <a:lnTo>
                    <a:pt x="504" y="1255"/>
                  </a:lnTo>
                  <a:lnTo>
                    <a:pt x="502" y="1256"/>
                  </a:lnTo>
                  <a:lnTo>
                    <a:pt x="498" y="1259"/>
                  </a:lnTo>
                  <a:lnTo>
                    <a:pt x="497" y="1261"/>
                  </a:lnTo>
                  <a:lnTo>
                    <a:pt x="497" y="1266"/>
                  </a:lnTo>
                  <a:lnTo>
                    <a:pt x="497" y="1271"/>
                  </a:lnTo>
                  <a:lnTo>
                    <a:pt x="495" y="1272"/>
                  </a:lnTo>
                  <a:lnTo>
                    <a:pt x="490" y="1275"/>
                  </a:lnTo>
                  <a:lnTo>
                    <a:pt x="487" y="1275"/>
                  </a:lnTo>
                  <a:lnTo>
                    <a:pt x="483" y="1276"/>
                  </a:lnTo>
                  <a:lnTo>
                    <a:pt x="479" y="1279"/>
                  </a:lnTo>
                  <a:lnTo>
                    <a:pt x="479" y="1284"/>
                  </a:lnTo>
                  <a:lnTo>
                    <a:pt x="472" y="1293"/>
                  </a:lnTo>
                  <a:lnTo>
                    <a:pt x="471" y="1296"/>
                  </a:lnTo>
                  <a:lnTo>
                    <a:pt x="472" y="1301"/>
                  </a:lnTo>
                  <a:lnTo>
                    <a:pt x="474" y="1303"/>
                  </a:lnTo>
                  <a:lnTo>
                    <a:pt x="476" y="1308"/>
                  </a:lnTo>
                  <a:lnTo>
                    <a:pt x="479" y="1312"/>
                  </a:lnTo>
                  <a:lnTo>
                    <a:pt x="481" y="1316"/>
                  </a:lnTo>
                  <a:lnTo>
                    <a:pt x="480" y="1323"/>
                  </a:lnTo>
                  <a:lnTo>
                    <a:pt x="472" y="1327"/>
                  </a:lnTo>
                  <a:lnTo>
                    <a:pt x="464" y="1328"/>
                  </a:lnTo>
                  <a:lnTo>
                    <a:pt x="458" y="1330"/>
                  </a:lnTo>
                  <a:lnTo>
                    <a:pt x="454" y="1332"/>
                  </a:lnTo>
                  <a:lnTo>
                    <a:pt x="448" y="1336"/>
                  </a:lnTo>
                  <a:lnTo>
                    <a:pt x="440" y="1341"/>
                  </a:lnTo>
                  <a:lnTo>
                    <a:pt x="434" y="1344"/>
                  </a:lnTo>
                  <a:lnTo>
                    <a:pt x="431" y="1346"/>
                  </a:lnTo>
                  <a:lnTo>
                    <a:pt x="425" y="1346"/>
                  </a:lnTo>
                  <a:lnTo>
                    <a:pt x="420" y="1346"/>
                  </a:lnTo>
                  <a:lnTo>
                    <a:pt x="416" y="1344"/>
                  </a:lnTo>
                  <a:lnTo>
                    <a:pt x="412" y="1343"/>
                  </a:lnTo>
                  <a:lnTo>
                    <a:pt x="408" y="1342"/>
                  </a:lnTo>
                  <a:lnTo>
                    <a:pt x="403" y="1342"/>
                  </a:lnTo>
                  <a:lnTo>
                    <a:pt x="400" y="1342"/>
                  </a:lnTo>
                  <a:lnTo>
                    <a:pt x="395" y="1344"/>
                  </a:lnTo>
                  <a:lnTo>
                    <a:pt x="391" y="1346"/>
                  </a:lnTo>
                  <a:lnTo>
                    <a:pt x="386" y="1347"/>
                  </a:lnTo>
                  <a:lnTo>
                    <a:pt x="380" y="1348"/>
                  </a:lnTo>
                  <a:lnTo>
                    <a:pt x="374" y="1350"/>
                  </a:lnTo>
                  <a:lnTo>
                    <a:pt x="372" y="1354"/>
                  </a:lnTo>
                  <a:lnTo>
                    <a:pt x="371" y="1358"/>
                  </a:lnTo>
                  <a:lnTo>
                    <a:pt x="371" y="1364"/>
                  </a:lnTo>
                  <a:lnTo>
                    <a:pt x="367" y="1368"/>
                  </a:lnTo>
                  <a:lnTo>
                    <a:pt x="361" y="1374"/>
                  </a:lnTo>
                  <a:lnTo>
                    <a:pt x="355" y="1379"/>
                  </a:lnTo>
                  <a:lnTo>
                    <a:pt x="352" y="1382"/>
                  </a:lnTo>
                  <a:lnTo>
                    <a:pt x="346" y="1387"/>
                  </a:lnTo>
                  <a:lnTo>
                    <a:pt x="342" y="1389"/>
                  </a:lnTo>
                  <a:lnTo>
                    <a:pt x="339" y="1392"/>
                  </a:lnTo>
                  <a:lnTo>
                    <a:pt x="337" y="1397"/>
                  </a:lnTo>
                  <a:lnTo>
                    <a:pt x="339" y="1400"/>
                  </a:lnTo>
                  <a:lnTo>
                    <a:pt x="343" y="1407"/>
                  </a:lnTo>
                  <a:lnTo>
                    <a:pt x="342" y="1412"/>
                  </a:lnTo>
                  <a:lnTo>
                    <a:pt x="340" y="1416"/>
                  </a:lnTo>
                  <a:lnTo>
                    <a:pt x="342" y="1420"/>
                  </a:lnTo>
                  <a:lnTo>
                    <a:pt x="346" y="1422"/>
                  </a:lnTo>
                  <a:lnTo>
                    <a:pt x="348" y="1423"/>
                  </a:lnTo>
                  <a:lnTo>
                    <a:pt x="350" y="1426"/>
                  </a:lnTo>
                  <a:lnTo>
                    <a:pt x="351" y="1429"/>
                  </a:lnTo>
                  <a:lnTo>
                    <a:pt x="352" y="1432"/>
                  </a:lnTo>
                  <a:lnTo>
                    <a:pt x="356" y="1438"/>
                  </a:lnTo>
                  <a:lnTo>
                    <a:pt x="359" y="1440"/>
                  </a:lnTo>
                  <a:lnTo>
                    <a:pt x="361" y="1450"/>
                  </a:lnTo>
                  <a:lnTo>
                    <a:pt x="360" y="1452"/>
                  </a:lnTo>
                  <a:lnTo>
                    <a:pt x="362" y="1453"/>
                  </a:lnTo>
                  <a:lnTo>
                    <a:pt x="368" y="1454"/>
                  </a:lnTo>
                  <a:lnTo>
                    <a:pt x="370" y="1455"/>
                  </a:lnTo>
                  <a:lnTo>
                    <a:pt x="371" y="1456"/>
                  </a:lnTo>
                  <a:lnTo>
                    <a:pt x="372" y="1462"/>
                  </a:lnTo>
                  <a:lnTo>
                    <a:pt x="369" y="1467"/>
                  </a:lnTo>
                  <a:lnTo>
                    <a:pt x="363" y="1469"/>
                  </a:lnTo>
                  <a:lnTo>
                    <a:pt x="360" y="1472"/>
                  </a:lnTo>
                  <a:lnTo>
                    <a:pt x="358" y="1478"/>
                  </a:lnTo>
                  <a:lnTo>
                    <a:pt x="353" y="1482"/>
                  </a:lnTo>
                  <a:lnTo>
                    <a:pt x="350" y="1485"/>
                  </a:lnTo>
                  <a:lnTo>
                    <a:pt x="348" y="1490"/>
                  </a:lnTo>
                  <a:lnTo>
                    <a:pt x="348" y="1493"/>
                  </a:lnTo>
                  <a:lnTo>
                    <a:pt x="347" y="1498"/>
                  </a:lnTo>
                  <a:lnTo>
                    <a:pt x="347" y="1502"/>
                  </a:lnTo>
                  <a:lnTo>
                    <a:pt x="347" y="1507"/>
                  </a:lnTo>
                  <a:lnTo>
                    <a:pt x="346" y="1511"/>
                  </a:lnTo>
                  <a:lnTo>
                    <a:pt x="343" y="1516"/>
                  </a:lnTo>
                  <a:lnTo>
                    <a:pt x="337" y="1520"/>
                  </a:lnTo>
                  <a:lnTo>
                    <a:pt x="332" y="1525"/>
                  </a:lnTo>
                  <a:lnTo>
                    <a:pt x="329" y="1526"/>
                  </a:lnTo>
                  <a:lnTo>
                    <a:pt x="322" y="1526"/>
                  </a:lnTo>
                  <a:lnTo>
                    <a:pt x="318" y="1525"/>
                  </a:lnTo>
                  <a:lnTo>
                    <a:pt x="314" y="1524"/>
                  </a:lnTo>
                  <a:lnTo>
                    <a:pt x="310" y="1526"/>
                  </a:lnTo>
                  <a:lnTo>
                    <a:pt x="308" y="1528"/>
                  </a:lnTo>
                  <a:lnTo>
                    <a:pt x="306" y="1533"/>
                  </a:lnTo>
                  <a:lnTo>
                    <a:pt x="306" y="1542"/>
                  </a:lnTo>
                  <a:lnTo>
                    <a:pt x="310" y="1548"/>
                  </a:lnTo>
                  <a:lnTo>
                    <a:pt x="313" y="1550"/>
                  </a:lnTo>
                  <a:lnTo>
                    <a:pt x="318" y="1551"/>
                  </a:lnTo>
                  <a:lnTo>
                    <a:pt x="324" y="1554"/>
                  </a:lnTo>
                  <a:lnTo>
                    <a:pt x="330" y="1564"/>
                  </a:lnTo>
                  <a:lnTo>
                    <a:pt x="327" y="1571"/>
                  </a:lnTo>
                  <a:lnTo>
                    <a:pt x="323" y="1578"/>
                  </a:lnTo>
                  <a:lnTo>
                    <a:pt x="323" y="1583"/>
                  </a:lnTo>
                  <a:lnTo>
                    <a:pt x="326" y="1587"/>
                  </a:lnTo>
                  <a:lnTo>
                    <a:pt x="327" y="1598"/>
                  </a:lnTo>
                  <a:lnTo>
                    <a:pt x="323" y="1603"/>
                  </a:lnTo>
                  <a:lnTo>
                    <a:pt x="321" y="1608"/>
                  </a:lnTo>
                  <a:lnTo>
                    <a:pt x="322" y="1612"/>
                  </a:lnTo>
                  <a:lnTo>
                    <a:pt x="323" y="1615"/>
                  </a:lnTo>
                  <a:lnTo>
                    <a:pt x="321" y="1619"/>
                  </a:lnTo>
                  <a:lnTo>
                    <a:pt x="321" y="1623"/>
                  </a:lnTo>
                  <a:lnTo>
                    <a:pt x="321" y="1627"/>
                  </a:lnTo>
                  <a:lnTo>
                    <a:pt x="323" y="1631"/>
                  </a:lnTo>
                  <a:lnTo>
                    <a:pt x="324" y="1637"/>
                  </a:lnTo>
                  <a:lnTo>
                    <a:pt x="330" y="1643"/>
                  </a:lnTo>
                  <a:lnTo>
                    <a:pt x="332" y="1645"/>
                  </a:lnTo>
                  <a:lnTo>
                    <a:pt x="335" y="1648"/>
                  </a:lnTo>
                  <a:lnTo>
                    <a:pt x="337" y="1652"/>
                  </a:lnTo>
                  <a:lnTo>
                    <a:pt x="339" y="1655"/>
                  </a:lnTo>
                  <a:lnTo>
                    <a:pt x="345" y="1658"/>
                  </a:lnTo>
                  <a:lnTo>
                    <a:pt x="348" y="1661"/>
                  </a:lnTo>
                  <a:lnTo>
                    <a:pt x="352" y="1663"/>
                  </a:lnTo>
                  <a:lnTo>
                    <a:pt x="355" y="1667"/>
                  </a:lnTo>
                  <a:lnTo>
                    <a:pt x="358" y="1670"/>
                  </a:lnTo>
                  <a:lnTo>
                    <a:pt x="355" y="1675"/>
                  </a:lnTo>
                  <a:lnTo>
                    <a:pt x="352" y="1677"/>
                  </a:lnTo>
                  <a:lnTo>
                    <a:pt x="348" y="1678"/>
                  </a:lnTo>
                  <a:lnTo>
                    <a:pt x="343" y="1680"/>
                  </a:lnTo>
                  <a:lnTo>
                    <a:pt x="343" y="1683"/>
                  </a:lnTo>
                  <a:lnTo>
                    <a:pt x="345" y="1686"/>
                  </a:lnTo>
                  <a:lnTo>
                    <a:pt x="348" y="1688"/>
                  </a:lnTo>
                  <a:lnTo>
                    <a:pt x="354" y="1691"/>
                  </a:lnTo>
                  <a:lnTo>
                    <a:pt x="361" y="1694"/>
                  </a:lnTo>
                  <a:lnTo>
                    <a:pt x="369" y="1698"/>
                  </a:lnTo>
                  <a:lnTo>
                    <a:pt x="372" y="1698"/>
                  </a:lnTo>
                  <a:lnTo>
                    <a:pt x="374" y="1696"/>
                  </a:lnTo>
                  <a:lnTo>
                    <a:pt x="376" y="1694"/>
                  </a:lnTo>
                  <a:lnTo>
                    <a:pt x="383" y="1685"/>
                  </a:lnTo>
                  <a:lnTo>
                    <a:pt x="384" y="1682"/>
                  </a:lnTo>
                  <a:lnTo>
                    <a:pt x="386" y="1678"/>
                  </a:lnTo>
                  <a:lnTo>
                    <a:pt x="387" y="1675"/>
                  </a:lnTo>
                  <a:lnTo>
                    <a:pt x="390" y="1670"/>
                  </a:lnTo>
                  <a:lnTo>
                    <a:pt x="392" y="1667"/>
                  </a:lnTo>
                  <a:lnTo>
                    <a:pt x="395" y="1664"/>
                  </a:lnTo>
                  <a:lnTo>
                    <a:pt x="399" y="1664"/>
                  </a:lnTo>
                  <a:lnTo>
                    <a:pt x="403" y="1663"/>
                  </a:lnTo>
                  <a:lnTo>
                    <a:pt x="408" y="1663"/>
                  </a:lnTo>
                  <a:lnTo>
                    <a:pt x="411" y="1667"/>
                  </a:lnTo>
                  <a:lnTo>
                    <a:pt x="415" y="1679"/>
                  </a:lnTo>
                  <a:lnTo>
                    <a:pt x="419" y="1686"/>
                  </a:lnTo>
                  <a:lnTo>
                    <a:pt x="422" y="1690"/>
                  </a:lnTo>
                  <a:lnTo>
                    <a:pt x="425" y="1693"/>
                  </a:lnTo>
                  <a:lnTo>
                    <a:pt x="430" y="1696"/>
                  </a:lnTo>
                  <a:lnTo>
                    <a:pt x="432" y="1701"/>
                  </a:lnTo>
                  <a:lnTo>
                    <a:pt x="435" y="1704"/>
                  </a:lnTo>
                  <a:lnTo>
                    <a:pt x="440" y="1706"/>
                  </a:lnTo>
                  <a:lnTo>
                    <a:pt x="444" y="1706"/>
                  </a:lnTo>
                  <a:lnTo>
                    <a:pt x="448" y="1708"/>
                  </a:lnTo>
                  <a:lnTo>
                    <a:pt x="451" y="1710"/>
                  </a:lnTo>
                  <a:lnTo>
                    <a:pt x="457" y="1711"/>
                  </a:lnTo>
                  <a:lnTo>
                    <a:pt x="458" y="1709"/>
                  </a:lnTo>
                  <a:lnTo>
                    <a:pt x="463" y="1706"/>
                  </a:lnTo>
                  <a:lnTo>
                    <a:pt x="466" y="1703"/>
                  </a:lnTo>
                  <a:lnTo>
                    <a:pt x="468" y="1707"/>
                  </a:lnTo>
                  <a:lnTo>
                    <a:pt x="471" y="1711"/>
                  </a:lnTo>
                  <a:lnTo>
                    <a:pt x="473" y="1716"/>
                  </a:lnTo>
                  <a:lnTo>
                    <a:pt x="476" y="1718"/>
                  </a:lnTo>
                  <a:lnTo>
                    <a:pt x="483" y="1716"/>
                  </a:lnTo>
                  <a:lnTo>
                    <a:pt x="487" y="1714"/>
                  </a:lnTo>
                  <a:lnTo>
                    <a:pt x="492" y="1711"/>
                  </a:lnTo>
                  <a:lnTo>
                    <a:pt x="498" y="1707"/>
                  </a:lnTo>
                  <a:lnTo>
                    <a:pt x="504" y="1699"/>
                  </a:lnTo>
                  <a:lnTo>
                    <a:pt x="505" y="1694"/>
                  </a:lnTo>
                  <a:lnTo>
                    <a:pt x="511" y="1692"/>
                  </a:lnTo>
                  <a:lnTo>
                    <a:pt x="518" y="1690"/>
                  </a:lnTo>
                  <a:lnTo>
                    <a:pt x="522" y="1687"/>
                  </a:lnTo>
                  <a:lnTo>
                    <a:pt x="528" y="1685"/>
                  </a:lnTo>
                  <a:lnTo>
                    <a:pt x="532" y="1680"/>
                  </a:lnTo>
                  <a:lnTo>
                    <a:pt x="534" y="1675"/>
                  </a:lnTo>
                  <a:lnTo>
                    <a:pt x="529" y="1669"/>
                  </a:lnTo>
                  <a:lnTo>
                    <a:pt x="526" y="1663"/>
                  </a:lnTo>
                  <a:lnTo>
                    <a:pt x="524" y="1658"/>
                  </a:lnTo>
                  <a:lnTo>
                    <a:pt x="520" y="1654"/>
                  </a:lnTo>
                  <a:lnTo>
                    <a:pt x="511" y="1648"/>
                  </a:lnTo>
                  <a:lnTo>
                    <a:pt x="510" y="1644"/>
                  </a:lnTo>
                  <a:lnTo>
                    <a:pt x="511" y="1638"/>
                  </a:lnTo>
                  <a:lnTo>
                    <a:pt x="514" y="1634"/>
                  </a:lnTo>
                  <a:lnTo>
                    <a:pt x="515" y="1629"/>
                  </a:lnTo>
                  <a:lnTo>
                    <a:pt x="515" y="1624"/>
                  </a:lnTo>
                  <a:lnTo>
                    <a:pt x="512" y="1620"/>
                  </a:lnTo>
                  <a:lnTo>
                    <a:pt x="508" y="1613"/>
                  </a:lnTo>
                  <a:lnTo>
                    <a:pt x="507" y="1605"/>
                  </a:lnTo>
                  <a:lnTo>
                    <a:pt x="504" y="1600"/>
                  </a:lnTo>
                  <a:lnTo>
                    <a:pt x="499" y="1600"/>
                  </a:lnTo>
                  <a:lnTo>
                    <a:pt x="492" y="1604"/>
                  </a:lnTo>
                  <a:lnTo>
                    <a:pt x="482" y="1605"/>
                  </a:lnTo>
                  <a:lnTo>
                    <a:pt x="480" y="1604"/>
                  </a:lnTo>
                  <a:lnTo>
                    <a:pt x="474" y="1605"/>
                  </a:lnTo>
                  <a:lnTo>
                    <a:pt x="471" y="1604"/>
                  </a:lnTo>
                  <a:lnTo>
                    <a:pt x="470" y="1603"/>
                  </a:lnTo>
                  <a:lnTo>
                    <a:pt x="470" y="1600"/>
                  </a:lnTo>
                  <a:lnTo>
                    <a:pt x="468" y="1598"/>
                  </a:lnTo>
                  <a:lnTo>
                    <a:pt x="468" y="1596"/>
                  </a:lnTo>
                  <a:lnTo>
                    <a:pt x="470" y="1592"/>
                  </a:lnTo>
                  <a:lnTo>
                    <a:pt x="471" y="1590"/>
                  </a:lnTo>
                  <a:lnTo>
                    <a:pt x="475" y="1580"/>
                  </a:lnTo>
                  <a:lnTo>
                    <a:pt x="473" y="1575"/>
                  </a:lnTo>
                  <a:lnTo>
                    <a:pt x="468" y="1570"/>
                  </a:lnTo>
                  <a:lnTo>
                    <a:pt x="466" y="1562"/>
                  </a:lnTo>
                  <a:lnTo>
                    <a:pt x="466" y="1555"/>
                  </a:lnTo>
                  <a:lnTo>
                    <a:pt x="468" y="1549"/>
                  </a:lnTo>
                  <a:lnTo>
                    <a:pt x="472" y="1541"/>
                  </a:lnTo>
                  <a:lnTo>
                    <a:pt x="471" y="1538"/>
                  </a:lnTo>
                  <a:lnTo>
                    <a:pt x="468" y="1533"/>
                  </a:lnTo>
                  <a:lnTo>
                    <a:pt x="465" y="1531"/>
                  </a:lnTo>
                  <a:lnTo>
                    <a:pt x="459" y="1528"/>
                  </a:lnTo>
                  <a:lnTo>
                    <a:pt x="452" y="1527"/>
                  </a:lnTo>
                  <a:lnTo>
                    <a:pt x="444" y="1527"/>
                  </a:lnTo>
                  <a:lnTo>
                    <a:pt x="440" y="1523"/>
                  </a:lnTo>
                  <a:lnTo>
                    <a:pt x="438" y="1514"/>
                  </a:lnTo>
                  <a:lnTo>
                    <a:pt x="438" y="1510"/>
                  </a:lnTo>
                  <a:lnTo>
                    <a:pt x="439" y="1508"/>
                  </a:lnTo>
                  <a:lnTo>
                    <a:pt x="441" y="1504"/>
                  </a:lnTo>
                  <a:lnTo>
                    <a:pt x="443" y="1501"/>
                  </a:lnTo>
                  <a:lnTo>
                    <a:pt x="446" y="1496"/>
                  </a:lnTo>
                  <a:lnTo>
                    <a:pt x="447" y="1493"/>
                  </a:lnTo>
                  <a:lnTo>
                    <a:pt x="447" y="1488"/>
                  </a:lnTo>
                  <a:lnTo>
                    <a:pt x="443" y="1485"/>
                  </a:lnTo>
                  <a:lnTo>
                    <a:pt x="439" y="1482"/>
                  </a:lnTo>
                  <a:lnTo>
                    <a:pt x="433" y="1478"/>
                  </a:lnTo>
                  <a:lnTo>
                    <a:pt x="428" y="1474"/>
                  </a:lnTo>
                  <a:lnTo>
                    <a:pt x="424" y="1468"/>
                  </a:lnTo>
                  <a:lnTo>
                    <a:pt x="425" y="1458"/>
                  </a:lnTo>
                  <a:lnTo>
                    <a:pt x="427" y="1452"/>
                  </a:lnTo>
                  <a:lnTo>
                    <a:pt x="427" y="1447"/>
                  </a:lnTo>
                  <a:lnTo>
                    <a:pt x="427" y="1442"/>
                  </a:lnTo>
                  <a:lnTo>
                    <a:pt x="424" y="1438"/>
                  </a:lnTo>
                  <a:lnTo>
                    <a:pt x="419" y="1436"/>
                  </a:lnTo>
                  <a:lnTo>
                    <a:pt x="414" y="1432"/>
                  </a:lnTo>
                  <a:lnTo>
                    <a:pt x="408" y="1430"/>
                  </a:lnTo>
                  <a:lnTo>
                    <a:pt x="402" y="1428"/>
                  </a:lnTo>
                  <a:lnTo>
                    <a:pt x="384" y="1423"/>
                  </a:lnTo>
                  <a:lnTo>
                    <a:pt x="382" y="1422"/>
                  </a:lnTo>
                  <a:lnTo>
                    <a:pt x="378" y="1420"/>
                  </a:lnTo>
                  <a:lnTo>
                    <a:pt x="378" y="1419"/>
                  </a:lnTo>
                  <a:lnTo>
                    <a:pt x="380" y="1415"/>
                  </a:lnTo>
                  <a:lnTo>
                    <a:pt x="388" y="1412"/>
                  </a:lnTo>
                  <a:lnTo>
                    <a:pt x="393" y="1412"/>
                  </a:lnTo>
                  <a:lnTo>
                    <a:pt x="401" y="1414"/>
                  </a:lnTo>
                  <a:lnTo>
                    <a:pt x="406" y="1412"/>
                  </a:lnTo>
                  <a:lnTo>
                    <a:pt x="404" y="1407"/>
                  </a:lnTo>
                  <a:lnTo>
                    <a:pt x="403" y="1402"/>
                  </a:lnTo>
                  <a:lnTo>
                    <a:pt x="406" y="1398"/>
                  </a:lnTo>
                  <a:lnTo>
                    <a:pt x="409" y="1398"/>
                  </a:lnTo>
                  <a:lnTo>
                    <a:pt x="412" y="1399"/>
                  </a:lnTo>
                  <a:lnTo>
                    <a:pt x="416" y="1398"/>
                  </a:lnTo>
                  <a:lnTo>
                    <a:pt x="416" y="1395"/>
                  </a:lnTo>
                  <a:lnTo>
                    <a:pt x="417" y="1390"/>
                  </a:lnTo>
                  <a:lnTo>
                    <a:pt x="420" y="1387"/>
                  </a:lnTo>
                  <a:lnTo>
                    <a:pt x="424" y="1383"/>
                  </a:lnTo>
                  <a:lnTo>
                    <a:pt x="426" y="1383"/>
                  </a:lnTo>
                  <a:lnTo>
                    <a:pt x="430" y="1386"/>
                  </a:lnTo>
                  <a:lnTo>
                    <a:pt x="433" y="1389"/>
                  </a:lnTo>
                  <a:lnTo>
                    <a:pt x="442" y="1394"/>
                  </a:lnTo>
                  <a:lnTo>
                    <a:pt x="443" y="1398"/>
                  </a:lnTo>
                  <a:lnTo>
                    <a:pt x="450" y="1398"/>
                  </a:lnTo>
                  <a:lnTo>
                    <a:pt x="455" y="1399"/>
                  </a:lnTo>
                  <a:lnTo>
                    <a:pt x="457" y="1403"/>
                  </a:lnTo>
                  <a:lnTo>
                    <a:pt x="460" y="1404"/>
                  </a:lnTo>
                  <a:lnTo>
                    <a:pt x="464" y="1404"/>
                  </a:lnTo>
                  <a:lnTo>
                    <a:pt x="467" y="1403"/>
                  </a:lnTo>
                  <a:lnTo>
                    <a:pt x="471" y="1399"/>
                  </a:lnTo>
                  <a:lnTo>
                    <a:pt x="472" y="1396"/>
                  </a:lnTo>
                  <a:lnTo>
                    <a:pt x="470" y="1392"/>
                  </a:lnTo>
                  <a:lnTo>
                    <a:pt x="465" y="1390"/>
                  </a:lnTo>
                  <a:lnTo>
                    <a:pt x="464" y="1387"/>
                  </a:lnTo>
                  <a:lnTo>
                    <a:pt x="465" y="1381"/>
                  </a:lnTo>
                  <a:lnTo>
                    <a:pt x="468" y="1382"/>
                  </a:lnTo>
                  <a:lnTo>
                    <a:pt x="472" y="1384"/>
                  </a:lnTo>
                  <a:lnTo>
                    <a:pt x="475" y="1383"/>
                  </a:lnTo>
                  <a:lnTo>
                    <a:pt x="476" y="1380"/>
                  </a:lnTo>
                  <a:lnTo>
                    <a:pt x="473" y="1375"/>
                  </a:lnTo>
                  <a:lnTo>
                    <a:pt x="468" y="1372"/>
                  </a:lnTo>
                  <a:lnTo>
                    <a:pt x="468" y="1368"/>
                  </a:lnTo>
                  <a:lnTo>
                    <a:pt x="473" y="1365"/>
                  </a:lnTo>
                  <a:lnTo>
                    <a:pt x="478" y="1365"/>
                  </a:lnTo>
                  <a:lnTo>
                    <a:pt x="482" y="1367"/>
                  </a:lnTo>
                  <a:lnTo>
                    <a:pt x="484" y="1372"/>
                  </a:lnTo>
                  <a:lnTo>
                    <a:pt x="489" y="1375"/>
                  </a:lnTo>
                  <a:lnTo>
                    <a:pt x="496" y="1375"/>
                  </a:lnTo>
                  <a:lnTo>
                    <a:pt x="497" y="1371"/>
                  </a:lnTo>
                  <a:lnTo>
                    <a:pt x="496" y="1365"/>
                  </a:lnTo>
                  <a:lnTo>
                    <a:pt x="500" y="1350"/>
                  </a:lnTo>
                  <a:lnTo>
                    <a:pt x="500" y="1348"/>
                  </a:lnTo>
                  <a:lnTo>
                    <a:pt x="505" y="1346"/>
                  </a:lnTo>
                  <a:lnTo>
                    <a:pt x="510" y="1344"/>
                  </a:lnTo>
                  <a:lnTo>
                    <a:pt x="514" y="1346"/>
                  </a:lnTo>
                  <a:lnTo>
                    <a:pt x="519" y="1349"/>
                  </a:lnTo>
                  <a:lnTo>
                    <a:pt x="521" y="1355"/>
                  </a:lnTo>
                  <a:lnTo>
                    <a:pt x="514" y="1363"/>
                  </a:lnTo>
                  <a:lnTo>
                    <a:pt x="512" y="1368"/>
                  </a:lnTo>
                  <a:lnTo>
                    <a:pt x="512" y="1376"/>
                  </a:lnTo>
                  <a:lnTo>
                    <a:pt x="516" y="1378"/>
                  </a:lnTo>
                  <a:lnTo>
                    <a:pt x="521" y="1376"/>
                  </a:lnTo>
                  <a:lnTo>
                    <a:pt x="524" y="1380"/>
                  </a:lnTo>
                  <a:lnTo>
                    <a:pt x="527" y="1381"/>
                  </a:lnTo>
                  <a:lnTo>
                    <a:pt x="527" y="1386"/>
                  </a:lnTo>
                  <a:lnTo>
                    <a:pt x="524" y="1390"/>
                  </a:lnTo>
                  <a:lnTo>
                    <a:pt x="522" y="1392"/>
                  </a:lnTo>
                  <a:lnTo>
                    <a:pt x="524" y="1399"/>
                  </a:lnTo>
                  <a:lnTo>
                    <a:pt x="521" y="1400"/>
                  </a:lnTo>
                  <a:lnTo>
                    <a:pt x="516" y="1400"/>
                  </a:lnTo>
                  <a:lnTo>
                    <a:pt x="512" y="1398"/>
                  </a:lnTo>
                  <a:lnTo>
                    <a:pt x="500" y="1395"/>
                  </a:lnTo>
                  <a:lnTo>
                    <a:pt x="496" y="1396"/>
                  </a:lnTo>
                  <a:lnTo>
                    <a:pt x="491" y="1399"/>
                  </a:lnTo>
                  <a:lnTo>
                    <a:pt x="488" y="1403"/>
                  </a:lnTo>
                  <a:lnTo>
                    <a:pt x="486" y="1408"/>
                  </a:lnTo>
                  <a:lnTo>
                    <a:pt x="482" y="1415"/>
                  </a:lnTo>
                  <a:lnTo>
                    <a:pt x="480" y="1421"/>
                  </a:lnTo>
                  <a:lnTo>
                    <a:pt x="481" y="1428"/>
                  </a:lnTo>
                  <a:lnTo>
                    <a:pt x="483" y="1431"/>
                  </a:lnTo>
                  <a:lnTo>
                    <a:pt x="488" y="1434"/>
                  </a:lnTo>
                  <a:lnTo>
                    <a:pt x="492" y="1432"/>
                  </a:lnTo>
                  <a:lnTo>
                    <a:pt x="498" y="1428"/>
                  </a:lnTo>
                  <a:lnTo>
                    <a:pt x="499" y="1421"/>
                  </a:lnTo>
                  <a:lnTo>
                    <a:pt x="499" y="1414"/>
                  </a:lnTo>
                  <a:lnTo>
                    <a:pt x="503" y="1408"/>
                  </a:lnTo>
                  <a:lnTo>
                    <a:pt x="506" y="1406"/>
                  </a:lnTo>
                  <a:lnTo>
                    <a:pt x="511" y="1406"/>
                  </a:lnTo>
                  <a:lnTo>
                    <a:pt x="515" y="1407"/>
                  </a:lnTo>
                  <a:lnTo>
                    <a:pt x="520" y="1408"/>
                  </a:lnTo>
                  <a:lnTo>
                    <a:pt x="521" y="1415"/>
                  </a:lnTo>
                  <a:lnTo>
                    <a:pt x="522" y="1420"/>
                  </a:lnTo>
                  <a:lnTo>
                    <a:pt x="518" y="1423"/>
                  </a:lnTo>
                  <a:lnTo>
                    <a:pt x="513" y="1426"/>
                  </a:lnTo>
                  <a:lnTo>
                    <a:pt x="505" y="1426"/>
                  </a:lnTo>
                  <a:lnTo>
                    <a:pt x="502" y="1429"/>
                  </a:lnTo>
                  <a:lnTo>
                    <a:pt x="498" y="1435"/>
                  </a:lnTo>
                  <a:lnTo>
                    <a:pt x="499" y="1439"/>
                  </a:lnTo>
                  <a:lnTo>
                    <a:pt x="500" y="1447"/>
                  </a:lnTo>
                  <a:lnTo>
                    <a:pt x="502" y="1451"/>
                  </a:lnTo>
                  <a:lnTo>
                    <a:pt x="502" y="1453"/>
                  </a:lnTo>
                  <a:lnTo>
                    <a:pt x="506" y="1453"/>
                  </a:lnTo>
                  <a:lnTo>
                    <a:pt x="511" y="1450"/>
                  </a:lnTo>
                  <a:lnTo>
                    <a:pt x="516" y="1440"/>
                  </a:lnTo>
                  <a:lnTo>
                    <a:pt x="521" y="1439"/>
                  </a:lnTo>
                  <a:lnTo>
                    <a:pt x="524" y="1440"/>
                  </a:lnTo>
                  <a:lnTo>
                    <a:pt x="529" y="1440"/>
                  </a:lnTo>
                  <a:lnTo>
                    <a:pt x="534" y="1443"/>
                  </a:lnTo>
                  <a:lnTo>
                    <a:pt x="537" y="1443"/>
                  </a:lnTo>
                  <a:lnTo>
                    <a:pt x="538" y="1442"/>
                  </a:lnTo>
                  <a:lnTo>
                    <a:pt x="537" y="1438"/>
                  </a:lnTo>
                  <a:lnTo>
                    <a:pt x="534" y="1435"/>
                  </a:lnTo>
                  <a:lnTo>
                    <a:pt x="531" y="1430"/>
                  </a:lnTo>
                  <a:lnTo>
                    <a:pt x="531" y="1427"/>
                  </a:lnTo>
                  <a:lnTo>
                    <a:pt x="534" y="1424"/>
                  </a:lnTo>
                  <a:lnTo>
                    <a:pt x="537" y="1427"/>
                  </a:lnTo>
                  <a:lnTo>
                    <a:pt x="542" y="1429"/>
                  </a:lnTo>
                  <a:lnTo>
                    <a:pt x="546" y="1431"/>
                  </a:lnTo>
                  <a:lnTo>
                    <a:pt x="550" y="1435"/>
                  </a:lnTo>
                  <a:lnTo>
                    <a:pt x="554" y="1438"/>
                  </a:lnTo>
                  <a:lnTo>
                    <a:pt x="552" y="1443"/>
                  </a:lnTo>
                  <a:lnTo>
                    <a:pt x="544" y="1444"/>
                  </a:lnTo>
                  <a:lnTo>
                    <a:pt x="542" y="1445"/>
                  </a:lnTo>
                  <a:lnTo>
                    <a:pt x="542" y="1450"/>
                  </a:lnTo>
                  <a:lnTo>
                    <a:pt x="543" y="1454"/>
                  </a:lnTo>
                  <a:lnTo>
                    <a:pt x="542" y="1459"/>
                  </a:lnTo>
                  <a:lnTo>
                    <a:pt x="546" y="1462"/>
                  </a:lnTo>
                  <a:lnTo>
                    <a:pt x="551" y="1461"/>
                  </a:lnTo>
                  <a:lnTo>
                    <a:pt x="554" y="1456"/>
                  </a:lnTo>
                  <a:lnTo>
                    <a:pt x="556" y="1452"/>
                  </a:lnTo>
                  <a:lnTo>
                    <a:pt x="563" y="1451"/>
                  </a:lnTo>
                  <a:lnTo>
                    <a:pt x="568" y="1452"/>
                  </a:lnTo>
                  <a:lnTo>
                    <a:pt x="569" y="1455"/>
                  </a:lnTo>
                  <a:lnTo>
                    <a:pt x="569" y="1459"/>
                  </a:lnTo>
                  <a:lnTo>
                    <a:pt x="569" y="1463"/>
                  </a:lnTo>
                  <a:lnTo>
                    <a:pt x="572" y="1467"/>
                  </a:lnTo>
                  <a:lnTo>
                    <a:pt x="576" y="1468"/>
                  </a:lnTo>
                  <a:lnTo>
                    <a:pt x="580" y="1468"/>
                  </a:lnTo>
                  <a:lnTo>
                    <a:pt x="584" y="1468"/>
                  </a:lnTo>
                  <a:lnTo>
                    <a:pt x="586" y="1464"/>
                  </a:lnTo>
                  <a:lnTo>
                    <a:pt x="584" y="1461"/>
                  </a:lnTo>
                  <a:lnTo>
                    <a:pt x="583" y="1456"/>
                  </a:lnTo>
                  <a:lnTo>
                    <a:pt x="584" y="1454"/>
                  </a:lnTo>
                  <a:lnTo>
                    <a:pt x="587" y="1454"/>
                  </a:lnTo>
                  <a:lnTo>
                    <a:pt x="588" y="1458"/>
                  </a:lnTo>
                  <a:lnTo>
                    <a:pt x="590" y="1461"/>
                  </a:lnTo>
                  <a:lnTo>
                    <a:pt x="594" y="1463"/>
                  </a:lnTo>
                  <a:lnTo>
                    <a:pt x="600" y="1464"/>
                  </a:lnTo>
                  <a:lnTo>
                    <a:pt x="601" y="1459"/>
                  </a:lnTo>
                  <a:lnTo>
                    <a:pt x="600" y="1454"/>
                  </a:lnTo>
                  <a:lnTo>
                    <a:pt x="602" y="1453"/>
                  </a:lnTo>
                  <a:lnTo>
                    <a:pt x="604" y="1453"/>
                  </a:lnTo>
                  <a:lnTo>
                    <a:pt x="608" y="1456"/>
                  </a:lnTo>
                  <a:lnTo>
                    <a:pt x="610" y="1460"/>
                  </a:lnTo>
                  <a:lnTo>
                    <a:pt x="612" y="1461"/>
                  </a:lnTo>
                  <a:lnTo>
                    <a:pt x="617" y="1462"/>
                  </a:lnTo>
                  <a:lnTo>
                    <a:pt x="618" y="1460"/>
                  </a:lnTo>
                  <a:lnTo>
                    <a:pt x="618" y="1456"/>
                  </a:lnTo>
                  <a:lnTo>
                    <a:pt x="618" y="1453"/>
                  </a:lnTo>
                  <a:lnTo>
                    <a:pt x="617" y="1448"/>
                  </a:lnTo>
                  <a:lnTo>
                    <a:pt x="616" y="1444"/>
                  </a:lnTo>
                  <a:lnTo>
                    <a:pt x="616" y="1439"/>
                  </a:lnTo>
                  <a:lnTo>
                    <a:pt x="614" y="1436"/>
                  </a:lnTo>
                  <a:lnTo>
                    <a:pt x="616" y="1432"/>
                  </a:lnTo>
                  <a:lnTo>
                    <a:pt x="619" y="1434"/>
                  </a:lnTo>
                  <a:lnTo>
                    <a:pt x="622" y="1437"/>
                  </a:lnTo>
                  <a:lnTo>
                    <a:pt x="624" y="1439"/>
                  </a:lnTo>
                  <a:lnTo>
                    <a:pt x="627" y="1440"/>
                  </a:lnTo>
                  <a:lnTo>
                    <a:pt x="628" y="1438"/>
                  </a:lnTo>
                  <a:lnTo>
                    <a:pt x="626" y="1435"/>
                  </a:lnTo>
                  <a:lnTo>
                    <a:pt x="631" y="1432"/>
                  </a:lnTo>
                  <a:lnTo>
                    <a:pt x="633" y="1432"/>
                  </a:lnTo>
                  <a:lnTo>
                    <a:pt x="632" y="1429"/>
                  </a:lnTo>
                  <a:lnTo>
                    <a:pt x="630" y="1427"/>
                  </a:lnTo>
                  <a:lnTo>
                    <a:pt x="627" y="1424"/>
                  </a:lnTo>
                  <a:lnTo>
                    <a:pt x="632" y="1418"/>
                  </a:lnTo>
                  <a:lnTo>
                    <a:pt x="635" y="1419"/>
                  </a:lnTo>
                  <a:lnTo>
                    <a:pt x="640" y="1422"/>
                  </a:lnTo>
                  <a:lnTo>
                    <a:pt x="644" y="1424"/>
                  </a:lnTo>
                  <a:lnTo>
                    <a:pt x="650" y="1424"/>
                  </a:lnTo>
                  <a:lnTo>
                    <a:pt x="656" y="1422"/>
                  </a:lnTo>
                  <a:lnTo>
                    <a:pt x="659" y="1419"/>
                  </a:lnTo>
                  <a:lnTo>
                    <a:pt x="663" y="1415"/>
                  </a:lnTo>
                  <a:lnTo>
                    <a:pt x="666" y="1416"/>
                  </a:lnTo>
                  <a:lnTo>
                    <a:pt x="666" y="1421"/>
                  </a:lnTo>
                  <a:lnTo>
                    <a:pt x="666" y="1426"/>
                  </a:lnTo>
                  <a:lnTo>
                    <a:pt x="660" y="1430"/>
                  </a:lnTo>
                  <a:lnTo>
                    <a:pt x="655" y="1437"/>
                  </a:lnTo>
                  <a:lnTo>
                    <a:pt x="649" y="1443"/>
                  </a:lnTo>
                  <a:lnTo>
                    <a:pt x="644" y="1448"/>
                  </a:lnTo>
                  <a:lnTo>
                    <a:pt x="641" y="1455"/>
                  </a:lnTo>
                  <a:lnTo>
                    <a:pt x="636" y="1461"/>
                  </a:lnTo>
                  <a:lnTo>
                    <a:pt x="635" y="1466"/>
                  </a:lnTo>
                  <a:lnTo>
                    <a:pt x="633" y="1472"/>
                  </a:lnTo>
                  <a:lnTo>
                    <a:pt x="633" y="1477"/>
                  </a:lnTo>
                  <a:lnTo>
                    <a:pt x="635" y="1480"/>
                  </a:lnTo>
                  <a:lnTo>
                    <a:pt x="639" y="1484"/>
                  </a:lnTo>
                  <a:lnTo>
                    <a:pt x="642" y="1484"/>
                  </a:lnTo>
                  <a:lnTo>
                    <a:pt x="644" y="1479"/>
                  </a:lnTo>
                  <a:lnTo>
                    <a:pt x="646" y="1474"/>
                  </a:lnTo>
                  <a:lnTo>
                    <a:pt x="650" y="1469"/>
                  </a:lnTo>
                  <a:lnTo>
                    <a:pt x="655" y="1469"/>
                  </a:lnTo>
                  <a:lnTo>
                    <a:pt x="662" y="1466"/>
                  </a:lnTo>
                  <a:lnTo>
                    <a:pt x="663" y="1463"/>
                  </a:lnTo>
                  <a:lnTo>
                    <a:pt x="665" y="1466"/>
                  </a:lnTo>
                  <a:lnTo>
                    <a:pt x="665" y="1470"/>
                  </a:lnTo>
                  <a:lnTo>
                    <a:pt x="670" y="1474"/>
                  </a:lnTo>
                  <a:lnTo>
                    <a:pt x="675" y="1472"/>
                  </a:lnTo>
                  <a:lnTo>
                    <a:pt x="678" y="1468"/>
                  </a:lnTo>
                  <a:lnTo>
                    <a:pt x="682" y="1463"/>
                  </a:lnTo>
                  <a:lnTo>
                    <a:pt x="686" y="1458"/>
                  </a:lnTo>
                  <a:lnTo>
                    <a:pt x="691" y="1454"/>
                  </a:lnTo>
                  <a:lnTo>
                    <a:pt x="691" y="1451"/>
                  </a:lnTo>
                  <a:lnTo>
                    <a:pt x="697" y="1453"/>
                  </a:lnTo>
                  <a:lnTo>
                    <a:pt x="699" y="1456"/>
                  </a:lnTo>
                  <a:lnTo>
                    <a:pt x="706" y="1458"/>
                  </a:lnTo>
                  <a:lnTo>
                    <a:pt x="710" y="1461"/>
                  </a:lnTo>
                  <a:lnTo>
                    <a:pt x="715" y="1464"/>
                  </a:lnTo>
                  <a:lnTo>
                    <a:pt x="721" y="1463"/>
                  </a:lnTo>
                  <a:lnTo>
                    <a:pt x="727" y="1461"/>
                  </a:lnTo>
                  <a:lnTo>
                    <a:pt x="731" y="1460"/>
                  </a:lnTo>
                  <a:lnTo>
                    <a:pt x="742" y="1460"/>
                  </a:lnTo>
                  <a:lnTo>
                    <a:pt x="745" y="1458"/>
                  </a:lnTo>
                  <a:lnTo>
                    <a:pt x="748" y="1458"/>
                  </a:lnTo>
                  <a:lnTo>
                    <a:pt x="752" y="1460"/>
                  </a:lnTo>
                  <a:lnTo>
                    <a:pt x="754" y="1463"/>
                  </a:lnTo>
                  <a:lnTo>
                    <a:pt x="756" y="1466"/>
                  </a:lnTo>
                  <a:lnTo>
                    <a:pt x="761" y="1468"/>
                  </a:lnTo>
                  <a:lnTo>
                    <a:pt x="764" y="1468"/>
                  </a:lnTo>
                  <a:lnTo>
                    <a:pt x="767" y="1467"/>
                  </a:lnTo>
                  <a:lnTo>
                    <a:pt x="768" y="1463"/>
                  </a:lnTo>
                  <a:lnTo>
                    <a:pt x="771" y="1461"/>
                  </a:lnTo>
                  <a:lnTo>
                    <a:pt x="776" y="1460"/>
                  </a:lnTo>
                  <a:lnTo>
                    <a:pt x="779" y="1456"/>
                  </a:lnTo>
                  <a:lnTo>
                    <a:pt x="779" y="1452"/>
                  </a:lnTo>
                  <a:lnTo>
                    <a:pt x="775" y="1448"/>
                  </a:lnTo>
                  <a:lnTo>
                    <a:pt x="774" y="1438"/>
                  </a:lnTo>
                  <a:lnTo>
                    <a:pt x="771" y="1437"/>
                  </a:lnTo>
                  <a:lnTo>
                    <a:pt x="772" y="1432"/>
                  </a:lnTo>
                  <a:lnTo>
                    <a:pt x="779" y="1430"/>
                  </a:lnTo>
                  <a:lnTo>
                    <a:pt x="782" y="1429"/>
                  </a:lnTo>
                  <a:lnTo>
                    <a:pt x="785" y="1430"/>
                  </a:lnTo>
                  <a:lnTo>
                    <a:pt x="788" y="1431"/>
                  </a:lnTo>
                  <a:lnTo>
                    <a:pt x="793" y="1430"/>
                  </a:lnTo>
                  <a:lnTo>
                    <a:pt x="796" y="1428"/>
                  </a:lnTo>
                  <a:lnTo>
                    <a:pt x="800" y="1424"/>
                  </a:lnTo>
                  <a:lnTo>
                    <a:pt x="806" y="1422"/>
                  </a:lnTo>
                  <a:lnTo>
                    <a:pt x="811" y="1421"/>
                  </a:lnTo>
                  <a:lnTo>
                    <a:pt x="822" y="1414"/>
                  </a:lnTo>
                  <a:lnTo>
                    <a:pt x="825" y="1412"/>
                  </a:lnTo>
                  <a:lnTo>
                    <a:pt x="828" y="1407"/>
                  </a:lnTo>
                  <a:lnTo>
                    <a:pt x="834" y="1405"/>
                  </a:lnTo>
                  <a:lnTo>
                    <a:pt x="840" y="1403"/>
                  </a:lnTo>
                  <a:lnTo>
                    <a:pt x="843" y="1402"/>
                  </a:lnTo>
                  <a:lnTo>
                    <a:pt x="848" y="1402"/>
                  </a:lnTo>
                  <a:lnTo>
                    <a:pt x="852" y="1402"/>
                  </a:lnTo>
                  <a:lnTo>
                    <a:pt x="856" y="1398"/>
                  </a:lnTo>
                  <a:lnTo>
                    <a:pt x="859" y="1395"/>
                  </a:lnTo>
                  <a:lnTo>
                    <a:pt x="865" y="1395"/>
                  </a:lnTo>
                  <a:lnTo>
                    <a:pt x="866" y="1391"/>
                  </a:lnTo>
                  <a:lnTo>
                    <a:pt x="868" y="1387"/>
                  </a:lnTo>
                  <a:lnTo>
                    <a:pt x="873" y="1383"/>
                  </a:lnTo>
                  <a:lnTo>
                    <a:pt x="876" y="1386"/>
                  </a:lnTo>
                  <a:lnTo>
                    <a:pt x="882" y="1386"/>
                  </a:lnTo>
                  <a:lnTo>
                    <a:pt x="887" y="1383"/>
                  </a:lnTo>
                  <a:lnTo>
                    <a:pt x="890" y="1383"/>
                  </a:lnTo>
                  <a:lnTo>
                    <a:pt x="892" y="1387"/>
                  </a:lnTo>
                  <a:lnTo>
                    <a:pt x="897" y="1390"/>
                  </a:lnTo>
                  <a:lnTo>
                    <a:pt x="902" y="1394"/>
                  </a:lnTo>
                  <a:lnTo>
                    <a:pt x="903" y="1399"/>
                  </a:lnTo>
                  <a:lnTo>
                    <a:pt x="904" y="1406"/>
                  </a:lnTo>
                  <a:lnTo>
                    <a:pt x="907" y="1415"/>
                  </a:lnTo>
                  <a:lnTo>
                    <a:pt x="913" y="1427"/>
                  </a:lnTo>
                  <a:lnTo>
                    <a:pt x="915" y="1430"/>
                  </a:lnTo>
                  <a:lnTo>
                    <a:pt x="916" y="1434"/>
                  </a:lnTo>
                  <a:lnTo>
                    <a:pt x="919" y="1436"/>
                  </a:lnTo>
                  <a:lnTo>
                    <a:pt x="922" y="1438"/>
                  </a:lnTo>
                  <a:lnTo>
                    <a:pt x="927" y="1442"/>
                  </a:lnTo>
                  <a:lnTo>
                    <a:pt x="928" y="1445"/>
                  </a:lnTo>
                  <a:lnTo>
                    <a:pt x="927" y="1450"/>
                  </a:lnTo>
                  <a:lnTo>
                    <a:pt x="928" y="1453"/>
                  </a:lnTo>
                  <a:lnTo>
                    <a:pt x="928" y="1455"/>
                  </a:lnTo>
                  <a:lnTo>
                    <a:pt x="923" y="1461"/>
                  </a:lnTo>
                  <a:lnTo>
                    <a:pt x="919" y="1464"/>
                  </a:lnTo>
                  <a:lnTo>
                    <a:pt x="916" y="1468"/>
                  </a:lnTo>
                  <a:lnTo>
                    <a:pt x="912" y="1472"/>
                  </a:lnTo>
                  <a:lnTo>
                    <a:pt x="908" y="1476"/>
                  </a:lnTo>
                  <a:lnTo>
                    <a:pt x="906" y="1479"/>
                  </a:lnTo>
                  <a:lnTo>
                    <a:pt x="903" y="1482"/>
                  </a:lnTo>
                  <a:lnTo>
                    <a:pt x="896" y="1482"/>
                  </a:lnTo>
                  <a:lnTo>
                    <a:pt x="890" y="1480"/>
                  </a:lnTo>
                  <a:lnTo>
                    <a:pt x="887" y="1478"/>
                  </a:lnTo>
                  <a:lnTo>
                    <a:pt x="883" y="1482"/>
                  </a:lnTo>
                  <a:lnTo>
                    <a:pt x="884" y="1485"/>
                  </a:lnTo>
                  <a:lnTo>
                    <a:pt x="888" y="1488"/>
                  </a:lnTo>
                  <a:lnTo>
                    <a:pt x="892" y="1492"/>
                  </a:lnTo>
                  <a:lnTo>
                    <a:pt x="896" y="1495"/>
                  </a:lnTo>
                  <a:lnTo>
                    <a:pt x="898" y="1499"/>
                  </a:lnTo>
                  <a:lnTo>
                    <a:pt x="905" y="1499"/>
                  </a:lnTo>
                  <a:lnTo>
                    <a:pt x="908" y="1496"/>
                  </a:lnTo>
                  <a:lnTo>
                    <a:pt x="910" y="1493"/>
                  </a:lnTo>
                  <a:lnTo>
                    <a:pt x="911" y="1490"/>
                  </a:lnTo>
                  <a:lnTo>
                    <a:pt x="915" y="1493"/>
                  </a:lnTo>
                  <a:lnTo>
                    <a:pt x="919" y="1495"/>
                  </a:lnTo>
                  <a:lnTo>
                    <a:pt x="922" y="1494"/>
                  </a:lnTo>
                  <a:lnTo>
                    <a:pt x="920" y="1490"/>
                  </a:lnTo>
                  <a:lnTo>
                    <a:pt x="916" y="1485"/>
                  </a:lnTo>
                  <a:lnTo>
                    <a:pt x="918" y="1483"/>
                  </a:lnTo>
                  <a:lnTo>
                    <a:pt x="922" y="1482"/>
                  </a:lnTo>
                  <a:lnTo>
                    <a:pt x="928" y="1478"/>
                  </a:lnTo>
                  <a:lnTo>
                    <a:pt x="932" y="1475"/>
                  </a:lnTo>
                  <a:lnTo>
                    <a:pt x="937" y="1475"/>
                  </a:lnTo>
                  <a:lnTo>
                    <a:pt x="942" y="1479"/>
                  </a:lnTo>
                  <a:lnTo>
                    <a:pt x="948" y="1480"/>
                  </a:lnTo>
                  <a:lnTo>
                    <a:pt x="952" y="1487"/>
                  </a:lnTo>
                  <a:lnTo>
                    <a:pt x="947" y="1488"/>
                  </a:lnTo>
                  <a:lnTo>
                    <a:pt x="943" y="1486"/>
                  </a:lnTo>
                  <a:lnTo>
                    <a:pt x="937" y="1486"/>
                  </a:lnTo>
                  <a:lnTo>
                    <a:pt x="936" y="1488"/>
                  </a:lnTo>
                  <a:lnTo>
                    <a:pt x="936" y="1491"/>
                  </a:lnTo>
                  <a:lnTo>
                    <a:pt x="938" y="1495"/>
                  </a:lnTo>
                  <a:lnTo>
                    <a:pt x="939" y="1500"/>
                  </a:lnTo>
                  <a:lnTo>
                    <a:pt x="943" y="1503"/>
                  </a:lnTo>
                  <a:lnTo>
                    <a:pt x="950" y="1502"/>
                  </a:lnTo>
                  <a:lnTo>
                    <a:pt x="953" y="1492"/>
                  </a:lnTo>
                  <a:lnTo>
                    <a:pt x="962" y="1493"/>
                  </a:lnTo>
                  <a:lnTo>
                    <a:pt x="968" y="1495"/>
                  </a:lnTo>
                  <a:lnTo>
                    <a:pt x="968" y="1491"/>
                  </a:lnTo>
                  <a:lnTo>
                    <a:pt x="964" y="1487"/>
                  </a:lnTo>
                  <a:lnTo>
                    <a:pt x="962" y="1484"/>
                  </a:lnTo>
                  <a:lnTo>
                    <a:pt x="956" y="1480"/>
                  </a:lnTo>
                  <a:lnTo>
                    <a:pt x="953" y="1476"/>
                  </a:lnTo>
                  <a:lnTo>
                    <a:pt x="953" y="1470"/>
                  </a:lnTo>
                  <a:lnTo>
                    <a:pt x="956" y="1466"/>
                  </a:lnTo>
                  <a:lnTo>
                    <a:pt x="962" y="1471"/>
                  </a:lnTo>
                  <a:lnTo>
                    <a:pt x="962" y="1474"/>
                  </a:lnTo>
                  <a:lnTo>
                    <a:pt x="962" y="1478"/>
                  </a:lnTo>
                  <a:lnTo>
                    <a:pt x="967" y="1479"/>
                  </a:lnTo>
                  <a:lnTo>
                    <a:pt x="969" y="1477"/>
                  </a:lnTo>
                  <a:lnTo>
                    <a:pt x="976" y="1478"/>
                  </a:lnTo>
                  <a:lnTo>
                    <a:pt x="979" y="1477"/>
                  </a:lnTo>
                  <a:lnTo>
                    <a:pt x="975" y="1471"/>
                  </a:lnTo>
                  <a:lnTo>
                    <a:pt x="974" y="1469"/>
                  </a:lnTo>
                  <a:lnTo>
                    <a:pt x="975" y="1468"/>
                  </a:lnTo>
                  <a:lnTo>
                    <a:pt x="978" y="1469"/>
                  </a:lnTo>
                  <a:lnTo>
                    <a:pt x="982" y="1471"/>
                  </a:lnTo>
                  <a:lnTo>
                    <a:pt x="986" y="1472"/>
                  </a:lnTo>
                  <a:lnTo>
                    <a:pt x="990" y="1469"/>
                  </a:lnTo>
                  <a:lnTo>
                    <a:pt x="986" y="1466"/>
                  </a:lnTo>
                  <a:lnTo>
                    <a:pt x="982" y="1464"/>
                  </a:lnTo>
                  <a:lnTo>
                    <a:pt x="978" y="1461"/>
                  </a:lnTo>
                  <a:lnTo>
                    <a:pt x="979" y="1456"/>
                  </a:lnTo>
                  <a:lnTo>
                    <a:pt x="983" y="1456"/>
                  </a:lnTo>
                  <a:lnTo>
                    <a:pt x="987" y="1458"/>
                  </a:lnTo>
                  <a:lnTo>
                    <a:pt x="990" y="1460"/>
                  </a:lnTo>
                  <a:lnTo>
                    <a:pt x="992" y="1463"/>
                  </a:lnTo>
                  <a:lnTo>
                    <a:pt x="994" y="1466"/>
                  </a:lnTo>
                  <a:lnTo>
                    <a:pt x="998" y="1469"/>
                  </a:lnTo>
                  <a:lnTo>
                    <a:pt x="1000" y="1471"/>
                  </a:lnTo>
                  <a:lnTo>
                    <a:pt x="1001" y="1474"/>
                  </a:lnTo>
                  <a:lnTo>
                    <a:pt x="1000" y="1477"/>
                  </a:lnTo>
                  <a:lnTo>
                    <a:pt x="999" y="1480"/>
                  </a:lnTo>
                  <a:lnTo>
                    <a:pt x="1003" y="1482"/>
                  </a:lnTo>
                  <a:lnTo>
                    <a:pt x="1008" y="1479"/>
                  </a:lnTo>
                  <a:lnTo>
                    <a:pt x="1012" y="1479"/>
                  </a:lnTo>
                  <a:lnTo>
                    <a:pt x="1016" y="1480"/>
                  </a:lnTo>
                  <a:lnTo>
                    <a:pt x="1018" y="1483"/>
                  </a:lnTo>
                  <a:lnTo>
                    <a:pt x="1024" y="1483"/>
                  </a:lnTo>
                  <a:lnTo>
                    <a:pt x="1027" y="1482"/>
                  </a:lnTo>
                  <a:lnTo>
                    <a:pt x="1027" y="1479"/>
                  </a:lnTo>
                  <a:lnTo>
                    <a:pt x="1024" y="1475"/>
                  </a:lnTo>
                  <a:lnTo>
                    <a:pt x="1019" y="1471"/>
                  </a:lnTo>
                  <a:lnTo>
                    <a:pt x="1012" y="1467"/>
                  </a:lnTo>
                  <a:lnTo>
                    <a:pt x="1009" y="1463"/>
                  </a:lnTo>
                  <a:lnTo>
                    <a:pt x="1010" y="1460"/>
                  </a:lnTo>
                  <a:lnTo>
                    <a:pt x="1015" y="1459"/>
                  </a:lnTo>
                  <a:lnTo>
                    <a:pt x="1020" y="1461"/>
                  </a:lnTo>
                  <a:lnTo>
                    <a:pt x="1027" y="1460"/>
                  </a:lnTo>
                  <a:lnTo>
                    <a:pt x="1032" y="1458"/>
                  </a:lnTo>
                  <a:lnTo>
                    <a:pt x="1036" y="1458"/>
                  </a:lnTo>
                  <a:lnTo>
                    <a:pt x="1039" y="1466"/>
                  </a:lnTo>
                  <a:lnTo>
                    <a:pt x="1042" y="1468"/>
                  </a:lnTo>
                  <a:lnTo>
                    <a:pt x="1046" y="1466"/>
                  </a:lnTo>
                  <a:lnTo>
                    <a:pt x="1046" y="1461"/>
                  </a:lnTo>
                  <a:lnTo>
                    <a:pt x="1043" y="1455"/>
                  </a:lnTo>
                  <a:lnTo>
                    <a:pt x="1046" y="1451"/>
                  </a:lnTo>
                  <a:lnTo>
                    <a:pt x="1049" y="1446"/>
                  </a:lnTo>
                  <a:lnTo>
                    <a:pt x="1055" y="1444"/>
                  </a:lnTo>
                  <a:lnTo>
                    <a:pt x="1059" y="1446"/>
                  </a:lnTo>
                  <a:lnTo>
                    <a:pt x="1060" y="1450"/>
                  </a:lnTo>
                  <a:lnTo>
                    <a:pt x="1063" y="1455"/>
                  </a:lnTo>
                  <a:lnTo>
                    <a:pt x="1059" y="1461"/>
                  </a:lnTo>
                  <a:lnTo>
                    <a:pt x="1056" y="1466"/>
                  </a:lnTo>
                  <a:lnTo>
                    <a:pt x="1056" y="1471"/>
                  </a:lnTo>
                  <a:lnTo>
                    <a:pt x="1056" y="1477"/>
                  </a:lnTo>
                  <a:lnTo>
                    <a:pt x="1050" y="1485"/>
                  </a:lnTo>
                  <a:lnTo>
                    <a:pt x="1048" y="1491"/>
                  </a:lnTo>
                  <a:lnTo>
                    <a:pt x="1047" y="1495"/>
                  </a:lnTo>
                  <a:lnTo>
                    <a:pt x="1043" y="1500"/>
                  </a:lnTo>
                  <a:lnTo>
                    <a:pt x="1041" y="1504"/>
                  </a:lnTo>
                  <a:lnTo>
                    <a:pt x="1041" y="1509"/>
                  </a:lnTo>
                  <a:lnTo>
                    <a:pt x="1039" y="1512"/>
                  </a:lnTo>
                  <a:lnTo>
                    <a:pt x="1039" y="1516"/>
                  </a:lnTo>
                  <a:lnTo>
                    <a:pt x="1041" y="1516"/>
                  </a:lnTo>
                  <a:lnTo>
                    <a:pt x="1048" y="1517"/>
                  </a:lnTo>
                  <a:lnTo>
                    <a:pt x="1055" y="1518"/>
                  </a:lnTo>
                  <a:lnTo>
                    <a:pt x="1063" y="1518"/>
                  </a:lnTo>
                  <a:lnTo>
                    <a:pt x="1066" y="1515"/>
                  </a:lnTo>
                  <a:lnTo>
                    <a:pt x="1070" y="1510"/>
                  </a:lnTo>
                  <a:lnTo>
                    <a:pt x="1074" y="1511"/>
                  </a:lnTo>
                  <a:lnTo>
                    <a:pt x="1076" y="1514"/>
                  </a:lnTo>
                  <a:lnTo>
                    <a:pt x="1080" y="1517"/>
                  </a:lnTo>
                  <a:lnTo>
                    <a:pt x="1084" y="1516"/>
                  </a:lnTo>
                  <a:lnTo>
                    <a:pt x="1090" y="1515"/>
                  </a:lnTo>
                  <a:lnTo>
                    <a:pt x="1095" y="1511"/>
                  </a:lnTo>
                  <a:lnTo>
                    <a:pt x="1096" y="1509"/>
                  </a:lnTo>
                  <a:lnTo>
                    <a:pt x="1100" y="1508"/>
                  </a:lnTo>
                  <a:lnTo>
                    <a:pt x="1104" y="1508"/>
                  </a:lnTo>
                  <a:lnTo>
                    <a:pt x="1107" y="1510"/>
                  </a:lnTo>
                  <a:lnTo>
                    <a:pt x="1110" y="1512"/>
                  </a:lnTo>
                  <a:lnTo>
                    <a:pt x="1113" y="1517"/>
                  </a:lnTo>
                  <a:lnTo>
                    <a:pt x="1118" y="1519"/>
                  </a:lnTo>
                  <a:lnTo>
                    <a:pt x="1122" y="1522"/>
                  </a:lnTo>
                  <a:lnTo>
                    <a:pt x="1126" y="1524"/>
                  </a:lnTo>
                  <a:lnTo>
                    <a:pt x="1130" y="1525"/>
                  </a:lnTo>
                  <a:lnTo>
                    <a:pt x="1132" y="1522"/>
                  </a:lnTo>
                  <a:lnTo>
                    <a:pt x="1134" y="1518"/>
                  </a:lnTo>
                  <a:lnTo>
                    <a:pt x="1136" y="1514"/>
                  </a:lnTo>
                  <a:lnTo>
                    <a:pt x="1137" y="1509"/>
                  </a:lnTo>
                  <a:lnTo>
                    <a:pt x="1142" y="1510"/>
                  </a:lnTo>
                  <a:lnTo>
                    <a:pt x="1144" y="1512"/>
                  </a:lnTo>
                  <a:lnTo>
                    <a:pt x="1147" y="1514"/>
                  </a:lnTo>
                  <a:lnTo>
                    <a:pt x="1150" y="1514"/>
                  </a:lnTo>
                  <a:lnTo>
                    <a:pt x="1151" y="1511"/>
                  </a:lnTo>
                  <a:lnTo>
                    <a:pt x="1151" y="1507"/>
                  </a:lnTo>
                  <a:lnTo>
                    <a:pt x="1150" y="1503"/>
                  </a:lnTo>
                  <a:lnTo>
                    <a:pt x="1148" y="1500"/>
                  </a:lnTo>
                  <a:lnTo>
                    <a:pt x="1150" y="1496"/>
                  </a:lnTo>
                  <a:lnTo>
                    <a:pt x="1151" y="1492"/>
                  </a:lnTo>
                  <a:lnTo>
                    <a:pt x="1153" y="1487"/>
                  </a:lnTo>
                  <a:lnTo>
                    <a:pt x="1155" y="1483"/>
                  </a:lnTo>
                  <a:lnTo>
                    <a:pt x="1160" y="1476"/>
                  </a:lnTo>
                  <a:lnTo>
                    <a:pt x="1160" y="1472"/>
                  </a:lnTo>
                  <a:lnTo>
                    <a:pt x="1160" y="1468"/>
                  </a:lnTo>
                  <a:lnTo>
                    <a:pt x="1154" y="1462"/>
                  </a:lnTo>
                  <a:lnTo>
                    <a:pt x="1150" y="1456"/>
                  </a:lnTo>
                  <a:lnTo>
                    <a:pt x="1150" y="1454"/>
                  </a:lnTo>
                  <a:lnTo>
                    <a:pt x="1151" y="1453"/>
                  </a:lnTo>
                  <a:lnTo>
                    <a:pt x="1155" y="1452"/>
                  </a:lnTo>
                  <a:lnTo>
                    <a:pt x="1161" y="1452"/>
                  </a:lnTo>
                  <a:lnTo>
                    <a:pt x="1166" y="1451"/>
                  </a:lnTo>
                  <a:lnTo>
                    <a:pt x="1172" y="1451"/>
                  </a:lnTo>
                  <a:lnTo>
                    <a:pt x="1177" y="1452"/>
                  </a:lnTo>
                  <a:lnTo>
                    <a:pt x="1177" y="1454"/>
                  </a:lnTo>
                  <a:lnTo>
                    <a:pt x="1179" y="1458"/>
                  </a:lnTo>
                  <a:lnTo>
                    <a:pt x="1182" y="1458"/>
                  </a:lnTo>
                  <a:lnTo>
                    <a:pt x="1183" y="1456"/>
                  </a:lnTo>
                  <a:lnTo>
                    <a:pt x="1184" y="1453"/>
                  </a:lnTo>
                  <a:lnTo>
                    <a:pt x="1184" y="1450"/>
                  </a:lnTo>
                  <a:lnTo>
                    <a:pt x="1186" y="1448"/>
                  </a:lnTo>
                  <a:lnTo>
                    <a:pt x="1190" y="1447"/>
                  </a:lnTo>
                  <a:lnTo>
                    <a:pt x="1196" y="1450"/>
                  </a:lnTo>
                  <a:lnTo>
                    <a:pt x="1199" y="1451"/>
                  </a:lnTo>
                  <a:lnTo>
                    <a:pt x="1203" y="1451"/>
                  </a:lnTo>
                  <a:lnTo>
                    <a:pt x="1207" y="1452"/>
                  </a:lnTo>
                  <a:lnTo>
                    <a:pt x="1207" y="1455"/>
                  </a:lnTo>
                  <a:lnTo>
                    <a:pt x="1204" y="1458"/>
                  </a:lnTo>
                  <a:lnTo>
                    <a:pt x="1202" y="1459"/>
                  </a:lnTo>
                  <a:lnTo>
                    <a:pt x="1201" y="1461"/>
                  </a:lnTo>
                  <a:lnTo>
                    <a:pt x="1201" y="1463"/>
                  </a:lnTo>
                  <a:lnTo>
                    <a:pt x="1203" y="1464"/>
                  </a:lnTo>
                  <a:lnTo>
                    <a:pt x="1207" y="1466"/>
                  </a:lnTo>
                  <a:lnTo>
                    <a:pt x="1209" y="1467"/>
                  </a:lnTo>
                  <a:lnTo>
                    <a:pt x="1216" y="1468"/>
                  </a:lnTo>
                  <a:lnTo>
                    <a:pt x="1219" y="1468"/>
                  </a:lnTo>
                  <a:lnTo>
                    <a:pt x="1222" y="1466"/>
                  </a:lnTo>
                  <a:lnTo>
                    <a:pt x="1223" y="1463"/>
                  </a:lnTo>
                  <a:lnTo>
                    <a:pt x="1223" y="1460"/>
                  </a:lnTo>
                  <a:lnTo>
                    <a:pt x="1217" y="1455"/>
                  </a:lnTo>
                  <a:lnTo>
                    <a:pt x="1214" y="1453"/>
                  </a:lnTo>
                  <a:lnTo>
                    <a:pt x="1216" y="1452"/>
                  </a:lnTo>
                  <a:lnTo>
                    <a:pt x="1219" y="1452"/>
                  </a:lnTo>
                  <a:lnTo>
                    <a:pt x="1222" y="1451"/>
                  </a:lnTo>
                  <a:lnTo>
                    <a:pt x="1224" y="1447"/>
                  </a:lnTo>
                  <a:lnTo>
                    <a:pt x="1225" y="1445"/>
                  </a:lnTo>
                  <a:lnTo>
                    <a:pt x="1226" y="1443"/>
                  </a:lnTo>
                  <a:lnTo>
                    <a:pt x="1230" y="1439"/>
                  </a:lnTo>
                  <a:lnTo>
                    <a:pt x="1232" y="1437"/>
                  </a:lnTo>
                  <a:lnTo>
                    <a:pt x="1236" y="1436"/>
                  </a:lnTo>
                  <a:lnTo>
                    <a:pt x="1240" y="1436"/>
                  </a:lnTo>
                  <a:lnTo>
                    <a:pt x="1244" y="1437"/>
                  </a:lnTo>
                  <a:lnTo>
                    <a:pt x="1248" y="1438"/>
                  </a:lnTo>
                  <a:lnTo>
                    <a:pt x="1250" y="1440"/>
                  </a:lnTo>
                  <a:lnTo>
                    <a:pt x="1254" y="1442"/>
                  </a:lnTo>
                  <a:lnTo>
                    <a:pt x="1256" y="1443"/>
                  </a:lnTo>
                  <a:lnTo>
                    <a:pt x="1259" y="1444"/>
                  </a:lnTo>
                  <a:lnTo>
                    <a:pt x="1262" y="1445"/>
                  </a:lnTo>
                  <a:lnTo>
                    <a:pt x="1262" y="1447"/>
                  </a:lnTo>
                  <a:lnTo>
                    <a:pt x="1260" y="1450"/>
                  </a:lnTo>
                  <a:lnTo>
                    <a:pt x="1257" y="1450"/>
                  </a:lnTo>
                  <a:lnTo>
                    <a:pt x="1254" y="1450"/>
                  </a:lnTo>
                  <a:lnTo>
                    <a:pt x="1251" y="1452"/>
                  </a:lnTo>
                  <a:lnTo>
                    <a:pt x="1252" y="1453"/>
                  </a:lnTo>
                  <a:lnTo>
                    <a:pt x="1255" y="1456"/>
                  </a:lnTo>
                  <a:lnTo>
                    <a:pt x="1258" y="1456"/>
                  </a:lnTo>
                  <a:lnTo>
                    <a:pt x="1263" y="1456"/>
                  </a:lnTo>
                  <a:lnTo>
                    <a:pt x="1265" y="1456"/>
                  </a:lnTo>
                  <a:lnTo>
                    <a:pt x="1265" y="1459"/>
                  </a:lnTo>
                  <a:lnTo>
                    <a:pt x="1263" y="1460"/>
                  </a:lnTo>
                  <a:lnTo>
                    <a:pt x="1259" y="1463"/>
                  </a:lnTo>
                  <a:lnTo>
                    <a:pt x="1257" y="1467"/>
                  </a:lnTo>
                  <a:lnTo>
                    <a:pt x="1257" y="1468"/>
                  </a:lnTo>
                  <a:lnTo>
                    <a:pt x="1258" y="1470"/>
                  </a:lnTo>
                  <a:lnTo>
                    <a:pt x="1264" y="1470"/>
                  </a:lnTo>
                  <a:lnTo>
                    <a:pt x="1267" y="1470"/>
                  </a:lnTo>
                  <a:lnTo>
                    <a:pt x="1271" y="1470"/>
                  </a:lnTo>
                  <a:lnTo>
                    <a:pt x="1272" y="1471"/>
                  </a:lnTo>
                  <a:lnTo>
                    <a:pt x="1274" y="1472"/>
                  </a:lnTo>
                  <a:lnTo>
                    <a:pt x="1276" y="1476"/>
                  </a:lnTo>
                  <a:lnTo>
                    <a:pt x="1280" y="1478"/>
                  </a:lnTo>
                  <a:lnTo>
                    <a:pt x="1284" y="1478"/>
                  </a:lnTo>
                  <a:lnTo>
                    <a:pt x="1289" y="1477"/>
                  </a:lnTo>
                  <a:lnTo>
                    <a:pt x="1295" y="1477"/>
                  </a:lnTo>
                  <a:lnTo>
                    <a:pt x="1299" y="1479"/>
                  </a:lnTo>
                  <a:lnTo>
                    <a:pt x="1302" y="1480"/>
                  </a:lnTo>
                  <a:lnTo>
                    <a:pt x="1304" y="1483"/>
                  </a:lnTo>
                  <a:lnTo>
                    <a:pt x="1306" y="1484"/>
                  </a:lnTo>
                  <a:lnTo>
                    <a:pt x="1308" y="1485"/>
                  </a:lnTo>
                  <a:lnTo>
                    <a:pt x="1314" y="1486"/>
                  </a:lnTo>
                  <a:lnTo>
                    <a:pt x="1316" y="1487"/>
                  </a:lnTo>
                  <a:lnTo>
                    <a:pt x="1321" y="1490"/>
                  </a:lnTo>
                  <a:lnTo>
                    <a:pt x="1324" y="1491"/>
                  </a:lnTo>
                  <a:lnTo>
                    <a:pt x="1329" y="1490"/>
                  </a:lnTo>
                  <a:lnTo>
                    <a:pt x="1334" y="1490"/>
                  </a:lnTo>
                  <a:lnTo>
                    <a:pt x="1337" y="1493"/>
                  </a:lnTo>
                  <a:lnTo>
                    <a:pt x="1337" y="1496"/>
                  </a:lnTo>
                  <a:lnTo>
                    <a:pt x="1335" y="1503"/>
                  </a:lnTo>
                  <a:lnTo>
                    <a:pt x="1335" y="1509"/>
                  </a:lnTo>
                  <a:lnTo>
                    <a:pt x="1335" y="1515"/>
                  </a:lnTo>
                  <a:lnTo>
                    <a:pt x="1336" y="1520"/>
                  </a:lnTo>
                  <a:lnTo>
                    <a:pt x="1339" y="1524"/>
                  </a:lnTo>
                  <a:lnTo>
                    <a:pt x="1347" y="1532"/>
                  </a:lnTo>
                  <a:lnTo>
                    <a:pt x="1350" y="1539"/>
                  </a:lnTo>
                  <a:lnTo>
                    <a:pt x="1353" y="1542"/>
                  </a:lnTo>
                  <a:lnTo>
                    <a:pt x="1358" y="1543"/>
                  </a:lnTo>
                  <a:lnTo>
                    <a:pt x="1363" y="1541"/>
                  </a:lnTo>
                  <a:lnTo>
                    <a:pt x="1367" y="1541"/>
                  </a:lnTo>
                  <a:lnTo>
                    <a:pt x="1371" y="1542"/>
                  </a:lnTo>
                  <a:lnTo>
                    <a:pt x="1379" y="1544"/>
                  </a:lnTo>
                  <a:lnTo>
                    <a:pt x="1385" y="1547"/>
                  </a:lnTo>
                  <a:lnTo>
                    <a:pt x="1390" y="1548"/>
                  </a:lnTo>
                  <a:lnTo>
                    <a:pt x="1394" y="1550"/>
                  </a:lnTo>
                  <a:lnTo>
                    <a:pt x="1398" y="1551"/>
                  </a:lnTo>
                  <a:lnTo>
                    <a:pt x="1403" y="1551"/>
                  </a:lnTo>
                  <a:lnTo>
                    <a:pt x="1407" y="1550"/>
                  </a:lnTo>
                  <a:lnTo>
                    <a:pt x="1410" y="1548"/>
                  </a:lnTo>
                  <a:lnTo>
                    <a:pt x="1412" y="1548"/>
                  </a:lnTo>
                  <a:lnTo>
                    <a:pt x="1416" y="1551"/>
                  </a:lnTo>
                  <a:lnTo>
                    <a:pt x="1417" y="1555"/>
                  </a:lnTo>
                  <a:lnTo>
                    <a:pt x="1415" y="1562"/>
                  </a:lnTo>
                  <a:lnTo>
                    <a:pt x="1414" y="1566"/>
                  </a:lnTo>
                  <a:lnTo>
                    <a:pt x="1415" y="1567"/>
                  </a:lnTo>
                  <a:lnTo>
                    <a:pt x="1418" y="1567"/>
                  </a:lnTo>
                  <a:lnTo>
                    <a:pt x="1420" y="1564"/>
                  </a:lnTo>
                  <a:lnTo>
                    <a:pt x="1424" y="1560"/>
                  </a:lnTo>
                  <a:lnTo>
                    <a:pt x="1428" y="1559"/>
                  </a:lnTo>
                  <a:lnTo>
                    <a:pt x="1431" y="1560"/>
                  </a:lnTo>
                  <a:lnTo>
                    <a:pt x="1431" y="1564"/>
                  </a:lnTo>
                  <a:lnTo>
                    <a:pt x="1431" y="1568"/>
                  </a:lnTo>
                  <a:lnTo>
                    <a:pt x="1430" y="1573"/>
                  </a:lnTo>
                  <a:lnTo>
                    <a:pt x="1426" y="1576"/>
                  </a:lnTo>
                  <a:lnTo>
                    <a:pt x="1424" y="1581"/>
                  </a:lnTo>
                  <a:lnTo>
                    <a:pt x="1424" y="1588"/>
                  </a:lnTo>
                  <a:lnTo>
                    <a:pt x="1427" y="1589"/>
                  </a:lnTo>
                  <a:lnTo>
                    <a:pt x="1432" y="1586"/>
                  </a:lnTo>
                  <a:lnTo>
                    <a:pt x="1436" y="1581"/>
                  </a:lnTo>
                  <a:lnTo>
                    <a:pt x="1440" y="1582"/>
                  </a:lnTo>
                  <a:lnTo>
                    <a:pt x="1440" y="1587"/>
                  </a:lnTo>
                  <a:lnTo>
                    <a:pt x="1436" y="1591"/>
                  </a:lnTo>
                  <a:lnTo>
                    <a:pt x="1436" y="1594"/>
                  </a:lnTo>
                  <a:lnTo>
                    <a:pt x="1441" y="1594"/>
                  </a:lnTo>
                  <a:lnTo>
                    <a:pt x="1449" y="1595"/>
                  </a:lnTo>
                  <a:lnTo>
                    <a:pt x="1454" y="1598"/>
                  </a:lnTo>
                  <a:lnTo>
                    <a:pt x="1459" y="1603"/>
                  </a:lnTo>
                  <a:lnTo>
                    <a:pt x="1464" y="1605"/>
                  </a:lnTo>
                  <a:lnTo>
                    <a:pt x="1468" y="1604"/>
                  </a:lnTo>
                  <a:lnTo>
                    <a:pt x="1472" y="1600"/>
                  </a:lnTo>
                  <a:lnTo>
                    <a:pt x="1472" y="1595"/>
                  </a:lnTo>
                  <a:lnTo>
                    <a:pt x="1472" y="1590"/>
                  </a:lnTo>
                  <a:lnTo>
                    <a:pt x="1474" y="1586"/>
                  </a:lnTo>
                  <a:lnTo>
                    <a:pt x="1473" y="1581"/>
                  </a:lnTo>
                  <a:lnTo>
                    <a:pt x="1472" y="1579"/>
                  </a:lnTo>
                  <a:lnTo>
                    <a:pt x="1473" y="1576"/>
                  </a:lnTo>
                  <a:lnTo>
                    <a:pt x="1479" y="1576"/>
                  </a:lnTo>
                  <a:lnTo>
                    <a:pt x="1486" y="1580"/>
                  </a:lnTo>
                  <a:lnTo>
                    <a:pt x="1490" y="1582"/>
                  </a:lnTo>
                  <a:lnTo>
                    <a:pt x="1499" y="1583"/>
                  </a:lnTo>
                  <a:lnTo>
                    <a:pt x="1504" y="1583"/>
                  </a:lnTo>
                  <a:lnTo>
                    <a:pt x="1508" y="1584"/>
                  </a:lnTo>
                  <a:lnTo>
                    <a:pt x="1513" y="1584"/>
                  </a:lnTo>
                  <a:lnTo>
                    <a:pt x="1518" y="1581"/>
                  </a:lnTo>
                  <a:lnTo>
                    <a:pt x="1522" y="1576"/>
                  </a:lnTo>
                  <a:lnTo>
                    <a:pt x="1528" y="1575"/>
                  </a:lnTo>
                  <a:lnTo>
                    <a:pt x="1534" y="1576"/>
                  </a:lnTo>
                  <a:lnTo>
                    <a:pt x="1538" y="1578"/>
                  </a:lnTo>
                  <a:lnTo>
                    <a:pt x="1544" y="1578"/>
                  </a:lnTo>
                  <a:lnTo>
                    <a:pt x="1548" y="1580"/>
                  </a:lnTo>
                  <a:lnTo>
                    <a:pt x="1550" y="1581"/>
                  </a:lnTo>
                  <a:lnTo>
                    <a:pt x="1554" y="1584"/>
                  </a:lnTo>
                  <a:lnTo>
                    <a:pt x="1559" y="1586"/>
                  </a:lnTo>
                  <a:lnTo>
                    <a:pt x="1566" y="1588"/>
                  </a:lnTo>
                  <a:lnTo>
                    <a:pt x="1570" y="1589"/>
                  </a:lnTo>
                  <a:lnTo>
                    <a:pt x="1572" y="1591"/>
                  </a:lnTo>
                  <a:lnTo>
                    <a:pt x="1572" y="1595"/>
                  </a:lnTo>
                  <a:lnTo>
                    <a:pt x="1574" y="1597"/>
                  </a:lnTo>
                  <a:lnTo>
                    <a:pt x="1575" y="1600"/>
                  </a:lnTo>
                  <a:lnTo>
                    <a:pt x="1578" y="1605"/>
                  </a:lnTo>
                  <a:lnTo>
                    <a:pt x="1580" y="1607"/>
                  </a:lnTo>
                  <a:lnTo>
                    <a:pt x="1583" y="1614"/>
                  </a:lnTo>
                  <a:lnTo>
                    <a:pt x="1582" y="1616"/>
                  </a:lnTo>
                  <a:lnTo>
                    <a:pt x="1580" y="1616"/>
                  </a:lnTo>
                  <a:lnTo>
                    <a:pt x="1577" y="1616"/>
                  </a:lnTo>
                  <a:lnTo>
                    <a:pt x="1572" y="1616"/>
                  </a:lnTo>
                  <a:lnTo>
                    <a:pt x="1568" y="1616"/>
                  </a:lnTo>
                  <a:lnTo>
                    <a:pt x="1564" y="1615"/>
                  </a:lnTo>
                  <a:lnTo>
                    <a:pt x="1560" y="1618"/>
                  </a:lnTo>
                  <a:lnTo>
                    <a:pt x="1560" y="1621"/>
                  </a:lnTo>
                  <a:lnTo>
                    <a:pt x="1560" y="1626"/>
                  </a:lnTo>
                  <a:lnTo>
                    <a:pt x="1560" y="1631"/>
                  </a:lnTo>
                  <a:lnTo>
                    <a:pt x="1560" y="1642"/>
                  </a:lnTo>
                  <a:lnTo>
                    <a:pt x="1560" y="1652"/>
                  </a:lnTo>
                  <a:lnTo>
                    <a:pt x="1560" y="1659"/>
                  </a:lnTo>
                  <a:lnTo>
                    <a:pt x="1560" y="1664"/>
                  </a:lnTo>
                  <a:lnTo>
                    <a:pt x="1563" y="1668"/>
                  </a:lnTo>
                  <a:lnTo>
                    <a:pt x="1569" y="1668"/>
                  </a:lnTo>
                  <a:lnTo>
                    <a:pt x="1570" y="1669"/>
                  </a:lnTo>
                  <a:lnTo>
                    <a:pt x="1571" y="1672"/>
                  </a:lnTo>
                  <a:lnTo>
                    <a:pt x="1571" y="1679"/>
                  </a:lnTo>
                  <a:lnTo>
                    <a:pt x="1574" y="1685"/>
                  </a:lnTo>
                  <a:lnTo>
                    <a:pt x="1575" y="1688"/>
                  </a:lnTo>
                  <a:lnTo>
                    <a:pt x="1577" y="1692"/>
                  </a:lnTo>
                  <a:lnTo>
                    <a:pt x="1576" y="1695"/>
                  </a:lnTo>
                  <a:lnTo>
                    <a:pt x="1572" y="1698"/>
                  </a:lnTo>
                  <a:lnTo>
                    <a:pt x="1568" y="1698"/>
                  </a:lnTo>
                  <a:lnTo>
                    <a:pt x="1566" y="1699"/>
                  </a:lnTo>
                  <a:lnTo>
                    <a:pt x="1562" y="1702"/>
                  </a:lnTo>
                  <a:lnTo>
                    <a:pt x="1562" y="1704"/>
                  </a:lnTo>
                  <a:lnTo>
                    <a:pt x="1564" y="1708"/>
                  </a:lnTo>
                  <a:lnTo>
                    <a:pt x="1567" y="1709"/>
                  </a:lnTo>
                  <a:lnTo>
                    <a:pt x="1568" y="1715"/>
                  </a:lnTo>
                  <a:lnTo>
                    <a:pt x="1567" y="1717"/>
                  </a:lnTo>
                  <a:lnTo>
                    <a:pt x="1564" y="1719"/>
                  </a:lnTo>
                  <a:lnTo>
                    <a:pt x="1562" y="1720"/>
                  </a:lnTo>
                  <a:lnTo>
                    <a:pt x="1559" y="1724"/>
                  </a:lnTo>
                  <a:lnTo>
                    <a:pt x="1555" y="1724"/>
                  </a:lnTo>
                  <a:lnTo>
                    <a:pt x="1553" y="1727"/>
                  </a:lnTo>
                  <a:lnTo>
                    <a:pt x="1553" y="1732"/>
                  </a:lnTo>
                  <a:lnTo>
                    <a:pt x="1553" y="1735"/>
                  </a:lnTo>
                  <a:lnTo>
                    <a:pt x="1553" y="1740"/>
                  </a:lnTo>
                  <a:lnTo>
                    <a:pt x="1554" y="1743"/>
                  </a:lnTo>
                  <a:lnTo>
                    <a:pt x="1556" y="1747"/>
                  </a:lnTo>
                  <a:lnTo>
                    <a:pt x="1560" y="1750"/>
                  </a:lnTo>
                  <a:lnTo>
                    <a:pt x="1563" y="1750"/>
                  </a:lnTo>
                  <a:lnTo>
                    <a:pt x="1568" y="1750"/>
                  </a:lnTo>
                  <a:lnTo>
                    <a:pt x="1572" y="1750"/>
                  </a:lnTo>
                  <a:lnTo>
                    <a:pt x="1575" y="1754"/>
                  </a:lnTo>
                  <a:lnTo>
                    <a:pt x="1575" y="1757"/>
                  </a:lnTo>
                  <a:lnTo>
                    <a:pt x="1576" y="1760"/>
                  </a:lnTo>
                  <a:lnTo>
                    <a:pt x="1576" y="1765"/>
                  </a:lnTo>
                  <a:lnTo>
                    <a:pt x="1577" y="1768"/>
                  </a:lnTo>
                  <a:lnTo>
                    <a:pt x="1580" y="1773"/>
                  </a:lnTo>
                  <a:lnTo>
                    <a:pt x="1584" y="1778"/>
                  </a:lnTo>
                  <a:lnTo>
                    <a:pt x="1586" y="1782"/>
                  </a:lnTo>
                  <a:lnTo>
                    <a:pt x="1590" y="1783"/>
                  </a:lnTo>
                  <a:lnTo>
                    <a:pt x="1592" y="1786"/>
                  </a:lnTo>
                  <a:lnTo>
                    <a:pt x="1599" y="1789"/>
                  </a:lnTo>
                  <a:lnTo>
                    <a:pt x="1604" y="1794"/>
                  </a:lnTo>
                  <a:lnTo>
                    <a:pt x="1607" y="1797"/>
                  </a:lnTo>
                  <a:lnTo>
                    <a:pt x="1611" y="1802"/>
                  </a:lnTo>
                  <a:lnTo>
                    <a:pt x="1615" y="1805"/>
                  </a:lnTo>
                  <a:lnTo>
                    <a:pt x="1622" y="1810"/>
                  </a:lnTo>
                  <a:lnTo>
                    <a:pt x="1626" y="1810"/>
                  </a:lnTo>
                  <a:lnTo>
                    <a:pt x="1632" y="1808"/>
                  </a:lnTo>
                  <a:lnTo>
                    <a:pt x="1639" y="1807"/>
                  </a:lnTo>
                  <a:lnTo>
                    <a:pt x="1647" y="1806"/>
                  </a:lnTo>
                  <a:lnTo>
                    <a:pt x="1656" y="1806"/>
                  </a:lnTo>
                  <a:lnTo>
                    <a:pt x="1664" y="1807"/>
                  </a:lnTo>
                  <a:lnTo>
                    <a:pt x="1671" y="1807"/>
                  </a:lnTo>
                  <a:lnTo>
                    <a:pt x="1676" y="1806"/>
                  </a:lnTo>
                  <a:lnTo>
                    <a:pt x="1681" y="1806"/>
                  </a:lnTo>
                  <a:lnTo>
                    <a:pt x="1684" y="1807"/>
                  </a:lnTo>
                  <a:lnTo>
                    <a:pt x="1688" y="1806"/>
                  </a:lnTo>
                  <a:lnTo>
                    <a:pt x="1691" y="1804"/>
                  </a:lnTo>
                  <a:lnTo>
                    <a:pt x="1694" y="1798"/>
                  </a:lnTo>
                  <a:lnTo>
                    <a:pt x="1695" y="1794"/>
                  </a:lnTo>
                  <a:lnTo>
                    <a:pt x="1697" y="1788"/>
                  </a:lnTo>
                  <a:lnTo>
                    <a:pt x="1702" y="1781"/>
                  </a:lnTo>
                  <a:lnTo>
                    <a:pt x="1712" y="1770"/>
                  </a:lnTo>
                  <a:lnTo>
                    <a:pt x="1715" y="1763"/>
                  </a:lnTo>
                  <a:lnTo>
                    <a:pt x="1719" y="1757"/>
                  </a:lnTo>
                  <a:lnTo>
                    <a:pt x="1722" y="1752"/>
                  </a:lnTo>
                  <a:lnTo>
                    <a:pt x="1726" y="1748"/>
                  </a:lnTo>
                  <a:lnTo>
                    <a:pt x="1729" y="1744"/>
                  </a:lnTo>
                  <a:lnTo>
                    <a:pt x="1731" y="1741"/>
                  </a:lnTo>
                  <a:lnTo>
                    <a:pt x="1734" y="1738"/>
                  </a:lnTo>
                  <a:lnTo>
                    <a:pt x="1736" y="1735"/>
                  </a:lnTo>
                  <a:lnTo>
                    <a:pt x="1738" y="1727"/>
                  </a:lnTo>
                  <a:lnTo>
                    <a:pt x="1740" y="1717"/>
                  </a:lnTo>
                  <a:lnTo>
                    <a:pt x="1742" y="1714"/>
                  </a:lnTo>
                  <a:lnTo>
                    <a:pt x="1744" y="1709"/>
                  </a:lnTo>
                  <a:lnTo>
                    <a:pt x="1745" y="1706"/>
                  </a:lnTo>
                  <a:lnTo>
                    <a:pt x="1746" y="1699"/>
                  </a:lnTo>
                  <a:lnTo>
                    <a:pt x="1747" y="1694"/>
                  </a:lnTo>
                  <a:lnTo>
                    <a:pt x="1747" y="1688"/>
                  </a:lnTo>
                  <a:lnTo>
                    <a:pt x="1748" y="1685"/>
                  </a:lnTo>
                  <a:lnTo>
                    <a:pt x="1751" y="1680"/>
                  </a:lnTo>
                  <a:lnTo>
                    <a:pt x="1755" y="1677"/>
                  </a:lnTo>
                  <a:lnTo>
                    <a:pt x="1758" y="1674"/>
                  </a:lnTo>
                  <a:lnTo>
                    <a:pt x="1758" y="1670"/>
                  </a:lnTo>
                  <a:lnTo>
                    <a:pt x="1758" y="1666"/>
                  </a:lnTo>
                  <a:lnTo>
                    <a:pt x="1755" y="1661"/>
                  </a:lnTo>
                  <a:lnTo>
                    <a:pt x="1752" y="1655"/>
                  </a:lnTo>
                  <a:lnTo>
                    <a:pt x="1748" y="1650"/>
                  </a:lnTo>
                  <a:lnTo>
                    <a:pt x="1748" y="1645"/>
                  </a:lnTo>
                  <a:lnTo>
                    <a:pt x="1748" y="1640"/>
                  </a:lnTo>
                  <a:lnTo>
                    <a:pt x="1748" y="1636"/>
                  </a:lnTo>
                  <a:lnTo>
                    <a:pt x="1752" y="1631"/>
                  </a:lnTo>
                  <a:lnTo>
                    <a:pt x="1755" y="1629"/>
                  </a:lnTo>
                  <a:lnTo>
                    <a:pt x="1760" y="1628"/>
                  </a:lnTo>
                  <a:lnTo>
                    <a:pt x="1764" y="1628"/>
                  </a:lnTo>
                  <a:lnTo>
                    <a:pt x="1769" y="1628"/>
                  </a:lnTo>
                  <a:lnTo>
                    <a:pt x="1771" y="1626"/>
                  </a:lnTo>
                  <a:lnTo>
                    <a:pt x="1776" y="1622"/>
                  </a:lnTo>
                  <a:lnTo>
                    <a:pt x="1782" y="1615"/>
                  </a:lnTo>
                  <a:lnTo>
                    <a:pt x="1785" y="1607"/>
                  </a:lnTo>
                  <a:lnTo>
                    <a:pt x="1786" y="1603"/>
                  </a:lnTo>
                  <a:lnTo>
                    <a:pt x="1787" y="1600"/>
                  </a:lnTo>
                  <a:lnTo>
                    <a:pt x="1787" y="1597"/>
                  </a:lnTo>
                  <a:lnTo>
                    <a:pt x="1786" y="1595"/>
                  </a:lnTo>
                  <a:lnTo>
                    <a:pt x="1784" y="1592"/>
                  </a:lnTo>
                  <a:lnTo>
                    <a:pt x="1779" y="1590"/>
                  </a:lnTo>
                  <a:lnTo>
                    <a:pt x="1778" y="1587"/>
                  </a:lnTo>
                  <a:lnTo>
                    <a:pt x="1776" y="1583"/>
                  </a:lnTo>
                  <a:lnTo>
                    <a:pt x="1775" y="1579"/>
                  </a:lnTo>
                  <a:lnTo>
                    <a:pt x="1772" y="1574"/>
                  </a:lnTo>
                  <a:lnTo>
                    <a:pt x="1769" y="1570"/>
                  </a:lnTo>
                  <a:lnTo>
                    <a:pt x="1766" y="1566"/>
                  </a:lnTo>
                  <a:lnTo>
                    <a:pt x="1761" y="1564"/>
                  </a:lnTo>
                  <a:lnTo>
                    <a:pt x="1756" y="1562"/>
                  </a:lnTo>
                  <a:lnTo>
                    <a:pt x="1752" y="1559"/>
                  </a:lnTo>
                  <a:lnTo>
                    <a:pt x="1750" y="1557"/>
                  </a:lnTo>
                  <a:lnTo>
                    <a:pt x="1747" y="1552"/>
                  </a:lnTo>
                  <a:lnTo>
                    <a:pt x="1746" y="1548"/>
                  </a:lnTo>
                  <a:lnTo>
                    <a:pt x="1744" y="1544"/>
                  </a:lnTo>
                  <a:lnTo>
                    <a:pt x="1738" y="1536"/>
                  </a:lnTo>
                  <a:lnTo>
                    <a:pt x="1736" y="1532"/>
                  </a:lnTo>
                  <a:lnTo>
                    <a:pt x="1734" y="1526"/>
                  </a:lnTo>
                  <a:lnTo>
                    <a:pt x="1732" y="1518"/>
                  </a:lnTo>
                  <a:lnTo>
                    <a:pt x="1731" y="1510"/>
                  </a:lnTo>
                  <a:lnTo>
                    <a:pt x="1731" y="1504"/>
                  </a:lnTo>
                  <a:lnTo>
                    <a:pt x="1731" y="1499"/>
                  </a:lnTo>
                  <a:lnTo>
                    <a:pt x="1730" y="1494"/>
                  </a:lnTo>
                  <a:lnTo>
                    <a:pt x="1729" y="1488"/>
                  </a:lnTo>
                  <a:lnTo>
                    <a:pt x="1728" y="1482"/>
                  </a:lnTo>
                  <a:lnTo>
                    <a:pt x="1728" y="1475"/>
                  </a:lnTo>
                  <a:lnTo>
                    <a:pt x="1731" y="1468"/>
                  </a:lnTo>
                  <a:lnTo>
                    <a:pt x="1735" y="1461"/>
                  </a:lnTo>
                  <a:lnTo>
                    <a:pt x="1736" y="1453"/>
                  </a:lnTo>
                  <a:lnTo>
                    <a:pt x="1737" y="1448"/>
                  </a:lnTo>
                  <a:lnTo>
                    <a:pt x="1738" y="1443"/>
                  </a:lnTo>
                  <a:lnTo>
                    <a:pt x="1743" y="1438"/>
                  </a:lnTo>
                  <a:lnTo>
                    <a:pt x="1747" y="1435"/>
                  </a:lnTo>
                  <a:lnTo>
                    <a:pt x="1753" y="1431"/>
                  </a:lnTo>
                  <a:lnTo>
                    <a:pt x="1759" y="1430"/>
                  </a:lnTo>
                  <a:lnTo>
                    <a:pt x="1767" y="1427"/>
                  </a:lnTo>
                  <a:lnTo>
                    <a:pt x="1776" y="1423"/>
                  </a:lnTo>
                  <a:lnTo>
                    <a:pt x="1783" y="1420"/>
                  </a:lnTo>
                  <a:lnTo>
                    <a:pt x="1788" y="1416"/>
                  </a:lnTo>
                  <a:lnTo>
                    <a:pt x="1793" y="1411"/>
                  </a:lnTo>
                  <a:lnTo>
                    <a:pt x="1798" y="1405"/>
                  </a:lnTo>
                  <a:lnTo>
                    <a:pt x="1800" y="1403"/>
                  </a:lnTo>
                  <a:lnTo>
                    <a:pt x="1804" y="1399"/>
                  </a:lnTo>
                  <a:lnTo>
                    <a:pt x="1809" y="1398"/>
                  </a:lnTo>
                  <a:lnTo>
                    <a:pt x="1816" y="1397"/>
                  </a:lnTo>
                  <a:lnTo>
                    <a:pt x="1825" y="1398"/>
                  </a:lnTo>
                  <a:lnTo>
                    <a:pt x="1830" y="1396"/>
                  </a:lnTo>
                  <a:lnTo>
                    <a:pt x="1834" y="1392"/>
                  </a:lnTo>
                  <a:lnTo>
                    <a:pt x="1838" y="1388"/>
                  </a:lnTo>
                  <a:lnTo>
                    <a:pt x="1843" y="1382"/>
                  </a:lnTo>
                  <a:lnTo>
                    <a:pt x="1852" y="1378"/>
                  </a:lnTo>
                  <a:lnTo>
                    <a:pt x="1857" y="1376"/>
                  </a:lnTo>
                  <a:lnTo>
                    <a:pt x="1862" y="1374"/>
                  </a:lnTo>
                  <a:lnTo>
                    <a:pt x="1868" y="1372"/>
                  </a:lnTo>
                  <a:lnTo>
                    <a:pt x="1876" y="1367"/>
                  </a:lnTo>
                  <a:lnTo>
                    <a:pt x="1880" y="1364"/>
                  </a:lnTo>
                  <a:lnTo>
                    <a:pt x="1886" y="1356"/>
                  </a:lnTo>
                  <a:lnTo>
                    <a:pt x="1889" y="1350"/>
                  </a:lnTo>
                  <a:lnTo>
                    <a:pt x="1895" y="1340"/>
                  </a:lnTo>
                  <a:lnTo>
                    <a:pt x="1898" y="1335"/>
                  </a:lnTo>
                  <a:lnTo>
                    <a:pt x="1903" y="1332"/>
                  </a:lnTo>
                  <a:lnTo>
                    <a:pt x="1908" y="1330"/>
                  </a:lnTo>
                  <a:lnTo>
                    <a:pt x="1914" y="1327"/>
                  </a:lnTo>
                  <a:lnTo>
                    <a:pt x="1920" y="1325"/>
                  </a:lnTo>
                  <a:lnTo>
                    <a:pt x="1926" y="1319"/>
                  </a:lnTo>
                  <a:lnTo>
                    <a:pt x="1930" y="1315"/>
                  </a:lnTo>
                  <a:lnTo>
                    <a:pt x="1943" y="1303"/>
                  </a:lnTo>
                  <a:lnTo>
                    <a:pt x="1950" y="1298"/>
                  </a:lnTo>
                  <a:lnTo>
                    <a:pt x="1954" y="1296"/>
                  </a:lnTo>
                  <a:lnTo>
                    <a:pt x="1960" y="1299"/>
                  </a:lnTo>
                  <a:lnTo>
                    <a:pt x="1967" y="1300"/>
                  </a:lnTo>
                  <a:lnTo>
                    <a:pt x="1975" y="1303"/>
                  </a:lnTo>
                  <a:lnTo>
                    <a:pt x="1980" y="1304"/>
                  </a:lnTo>
                  <a:lnTo>
                    <a:pt x="1984" y="1307"/>
                  </a:lnTo>
                  <a:lnTo>
                    <a:pt x="1987" y="1308"/>
                  </a:lnTo>
                  <a:lnTo>
                    <a:pt x="1992" y="1308"/>
                  </a:lnTo>
                  <a:lnTo>
                    <a:pt x="1998" y="1304"/>
                  </a:lnTo>
                  <a:lnTo>
                    <a:pt x="2002" y="1301"/>
                  </a:lnTo>
                  <a:lnTo>
                    <a:pt x="2007" y="1296"/>
                  </a:lnTo>
                  <a:lnTo>
                    <a:pt x="2012" y="1293"/>
                  </a:lnTo>
                  <a:lnTo>
                    <a:pt x="2018" y="1292"/>
                  </a:lnTo>
                  <a:lnTo>
                    <a:pt x="2025" y="1293"/>
                  </a:lnTo>
                  <a:lnTo>
                    <a:pt x="2028" y="1296"/>
                  </a:lnTo>
                  <a:lnTo>
                    <a:pt x="2033" y="1299"/>
                  </a:lnTo>
                  <a:lnTo>
                    <a:pt x="2036" y="1301"/>
                  </a:lnTo>
                  <a:lnTo>
                    <a:pt x="2044" y="1303"/>
                  </a:lnTo>
                  <a:lnTo>
                    <a:pt x="2050" y="1303"/>
                  </a:lnTo>
                  <a:lnTo>
                    <a:pt x="2063" y="1304"/>
                  </a:lnTo>
                  <a:lnTo>
                    <a:pt x="2071" y="1306"/>
                  </a:lnTo>
                  <a:lnTo>
                    <a:pt x="2078" y="1306"/>
                  </a:lnTo>
                  <a:lnTo>
                    <a:pt x="2084" y="1306"/>
                  </a:lnTo>
                  <a:lnTo>
                    <a:pt x="2088" y="1303"/>
                  </a:lnTo>
                  <a:lnTo>
                    <a:pt x="2088" y="1300"/>
                  </a:lnTo>
                  <a:lnTo>
                    <a:pt x="2087" y="1299"/>
                  </a:lnTo>
                  <a:lnTo>
                    <a:pt x="2082" y="1298"/>
                  </a:lnTo>
                  <a:lnTo>
                    <a:pt x="2080" y="1294"/>
                  </a:lnTo>
                  <a:lnTo>
                    <a:pt x="2080" y="1290"/>
                  </a:lnTo>
                  <a:lnTo>
                    <a:pt x="2080" y="1285"/>
                  </a:lnTo>
                  <a:lnTo>
                    <a:pt x="2079" y="1277"/>
                  </a:lnTo>
                  <a:lnTo>
                    <a:pt x="2075" y="1275"/>
                  </a:lnTo>
                  <a:lnTo>
                    <a:pt x="2070" y="1271"/>
                  </a:lnTo>
                  <a:lnTo>
                    <a:pt x="2064" y="1267"/>
                  </a:lnTo>
                  <a:lnTo>
                    <a:pt x="2058" y="1261"/>
                  </a:lnTo>
                  <a:lnTo>
                    <a:pt x="2051" y="1259"/>
                  </a:lnTo>
                  <a:lnTo>
                    <a:pt x="2046" y="1253"/>
                  </a:lnTo>
                  <a:lnTo>
                    <a:pt x="2030" y="1246"/>
                  </a:lnTo>
                  <a:lnTo>
                    <a:pt x="2024" y="1243"/>
                  </a:lnTo>
                  <a:lnTo>
                    <a:pt x="2018" y="1239"/>
                  </a:lnTo>
                  <a:lnTo>
                    <a:pt x="2015" y="1239"/>
                  </a:lnTo>
                  <a:lnTo>
                    <a:pt x="2009" y="1238"/>
                  </a:lnTo>
                  <a:lnTo>
                    <a:pt x="2006" y="1239"/>
                  </a:lnTo>
                  <a:lnTo>
                    <a:pt x="2002" y="1240"/>
                  </a:lnTo>
                  <a:lnTo>
                    <a:pt x="1996" y="1240"/>
                  </a:lnTo>
                  <a:lnTo>
                    <a:pt x="1994" y="1238"/>
                  </a:lnTo>
                  <a:lnTo>
                    <a:pt x="1991" y="1236"/>
                  </a:lnTo>
                  <a:lnTo>
                    <a:pt x="1987" y="1231"/>
                  </a:lnTo>
                  <a:lnTo>
                    <a:pt x="1983" y="1227"/>
                  </a:lnTo>
                  <a:lnTo>
                    <a:pt x="1979" y="1222"/>
                  </a:lnTo>
                  <a:lnTo>
                    <a:pt x="1976" y="1218"/>
                  </a:lnTo>
                  <a:lnTo>
                    <a:pt x="1970" y="1213"/>
                  </a:lnTo>
                  <a:lnTo>
                    <a:pt x="1967" y="1211"/>
                  </a:lnTo>
                  <a:lnTo>
                    <a:pt x="1959" y="1206"/>
                  </a:lnTo>
                  <a:lnTo>
                    <a:pt x="1939" y="1198"/>
                  </a:lnTo>
                  <a:lnTo>
                    <a:pt x="1935" y="1194"/>
                  </a:lnTo>
                  <a:lnTo>
                    <a:pt x="1930" y="1190"/>
                  </a:lnTo>
                  <a:lnTo>
                    <a:pt x="1929" y="1186"/>
                  </a:lnTo>
                  <a:lnTo>
                    <a:pt x="1928" y="1179"/>
                  </a:lnTo>
                  <a:lnTo>
                    <a:pt x="1928" y="1173"/>
                  </a:lnTo>
                  <a:lnTo>
                    <a:pt x="1927" y="1168"/>
                  </a:lnTo>
                  <a:lnTo>
                    <a:pt x="1922" y="1165"/>
                  </a:lnTo>
                  <a:lnTo>
                    <a:pt x="1919" y="1158"/>
                  </a:lnTo>
                  <a:lnTo>
                    <a:pt x="1920" y="1154"/>
                  </a:lnTo>
                  <a:lnTo>
                    <a:pt x="1924" y="1151"/>
                  </a:lnTo>
                  <a:lnTo>
                    <a:pt x="1929" y="1152"/>
                  </a:lnTo>
                  <a:lnTo>
                    <a:pt x="1936" y="1155"/>
                  </a:lnTo>
                  <a:lnTo>
                    <a:pt x="1945" y="1155"/>
                  </a:lnTo>
                  <a:lnTo>
                    <a:pt x="1951" y="1151"/>
                  </a:lnTo>
                  <a:lnTo>
                    <a:pt x="1956" y="1150"/>
                  </a:lnTo>
                  <a:lnTo>
                    <a:pt x="1960" y="1150"/>
                  </a:lnTo>
                  <a:lnTo>
                    <a:pt x="1964" y="1150"/>
                  </a:lnTo>
                  <a:lnTo>
                    <a:pt x="1969" y="1146"/>
                  </a:lnTo>
                  <a:lnTo>
                    <a:pt x="1969" y="1143"/>
                  </a:lnTo>
                  <a:lnTo>
                    <a:pt x="1966" y="1134"/>
                  </a:lnTo>
                  <a:lnTo>
                    <a:pt x="1967" y="1133"/>
                  </a:lnTo>
                  <a:lnTo>
                    <a:pt x="1966" y="1130"/>
                  </a:lnTo>
                  <a:lnTo>
                    <a:pt x="1964" y="1128"/>
                  </a:lnTo>
                  <a:lnTo>
                    <a:pt x="1963" y="1126"/>
                  </a:lnTo>
                  <a:lnTo>
                    <a:pt x="1962" y="1125"/>
                  </a:lnTo>
                  <a:lnTo>
                    <a:pt x="1961" y="1123"/>
                  </a:lnTo>
                  <a:lnTo>
                    <a:pt x="1959" y="1120"/>
                  </a:lnTo>
                  <a:lnTo>
                    <a:pt x="1956" y="1119"/>
                  </a:lnTo>
                  <a:lnTo>
                    <a:pt x="1953" y="1118"/>
                  </a:lnTo>
                  <a:lnTo>
                    <a:pt x="1950" y="1118"/>
                  </a:lnTo>
                  <a:lnTo>
                    <a:pt x="1945" y="1117"/>
                  </a:lnTo>
                  <a:lnTo>
                    <a:pt x="1937" y="1117"/>
                  </a:lnTo>
                  <a:lnTo>
                    <a:pt x="1932" y="1116"/>
                  </a:lnTo>
                  <a:lnTo>
                    <a:pt x="1929" y="1114"/>
                  </a:lnTo>
                  <a:lnTo>
                    <a:pt x="1927" y="1111"/>
                  </a:lnTo>
                  <a:lnTo>
                    <a:pt x="1924" y="1109"/>
                  </a:lnTo>
                  <a:lnTo>
                    <a:pt x="1923" y="1106"/>
                  </a:lnTo>
                  <a:lnTo>
                    <a:pt x="1923" y="1103"/>
                  </a:lnTo>
                  <a:lnTo>
                    <a:pt x="1922" y="1099"/>
                  </a:lnTo>
                  <a:lnTo>
                    <a:pt x="1919" y="1093"/>
                  </a:lnTo>
                  <a:lnTo>
                    <a:pt x="1918" y="1091"/>
                  </a:lnTo>
                  <a:lnTo>
                    <a:pt x="1914" y="1090"/>
                  </a:lnTo>
                  <a:lnTo>
                    <a:pt x="1911" y="1088"/>
                  </a:lnTo>
                  <a:lnTo>
                    <a:pt x="1903" y="1086"/>
                  </a:lnTo>
                  <a:lnTo>
                    <a:pt x="1899" y="1085"/>
                  </a:lnTo>
                  <a:lnTo>
                    <a:pt x="1896" y="1083"/>
                  </a:lnTo>
                  <a:lnTo>
                    <a:pt x="1894" y="1082"/>
                  </a:lnTo>
                  <a:lnTo>
                    <a:pt x="1892" y="1079"/>
                  </a:lnTo>
                  <a:lnTo>
                    <a:pt x="1890" y="1077"/>
                  </a:lnTo>
                  <a:lnTo>
                    <a:pt x="1890" y="1075"/>
                  </a:lnTo>
                  <a:lnTo>
                    <a:pt x="1890" y="1071"/>
                  </a:lnTo>
                  <a:lnTo>
                    <a:pt x="1890" y="1069"/>
                  </a:lnTo>
                  <a:lnTo>
                    <a:pt x="1890" y="1067"/>
                  </a:lnTo>
                  <a:lnTo>
                    <a:pt x="1891" y="1064"/>
                  </a:lnTo>
                  <a:lnTo>
                    <a:pt x="1892" y="1063"/>
                  </a:lnTo>
                  <a:lnTo>
                    <a:pt x="1894" y="1062"/>
                  </a:lnTo>
                  <a:lnTo>
                    <a:pt x="1895" y="1062"/>
                  </a:lnTo>
                  <a:lnTo>
                    <a:pt x="1898" y="1063"/>
                  </a:lnTo>
                  <a:lnTo>
                    <a:pt x="1899" y="1064"/>
                  </a:lnTo>
                  <a:lnTo>
                    <a:pt x="1902" y="1067"/>
                  </a:lnTo>
                  <a:lnTo>
                    <a:pt x="1905" y="1068"/>
                  </a:lnTo>
                  <a:lnTo>
                    <a:pt x="1906" y="1067"/>
                  </a:lnTo>
                  <a:lnTo>
                    <a:pt x="1907" y="1066"/>
                  </a:lnTo>
                  <a:lnTo>
                    <a:pt x="1911" y="1067"/>
                  </a:lnTo>
                  <a:lnTo>
                    <a:pt x="1913" y="1067"/>
                  </a:lnTo>
                  <a:lnTo>
                    <a:pt x="1916" y="1066"/>
                  </a:lnTo>
                  <a:lnTo>
                    <a:pt x="1920" y="1064"/>
                  </a:lnTo>
                  <a:lnTo>
                    <a:pt x="1922" y="1063"/>
                  </a:lnTo>
                  <a:lnTo>
                    <a:pt x="1929" y="1058"/>
                  </a:lnTo>
                  <a:lnTo>
                    <a:pt x="1934" y="1054"/>
                  </a:lnTo>
                  <a:lnTo>
                    <a:pt x="1937" y="1050"/>
                  </a:lnTo>
                  <a:lnTo>
                    <a:pt x="1938" y="1046"/>
                  </a:lnTo>
                  <a:lnTo>
                    <a:pt x="1938" y="1043"/>
                  </a:lnTo>
                  <a:lnTo>
                    <a:pt x="1939" y="1040"/>
                  </a:lnTo>
                  <a:lnTo>
                    <a:pt x="1940" y="1039"/>
                  </a:lnTo>
                  <a:lnTo>
                    <a:pt x="1944" y="1039"/>
                  </a:lnTo>
                  <a:lnTo>
                    <a:pt x="1946" y="1040"/>
                  </a:lnTo>
                  <a:lnTo>
                    <a:pt x="1951" y="1042"/>
                  </a:lnTo>
                  <a:lnTo>
                    <a:pt x="1953" y="1042"/>
                  </a:lnTo>
                  <a:lnTo>
                    <a:pt x="1958" y="1043"/>
                  </a:lnTo>
                  <a:lnTo>
                    <a:pt x="1963" y="1044"/>
                  </a:lnTo>
                  <a:lnTo>
                    <a:pt x="1969" y="1046"/>
                  </a:lnTo>
                  <a:lnTo>
                    <a:pt x="1974" y="1047"/>
                  </a:lnTo>
                  <a:lnTo>
                    <a:pt x="1980" y="1047"/>
                  </a:lnTo>
                  <a:lnTo>
                    <a:pt x="1983" y="1047"/>
                  </a:lnTo>
                  <a:lnTo>
                    <a:pt x="1988" y="1048"/>
                  </a:lnTo>
                  <a:lnTo>
                    <a:pt x="1992" y="1048"/>
                  </a:lnTo>
                  <a:lnTo>
                    <a:pt x="1995" y="1048"/>
                  </a:lnTo>
                  <a:lnTo>
                    <a:pt x="2001" y="1048"/>
                  </a:lnTo>
                  <a:lnTo>
                    <a:pt x="2008" y="1047"/>
                  </a:lnTo>
                  <a:lnTo>
                    <a:pt x="2015" y="1046"/>
                  </a:lnTo>
                  <a:lnTo>
                    <a:pt x="2023" y="1045"/>
                  </a:lnTo>
                  <a:lnTo>
                    <a:pt x="2026" y="1044"/>
                  </a:lnTo>
                  <a:lnTo>
                    <a:pt x="2027" y="1042"/>
                  </a:lnTo>
                  <a:lnTo>
                    <a:pt x="2027" y="1037"/>
                  </a:lnTo>
                  <a:lnTo>
                    <a:pt x="2027" y="1035"/>
                  </a:lnTo>
                  <a:lnTo>
                    <a:pt x="2025" y="1032"/>
                  </a:lnTo>
                  <a:lnTo>
                    <a:pt x="2022" y="1032"/>
                  </a:lnTo>
                  <a:lnTo>
                    <a:pt x="2017" y="1031"/>
                  </a:lnTo>
                  <a:lnTo>
                    <a:pt x="2012" y="1030"/>
                  </a:lnTo>
                  <a:lnTo>
                    <a:pt x="2010" y="1029"/>
                  </a:lnTo>
                  <a:lnTo>
                    <a:pt x="2009" y="1028"/>
                  </a:lnTo>
                  <a:lnTo>
                    <a:pt x="2008" y="1027"/>
                  </a:lnTo>
                  <a:lnTo>
                    <a:pt x="2007" y="1024"/>
                  </a:lnTo>
                  <a:lnTo>
                    <a:pt x="2007" y="1023"/>
                  </a:lnTo>
                  <a:lnTo>
                    <a:pt x="2006" y="1020"/>
                  </a:lnTo>
                  <a:lnTo>
                    <a:pt x="2004" y="1018"/>
                  </a:lnTo>
                  <a:lnTo>
                    <a:pt x="2002" y="1014"/>
                  </a:lnTo>
                  <a:lnTo>
                    <a:pt x="1999" y="1013"/>
                  </a:lnTo>
                  <a:lnTo>
                    <a:pt x="1995" y="1014"/>
                  </a:lnTo>
                  <a:lnTo>
                    <a:pt x="1993" y="1015"/>
                  </a:lnTo>
                  <a:lnTo>
                    <a:pt x="1988" y="1016"/>
                  </a:lnTo>
                  <a:lnTo>
                    <a:pt x="1985" y="1016"/>
                  </a:lnTo>
                  <a:lnTo>
                    <a:pt x="1984" y="1015"/>
                  </a:lnTo>
                  <a:lnTo>
                    <a:pt x="1983" y="1014"/>
                  </a:lnTo>
                  <a:lnTo>
                    <a:pt x="1983" y="1012"/>
                  </a:lnTo>
                  <a:lnTo>
                    <a:pt x="1983" y="1010"/>
                  </a:lnTo>
                  <a:lnTo>
                    <a:pt x="1984" y="1006"/>
                  </a:lnTo>
                  <a:lnTo>
                    <a:pt x="1985" y="1000"/>
                  </a:lnTo>
                  <a:lnTo>
                    <a:pt x="1984" y="987"/>
                  </a:lnTo>
                  <a:lnTo>
                    <a:pt x="1984" y="983"/>
                  </a:lnTo>
                  <a:lnTo>
                    <a:pt x="1983" y="982"/>
                  </a:lnTo>
                  <a:lnTo>
                    <a:pt x="1982" y="980"/>
                  </a:lnTo>
                  <a:lnTo>
                    <a:pt x="1978" y="979"/>
                  </a:lnTo>
                  <a:lnTo>
                    <a:pt x="1976" y="979"/>
                  </a:lnTo>
                  <a:lnTo>
                    <a:pt x="1974" y="979"/>
                  </a:lnTo>
                  <a:lnTo>
                    <a:pt x="1970" y="981"/>
                  </a:lnTo>
                  <a:lnTo>
                    <a:pt x="1967" y="983"/>
                  </a:lnTo>
                  <a:lnTo>
                    <a:pt x="1964" y="986"/>
                  </a:lnTo>
                  <a:lnTo>
                    <a:pt x="1962" y="987"/>
                  </a:lnTo>
                  <a:lnTo>
                    <a:pt x="1960" y="988"/>
                  </a:lnTo>
                  <a:lnTo>
                    <a:pt x="1956" y="988"/>
                  </a:lnTo>
                  <a:lnTo>
                    <a:pt x="1953" y="987"/>
                  </a:lnTo>
                  <a:lnTo>
                    <a:pt x="1952" y="986"/>
                  </a:lnTo>
                  <a:lnTo>
                    <a:pt x="1950" y="984"/>
                  </a:lnTo>
                  <a:lnTo>
                    <a:pt x="1948" y="980"/>
                  </a:lnTo>
                  <a:lnTo>
                    <a:pt x="1947" y="978"/>
                  </a:lnTo>
                  <a:lnTo>
                    <a:pt x="1944" y="973"/>
                  </a:lnTo>
                  <a:lnTo>
                    <a:pt x="1942" y="971"/>
                  </a:lnTo>
                  <a:lnTo>
                    <a:pt x="1938" y="968"/>
                  </a:lnTo>
                  <a:lnTo>
                    <a:pt x="1936" y="967"/>
                  </a:lnTo>
                  <a:lnTo>
                    <a:pt x="1934" y="964"/>
                  </a:lnTo>
                  <a:lnTo>
                    <a:pt x="1932" y="962"/>
                  </a:lnTo>
                  <a:lnTo>
                    <a:pt x="1929" y="959"/>
                  </a:lnTo>
                  <a:lnTo>
                    <a:pt x="1926" y="959"/>
                  </a:lnTo>
                  <a:lnTo>
                    <a:pt x="1920" y="957"/>
                  </a:lnTo>
                  <a:lnTo>
                    <a:pt x="1920" y="955"/>
                  </a:lnTo>
                  <a:lnTo>
                    <a:pt x="1921" y="952"/>
                  </a:lnTo>
                  <a:lnTo>
                    <a:pt x="1922" y="949"/>
                  </a:lnTo>
                  <a:lnTo>
                    <a:pt x="1923" y="947"/>
                  </a:lnTo>
                  <a:lnTo>
                    <a:pt x="1924" y="943"/>
                  </a:lnTo>
                  <a:lnTo>
                    <a:pt x="1927" y="941"/>
                  </a:lnTo>
                  <a:lnTo>
                    <a:pt x="1930" y="939"/>
                  </a:lnTo>
                  <a:lnTo>
                    <a:pt x="1934" y="934"/>
                  </a:lnTo>
                  <a:lnTo>
                    <a:pt x="1935" y="932"/>
                  </a:lnTo>
                  <a:lnTo>
                    <a:pt x="1935" y="930"/>
                  </a:lnTo>
                  <a:lnTo>
                    <a:pt x="1934" y="928"/>
                  </a:lnTo>
                  <a:lnTo>
                    <a:pt x="1931" y="926"/>
                  </a:lnTo>
                  <a:lnTo>
                    <a:pt x="1929" y="925"/>
                  </a:lnTo>
                  <a:lnTo>
                    <a:pt x="1927" y="924"/>
                  </a:lnTo>
                  <a:lnTo>
                    <a:pt x="1926" y="922"/>
                  </a:lnTo>
                  <a:lnTo>
                    <a:pt x="1923" y="920"/>
                  </a:lnTo>
                  <a:lnTo>
                    <a:pt x="1922" y="918"/>
                  </a:lnTo>
                  <a:lnTo>
                    <a:pt x="1921" y="916"/>
                  </a:lnTo>
                  <a:lnTo>
                    <a:pt x="1919" y="915"/>
                  </a:lnTo>
                  <a:lnTo>
                    <a:pt x="1916" y="915"/>
                  </a:lnTo>
                  <a:lnTo>
                    <a:pt x="1914" y="914"/>
                  </a:lnTo>
                  <a:lnTo>
                    <a:pt x="1912" y="914"/>
                  </a:lnTo>
                  <a:lnTo>
                    <a:pt x="1908" y="915"/>
                  </a:lnTo>
                  <a:lnTo>
                    <a:pt x="1906" y="915"/>
                  </a:lnTo>
                  <a:lnTo>
                    <a:pt x="1903" y="914"/>
                  </a:lnTo>
                  <a:lnTo>
                    <a:pt x="1900" y="911"/>
                  </a:lnTo>
                  <a:lnTo>
                    <a:pt x="1900" y="910"/>
                  </a:lnTo>
                  <a:lnTo>
                    <a:pt x="1900" y="909"/>
                  </a:lnTo>
                  <a:lnTo>
                    <a:pt x="1900" y="907"/>
                  </a:lnTo>
                  <a:lnTo>
                    <a:pt x="1900" y="904"/>
                  </a:lnTo>
                  <a:lnTo>
                    <a:pt x="1899" y="903"/>
                  </a:lnTo>
                  <a:lnTo>
                    <a:pt x="1897" y="902"/>
                  </a:lnTo>
                  <a:lnTo>
                    <a:pt x="1896" y="900"/>
                  </a:lnTo>
                  <a:lnTo>
                    <a:pt x="1896" y="896"/>
                  </a:lnTo>
                  <a:lnTo>
                    <a:pt x="1896" y="895"/>
                  </a:lnTo>
                  <a:lnTo>
                    <a:pt x="1898" y="893"/>
                  </a:lnTo>
                  <a:lnTo>
                    <a:pt x="1902" y="892"/>
                  </a:lnTo>
                  <a:lnTo>
                    <a:pt x="1905" y="890"/>
                  </a:lnTo>
                  <a:lnTo>
                    <a:pt x="1907" y="887"/>
                  </a:lnTo>
                  <a:lnTo>
                    <a:pt x="1911" y="885"/>
                  </a:lnTo>
                  <a:lnTo>
                    <a:pt x="1911" y="883"/>
                  </a:lnTo>
                  <a:lnTo>
                    <a:pt x="1911" y="880"/>
                  </a:lnTo>
                  <a:lnTo>
                    <a:pt x="1908" y="878"/>
                  </a:lnTo>
                  <a:lnTo>
                    <a:pt x="1907" y="878"/>
                  </a:lnTo>
                  <a:lnTo>
                    <a:pt x="1906" y="877"/>
                  </a:lnTo>
                  <a:lnTo>
                    <a:pt x="1905" y="877"/>
                  </a:lnTo>
                  <a:lnTo>
                    <a:pt x="1902" y="877"/>
                  </a:lnTo>
                  <a:lnTo>
                    <a:pt x="1896" y="877"/>
                  </a:lnTo>
                  <a:lnTo>
                    <a:pt x="1892" y="877"/>
                  </a:lnTo>
                  <a:lnTo>
                    <a:pt x="1890" y="876"/>
                  </a:lnTo>
                  <a:lnTo>
                    <a:pt x="1889" y="875"/>
                  </a:lnTo>
                  <a:lnTo>
                    <a:pt x="1888" y="874"/>
                  </a:lnTo>
                  <a:lnTo>
                    <a:pt x="1888" y="872"/>
                  </a:lnTo>
                  <a:lnTo>
                    <a:pt x="1888" y="870"/>
                  </a:lnTo>
                  <a:lnTo>
                    <a:pt x="1888" y="869"/>
                  </a:lnTo>
                  <a:lnTo>
                    <a:pt x="1889" y="867"/>
                  </a:lnTo>
                  <a:lnTo>
                    <a:pt x="1892" y="863"/>
                  </a:lnTo>
                  <a:lnTo>
                    <a:pt x="1895" y="861"/>
                  </a:lnTo>
                  <a:lnTo>
                    <a:pt x="1896" y="859"/>
                  </a:lnTo>
                  <a:lnTo>
                    <a:pt x="1896" y="858"/>
                  </a:lnTo>
                  <a:lnTo>
                    <a:pt x="1896" y="855"/>
                  </a:lnTo>
                  <a:lnTo>
                    <a:pt x="1895" y="854"/>
                  </a:lnTo>
                  <a:lnTo>
                    <a:pt x="1892" y="852"/>
                  </a:lnTo>
                  <a:lnTo>
                    <a:pt x="1891" y="851"/>
                  </a:lnTo>
                  <a:lnTo>
                    <a:pt x="1883" y="845"/>
                  </a:lnTo>
                  <a:lnTo>
                    <a:pt x="1881" y="847"/>
                  </a:lnTo>
                  <a:lnTo>
                    <a:pt x="1878" y="847"/>
                  </a:lnTo>
                  <a:lnTo>
                    <a:pt x="1875" y="847"/>
                  </a:lnTo>
                  <a:lnTo>
                    <a:pt x="1872" y="846"/>
                  </a:lnTo>
                  <a:lnTo>
                    <a:pt x="1862" y="840"/>
                  </a:lnTo>
                  <a:lnTo>
                    <a:pt x="1836" y="827"/>
                  </a:lnTo>
                  <a:lnTo>
                    <a:pt x="1823" y="820"/>
                  </a:lnTo>
                  <a:lnTo>
                    <a:pt x="1812" y="816"/>
                  </a:lnTo>
                  <a:lnTo>
                    <a:pt x="1804" y="814"/>
                  </a:lnTo>
                  <a:lnTo>
                    <a:pt x="1795" y="813"/>
                  </a:lnTo>
                  <a:lnTo>
                    <a:pt x="1783" y="812"/>
                  </a:lnTo>
                  <a:lnTo>
                    <a:pt x="1763" y="811"/>
                  </a:lnTo>
                  <a:lnTo>
                    <a:pt x="1754" y="810"/>
                  </a:lnTo>
                  <a:lnTo>
                    <a:pt x="1751" y="810"/>
                  </a:lnTo>
                  <a:lnTo>
                    <a:pt x="1747" y="811"/>
                  </a:lnTo>
                  <a:lnTo>
                    <a:pt x="1745" y="812"/>
                  </a:lnTo>
                  <a:lnTo>
                    <a:pt x="1744" y="813"/>
                  </a:lnTo>
                  <a:lnTo>
                    <a:pt x="1743" y="818"/>
                  </a:lnTo>
                  <a:lnTo>
                    <a:pt x="1744" y="822"/>
                  </a:lnTo>
                  <a:lnTo>
                    <a:pt x="1745" y="830"/>
                  </a:lnTo>
                  <a:lnTo>
                    <a:pt x="1744" y="836"/>
                  </a:lnTo>
                  <a:lnTo>
                    <a:pt x="1744" y="839"/>
                  </a:lnTo>
                  <a:lnTo>
                    <a:pt x="1743" y="844"/>
                  </a:lnTo>
                  <a:lnTo>
                    <a:pt x="1742" y="846"/>
                  </a:lnTo>
                  <a:lnTo>
                    <a:pt x="1740" y="848"/>
                  </a:lnTo>
                  <a:lnTo>
                    <a:pt x="1737" y="850"/>
                  </a:lnTo>
                  <a:lnTo>
                    <a:pt x="1731" y="850"/>
                  </a:lnTo>
                  <a:lnTo>
                    <a:pt x="1729" y="850"/>
                  </a:lnTo>
                  <a:lnTo>
                    <a:pt x="1726" y="850"/>
                  </a:lnTo>
                  <a:lnTo>
                    <a:pt x="1723" y="847"/>
                  </a:lnTo>
                  <a:lnTo>
                    <a:pt x="1720" y="845"/>
                  </a:lnTo>
                  <a:lnTo>
                    <a:pt x="1712" y="832"/>
                  </a:lnTo>
                  <a:lnTo>
                    <a:pt x="1708" y="828"/>
                  </a:lnTo>
                  <a:lnTo>
                    <a:pt x="1706" y="823"/>
                  </a:lnTo>
                  <a:lnTo>
                    <a:pt x="1703" y="821"/>
                  </a:lnTo>
                  <a:lnTo>
                    <a:pt x="1699" y="819"/>
                  </a:lnTo>
                  <a:lnTo>
                    <a:pt x="1696" y="818"/>
                  </a:lnTo>
                  <a:lnTo>
                    <a:pt x="1691" y="816"/>
                  </a:lnTo>
                  <a:lnTo>
                    <a:pt x="1680" y="816"/>
                  </a:lnTo>
                  <a:lnTo>
                    <a:pt x="1662" y="816"/>
                  </a:lnTo>
                  <a:lnTo>
                    <a:pt x="1654" y="819"/>
                  </a:lnTo>
                  <a:lnTo>
                    <a:pt x="1648" y="819"/>
                  </a:lnTo>
                  <a:lnTo>
                    <a:pt x="1642" y="819"/>
                  </a:lnTo>
                  <a:lnTo>
                    <a:pt x="1639" y="818"/>
                  </a:lnTo>
                  <a:lnTo>
                    <a:pt x="1634" y="818"/>
                  </a:lnTo>
                  <a:lnTo>
                    <a:pt x="1632" y="815"/>
                  </a:lnTo>
                  <a:lnTo>
                    <a:pt x="1628" y="813"/>
                  </a:lnTo>
                  <a:lnTo>
                    <a:pt x="1626" y="812"/>
                  </a:lnTo>
                  <a:lnTo>
                    <a:pt x="1623" y="810"/>
                  </a:lnTo>
                  <a:lnTo>
                    <a:pt x="1617" y="808"/>
                  </a:lnTo>
                  <a:lnTo>
                    <a:pt x="1612" y="807"/>
                  </a:lnTo>
                  <a:lnTo>
                    <a:pt x="1608" y="807"/>
                  </a:lnTo>
                  <a:lnTo>
                    <a:pt x="1603" y="807"/>
                  </a:lnTo>
                  <a:lnTo>
                    <a:pt x="1598" y="805"/>
                  </a:lnTo>
                  <a:lnTo>
                    <a:pt x="1595" y="804"/>
                  </a:lnTo>
                  <a:lnTo>
                    <a:pt x="1592" y="802"/>
                  </a:lnTo>
                  <a:lnTo>
                    <a:pt x="1586" y="799"/>
                  </a:lnTo>
                  <a:lnTo>
                    <a:pt x="1584" y="799"/>
                  </a:lnTo>
                  <a:lnTo>
                    <a:pt x="1579" y="799"/>
                  </a:lnTo>
                  <a:lnTo>
                    <a:pt x="1576" y="799"/>
                  </a:lnTo>
                  <a:lnTo>
                    <a:pt x="1575" y="797"/>
                  </a:lnTo>
                  <a:lnTo>
                    <a:pt x="1575" y="796"/>
                  </a:lnTo>
                  <a:lnTo>
                    <a:pt x="1576" y="792"/>
                  </a:lnTo>
                  <a:lnTo>
                    <a:pt x="1576" y="790"/>
                  </a:lnTo>
                  <a:lnTo>
                    <a:pt x="1576" y="788"/>
                  </a:lnTo>
                  <a:lnTo>
                    <a:pt x="1574" y="781"/>
                  </a:lnTo>
                  <a:lnTo>
                    <a:pt x="1572" y="779"/>
                  </a:lnTo>
                  <a:lnTo>
                    <a:pt x="1570" y="774"/>
                  </a:lnTo>
                  <a:lnTo>
                    <a:pt x="1567" y="772"/>
                  </a:lnTo>
                  <a:lnTo>
                    <a:pt x="1566" y="768"/>
                  </a:lnTo>
                  <a:lnTo>
                    <a:pt x="1566" y="766"/>
                  </a:lnTo>
                  <a:lnTo>
                    <a:pt x="1564" y="764"/>
                  </a:lnTo>
                  <a:lnTo>
                    <a:pt x="1566" y="759"/>
                  </a:lnTo>
                  <a:lnTo>
                    <a:pt x="1566" y="757"/>
                  </a:lnTo>
                  <a:lnTo>
                    <a:pt x="1566" y="754"/>
                  </a:lnTo>
                  <a:lnTo>
                    <a:pt x="1564" y="751"/>
                  </a:lnTo>
                  <a:lnTo>
                    <a:pt x="1564" y="748"/>
                  </a:lnTo>
                  <a:lnTo>
                    <a:pt x="1562" y="746"/>
                  </a:lnTo>
                  <a:lnTo>
                    <a:pt x="1561" y="744"/>
                  </a:lnTo>
                  <a:lnTo>
                    <a:pt x="1559" y="743"/>
                  </a:lnTo>
                  <a:lnTo>
                    <a:pt x="1556" y="743"/>
                  </a:lnTo>
                  <a:lnTo>
                    <a:pt x="1553" y="743"/>
                  </a:lnTo>
                  <a:lnTo>
                    <a:pt x="1550" y="744"/>
                  </a:lnTo>
                  <a:lnTo>
                    <a:pt x="1537" y="748"/>
                  </a:lnTo>
                  <a:lnTo>
                    <a:pt x="1513" y="751"/>
                  </a:lnTo>
                  <a:lnTo>
                    <a:pt x="1498" y="754"/>
                  </a:lnTo>
                  <a:lnTo>
                    <a:pt x="1489" y="752"/>
                  </a:lnTo>
                  <a:lnTo>
                    <a:pt x="1484" y="751"/>
                  </a:lnTo>
                  <a:lnTo>
                    <a:pt x="1481" y="750"/>
                  </a:lnTo>
                  <a:lnTo>
                    <a:pt x="1478" y="748"/>
                  </a:lnTo>
                  <a:lnTo>
                    <a:pt x="1465" y="738"/>
                  </a:lnTo>
                  <a:lnTo>
                    <a:pt x="1447" y="724"/>
                  </a:lnTo>
                  <a:lnTo>
                    <a:pt x="1442" y="719"/>
                  </a:lnTo>
                  <a:lnTo>
                    <a:pt x="1439" y="718"/>
                  </a:lnTo>
                  <a:lnTo>
                    <a:pt x="1435" y="717"/>
                  </a:lnTo>
                  <a:lnTo>
                    <a:pt x="1431" y="715"/>
                  </a:lnTo>
                  <a:lnTo>
                    <a:pt x="1427" y="714"/>
                  </a:lnTo>
                  <a:lnTo>
                    <a:pt x="1420" y="711"/>
                  </a:lnTo>
                  <a:lnTo>
                    <a:pt x="1411" y="708"/>
                  </a:lnTo>
                  <a:lnTo>
                    <a:pt x="1404" y="704"/>
                  </a:lnTo>
                  <a:lnTo>
                    <a:pt x="1396" y="701"/>
                  </a:lnTo>
                  <a:lnTo>
                    <a:pt x="1388" y="698"/>
                  </a:lnTo>
                  <a:lnTo>
                    <a:pt x="1378" y="691"/>
                  </a:lnTo>
                  <a:lnTo>
                    <a:pt x="1371" y="687"/>
                  </a:lnTo>
                  <a:lnTo>
                    <a:pt x="1366" y="686"/>
                  </a:lnTo>
                  <a:lnTo>
                    <a:pt x="1362" y="685"/>
                  </a:lnTo>
                  <a:lnTo>
                    <a:pt x="1358" y="685"/>
                  </a:lnTo>
                  <a:lnTo>
                    <a:pt x="1354" y="685"/>
                  </a:lnTo>
                  <a:lnTo>
                    <a:pt x="1352" y="686"/>
                  </a:lnTo>
                  <a:lnTo>
                    <a:pt x="1348" y="688"/>
                  </a:lnTo>
                  <a:lnTo>
                    <a:pt x="1342" y="696"/>
                  </a:lnTo>
                  <a:lnTo>
                    <a:pt x="1338" y="702"/>
                  </a:lnTo>
                  <a:lnTo>
                    <a:pt x="1334" y="706"/>
                  </a:lnTo>
                  <a:lnTo>
                    <a:pt x="1330" y="706"/>
                  </a:lnTo>
                  <a:lnTo>
                    <a:pt x="1328" y="706"/>
                  </a:lnTo>
                  <a:lnTo>
                    <a:pt x="1326" y="703"/>
                  </a:lnTo>
                  <a:lnTo>
                    <a:pt x="1322" y="701"/>
                  </a:lnTo>
                  <a:lnTo>
                    <a:pt x="1316" y="699"/>
                  </a:lnTo>
                  <a:lnTo>
                    <a:pt x="1312" y="695"/>
                  </a:lnTo>
                  <a:lnTo>
                    <a:pt x="1310" y="693"/>
                  </a:lnTo>
                  <a:lnTo>
                    <a:pt x="1307" y="691"/>
                  </a:lnTo>
                  <a:lnTo>
                    <a:pt x="1305" y="688"/>
                  </a:lnTo>
                  <a:lnTo>
                    <a:pt x="1302" y="686"/>
                  </a:lnTo>
                  <a:lnTo>
                    <a:pt x="1298" y="684"/>
                  </a:lnTo>
                  <a:lnTo>
                    <a:pt x="1292" y="682"/>
                  </a:lnTo>
                  <a:lnTo>
                    <a:pt x="1284" y="678"/>
                  </a:lnTo>
                  <a:lnTo>
                    <a:pt x="1278" y="676"/>
                  </a:lnTo>
                  <a:lnTo>
                    <a:pt x="1270" y="672"/>
                  </a:lnTo>
                  <a:lnTo>
                    <a:pt x="1266" y="670"/>
                  </a:lnTo>
                  <a:lnTo>
                    <a:pt x="1265" y="669"/>
                  </a:lnTo>
                  <a:lnTo>
                    <a:pt x="1263" y="668"/>
                  </a:lnTo>
                  <a:lnTo>
                    <a:pt x="1262" y="666"/>
                  </a:lnTo>
                  <a:lnTo>
                    <a:pt x="1260" y="663"/>
                  </a:lnTo>
                  <a:lnTo>
                    <a:pt x="1259" y="662"/>
                  </a:lnTo>
                  <a:lnTo>
                    <a:pt x="1256" y="660"/>
                  </a:lnTo>
                  <a:lnTo>
                    <a:pt x="1252" y="658"/>
                  </a:lnTo>
                  <a:lnTo>
                    <a:pt x="1248" y="655"/>
                  </a:lnTo>
                  <a:lnTo>
                    <a:pt x="1244" y="654"/>
                  </a:lnTo>
                  <a:lnTo>
                    <a:pt x="1238" y="652"/>
                  </a:lnTo>
                  <a:lnTo>
                    <a:pt x="1233" y="650"/>
                  </a:lnTo>
                  <a:lnTo>
                    <a:pt x="1217" y="637"/>
                  </a:lnTo>
                  <a:lnTo>
                    <a:pt x="1204" y="631"/>
                  </a:lnTo>
                  <a:lnTo>
                    <a:pt x="1194" y="622"/>
                  </a:lnTo>
                  <a:lnTo>
                    <a:pt x="1191" y="622"/>
                  </a:lnTo>
                  <a:lnTo>
                    <a:pt x="1187" y="623"/>
                  </a:lnTo>
                  <a:lnTo>
                    <a:pt x="1186" y="626"/>
                  </a:lnTo>
                  <a:lnTo>
                    <a:pt x="1185" y="628"/>
                  </a:lnTo>
                  <a:lnTo>
                    <a:pt x="1184" y="628"/>
                  </a:lnTo>
                  <a:lnTo>
                    <a:pt x="1180" y="628"/>
                  </a:lnTo>
                  <a:lnTo>
                    <a:pt x="1178" y="627"/>
                  </a:lnTo>
                  <a:lnTo>
                    <a:pt x="1176" y="623"/>
                  </a:lnTo>
                  <a:lnTo>
                    <a:pt x="1171" y="620"/>
                  </a:lnTo>
                  <a:lnTo>
                    <a:pt x="1159" y="605"/>
                  </a:lnTo>
                  <a:lnTo>
                    <a:pt x="1154" y="596"/>
                  </a:lnTo>
                  <a:lnTo>
                    <a:pt x="1145" y="581"/>
                  </a:lnTo>
                  <a:lnTo>
                    <a:pt x="1143" y="575"/>
                  </a:lnTo>
                  <a:lnTo>
                    <a:pt x="1138" y="571"/>
                  </a:lnTo>
                  <a:lnTo>
                    <a:pt x="1134" y="567"/>
                  </a:lnTo>
                  <a:lnTo>
                    <a:pt x="1129" y="565"/>
                  </a:lnTo>
                  <a:lnTo>
                    <a:pt x="1122" y="563"/>
                  </a:lnTo>
                  <a:lnTo>
                    <a:pt x="1119" y="560"/>
                  </a:lnTo>
                  <a:lnTo>
                    <a:pt x="1111" y="558"/>
                  </a:lnTo>
                  <a:lnTo>
                    <a:pt x="1105" y="557"/>
                  </a:lnTo>
                  <a:lnTo>
                    <a:pt x="1095" y="554"/>
                  </a:lnTo>
                  <a:lnTo>
                    <a:pt x="1091" y="551"/>
                  </a:lnTo>
                  <a:lnTo>
                    <a:pt x="1089" y="548"/>
                  </a:lnTo>
                  <a:lnTo>
                    <a:pt x="1086" y="544"/>
                  </a:lnTo>
                  <a:lnTo>
                    <a:pt x="1079" y="544"/>
                  </a:lnTo>
                  <a:lnTo>
                    <a:pt x="1073" y="544"/>
                  </a:lnTo>
                  <a:lnTo>
                    <a:pt x="1068" y="543"/>
                  </a:lnTo>
                  <a:lnTo>
                    <a:pt x="1065" y="540"/>
                  </a:lnTo>
                  <a:lnTo>
                    <a:pt x="1063" y="536"/>
                  </a:lnTo>
                  <a:lnTo>
                    <a:pt x="1058" y="532"/>
                  </a:lnTo>
                  <a:lnTo>
                    <a:pt x="1052" y="530"/>
                  </a:lnTo>
                  <a:lnTo>
                    <a:pt x="1050" y="528"/>
                  </a:lnTo>
                  <a:lnTo>
                    <a:pt x="1046" y="527"/>
                  </a:lnTo>
                  <a:lnTo>
                    <a:pt x="1042" y="525"/>
                  </a:lnTo>
                  <a:lnTo>
                    <a:pt x="1039" y="523"/>
                  </a:lnTo>
                  <a:lnTo>
                    <a:pt x="1032" y="522"/>
                  </a:lnTo>
                  <a:lnTo>
                    <a:pt x="1024" y="519"/>
                  </a:lnTo>
                  <a:lnTo>
                    <a:pt x="1010" y="517"/>
                  </a:lnTo>
                  <a:lnTo>
                    <a:pt x="1002" y="516"/>
                  </a:lnTo>
                  <a:lnTo>
                    <a:pt x="994" y="511"/>
                  </a:lnTo>
                  <a:lnTo>
                    <a:pt x="990" y="508"/>
                  </a:lnTo>
                  <a:lnTo>
                    <a:pt x="986" y="506"/>
                  </a:lnTo>
                  <a:lnTo>
                    <a:pt x="982" y="502"/>
                  </a:lnTo>
                  <a:lnTo>
                    <a:pt x="977" y="500"/>
                  </a:lnTo>
                  <a:lnTo>
                    <a:pt x="975" y="498"/>
                  </a:lnTo>
                  <a:lnTo>
                    <a:pt x="972" y="493"/>
                  </a:lnTo>
                  <a:lnTo>
                    <a:pt x="972" y="490"/>
                  </a:lnTo>
                  <a:lnTo>
                    <a:pt x="968" y="485"/>
                  </a:lnTo>
                  <a:lnTo>
                    <a:pt x="962" y="483"/>
                  </a:lnTo>
                  <a:lnTo>
                    <a:pt x="958" y="482"/>
                  </a:lnTo>
                  <a:lnTo>
                    <a:pt x="953" y="480"/>
                  </a:lnTo>
                  <a:lnTo>
                    <a:pt x="950" y="480"/>
                  </a:lnTo>
                  <a:lnTo>
                    <a:pt x="946" y="483"/>
                  </a:lnTo>
                  <a:lnTo>
                    <a:pt x="944" y="487"/>
                  </a:lnTo>
                  <a:lnTo>
                    <a:pt x="944" y="492"/>
                  </a:lnTo>
                  <a:lnTo>
                    <a:pt x="946" y="496"/>
                  </a:lnTo>
                  <a:lnTo>
                    <a:pt x="950" y="501"/>
                  </a:lnTo>
                  <a:lnTo>
                    <a:pt x="953" y="507"/>
                  </a:lnTo>
                  <a:lnTo>
                    <a:pt x="953" y="511"/>
                  </a:lnTo>
                  <a:lnTo>
                    <a:pt x="950" y="515"/>
                  </a:lnTo>
                  <a:lnTo>
                    <a:pt x="946" y="516"/>
                  </a:lnTo>
                  <a:lnTo>
                    <a:pt x="940" y="515"/>
                  </a:lnTo>
                  <a:lnTo>
                    <a:pt x="935" y="510"/>
                  </a:lnTo>
                  <a:lnTo>
                    <a:pt x="930" y="507"/>
                  </a:lnTo>
                  <a:lnTo>
                    <a:pt x="924" y="503"/>
                  </a:lnTo>
                  <a:lnTo>
                    <a:pt x="920" y="501"/>
                  </a:lnTo>
                  <a:lnTo>
                    <a:pt x="912" y="495"/>
                  </a:lnTo>
                  <a:lnTo>
                    <a:pt x="905" y="488"/>
                  </a:lnTo>
                  <a:lnTo>
                    <a:pt x="891" y="478"/>
                  </a:lnTo>
                  <a:lnTo>
                    <a:pt x="876" y="468"/>
                  </a:lnTo>
                  <a:lnTo>
                    <a:pt x="865" y="459"/>
                  </a:lnTo>
                  <a:lnTo>
                    <a:pt x="852" y="454"/>
                  </a:lnTo>
                  <a:lnTo>
                    <a:pt x="838" y="447"/>
                  </a:lnTo>
                  <a:lnTo>
                    <a:pt x="831" y="442"/>
                  </a:lnTo>
                  <a:lnTo>
                    <a:pt x="826" y="439"/>
                  </a:lnTo>
                  <a:lnTo>
                    <a:pt x="827" y="442"/>
                  </a:lnTo>
                  <a:lnTo>
                    <a:pt x="830" y="443"/>
                  </a:lnTo>
                  <a:lnTo>
                    <a:pt x="830" y="444"/>
                  </a:lnTo>
                  <a:lnTo>
                    <a:pt x="830" y="445"/>
                  </a:lnTo>
                  <a:lnTo>
                    <a:pt x="830" y="446"/>
                  </a:lnTo>
                  <a:lnTo>
                    <a:pt x="830" y="448"/>
                  </a:lnTo>
                  <a:lnTo>
                    <a:pt x="828" y="450"/>
                  </a:lnTo>
                  <a:lnTo>
                    <a:pt x="827" y="451"/>
                  </a:lnTo>
                  <a:lnTo>
                    <a:pt x="826" y="453"/>
                  </a:lnTo>
                  <a:lnTo>
                    <a:pt x="825" y="454"/>
                  </a:lnTo>
                  <a:lnTo>
                    <a:pt x="824" y="455"/>
                  </a:lnTo>
                  <a:lnTo>
                    <a:pt x="823" y="458"/>
                  </a:lnTo>
                  <a:lnTo>
                    <a:pt x="823" y="459"/>
                  </a:lnTo>
                  <a:lnTo>
                    <a:pt x="822" y="460"/>
                  </a:lnTo>
                  <a:lnTo>
                    <a:pt x="818" y="462"/>
                  </a:lnTo>
                  <a:lnTo>
                    <a:pt x="816" y="463"/>
                  </a:lnTo>
                  <a:lnTo>
                    <a:pt x="814" y="464"/>
                  </a:lnTo>
                  <a:lnTo>
                    <a:pt x="812" y="464"/>
                  </a:lnTo>
                  <a:lnTo>
                    <a:pt x="810" y="466"/>
                  </a:lnTo>
                  <a:lnTo>
                    <a:pt x="808" y="466"/>
                  </a:lnTo>
                  <a:lnTo>
                    <a:pt x="806" y="466"/>
                  </a:lnTo>
                  <a:lnTo>
                    <a:pt x="804" y="467"/>
                  </a:lnTo>
                  <a:lnTo>
                    <a:pt x="803" y="467"/>
                  </a:lnTo>
                  <a:lnTo>
                    <a:pt x="802" y="468"/>
                  </a:lnTo>
                  <a:lnTo>
                    <a:pt x="801" y="469"/>
                  </a:lnTo>
                  <a:lnTo>
                    <a:pt x="799" y="469"/>
                  </a:lnTo>
                  <a:lnTo>
                    <a:pt x="798" y="468"/>
                  </a:lnTo>
                  <a:lnTo>
                    <a:pt x="796" y="468"/>
                  </a:lnTo>
                  <a:lnTo>
                    <a:pt x="796" y="467"/>
                  </a:lnTo>
                  <a:lnTo>
                    <a:pt x="795" y="466"/>
                  </a:lnTo>
                  <a:lnTo>
                    <a:pt x="794" y="462"/>
                  </a:lnTo>
                  <a:lnTo>
                    <a:pt x="794" y="461"/>
                  </a:lnTo>
                  <a:lnTo>
                    <a:pt x="793" y="460"/>
                  </a:lnTo>
                  <a:lnTo>
                    <a:pt x="792" y="459"/>
                  </a:lnTo>
                  <a:lnTo>
                    <a:pt x="791" y="458"/>
                  </a:lnTo>
                  <a:lnTo>
                    <a:pt x="791" y="456"/>
                  </a:lnTo>
                  <a:lnTo>
                    <a:pt x="791" y="455"/>
                  </a:lnTo>
                  <a:lnTo>
                    <a:pt x="792" y="454"/>
                  </a:lnTo>
                  <a:lnTo>
                    <a:pt x="793" y="454"/>
                  </a:lnTo>
                  <a:lnTo>
                    <a:pt x="794" y="453"/>
                  </a:lnTo>
                  <a:lnTo>
                    <a:pt x="795" y="452"/>
                  </a:lnTo>
                  <a:lnTo>
                    <a:pt x="795" y="451"/>
                  </a:lnTo>
                  <a:lnTo>
                    <a:pt x="795" y="448"/>
                  </a:lnTo>
                  <a:lnTo>
                    <a:pt x="794" y="448"/>
                  </a:lnTo>
                  <a:lnTo>
                    <a:pt x="793" y="448"/>
                  </a:lnTo>
                  <a:lnTo>
                    <a:pt x="792" y="448"/>
                  </a:lnTo>
                  <a:lnTo>
                    <a:pt x="790" y="448"/>
                  </a:lnTo>
                  <a:lnTo>
                    <a:pt x="788" y="448"/>
                  </a:lnTo>
                  <a:lnTo>
                    <a:pt x="787" y="450"/>
                  </a:lnTo>
                  <a:lnTo>
                    <a:pt x="786" y="450"/>
                  </a:lnTo>
                  <a:lnTo>
                    <a:pt x="784" y="451"/>
                  </a:lnTo>
                  <a:lnTo>
                    <a:pt x="783" y="451"/>
                  </a:lnTo>
                  <a:lnTo>
                    <a:pt x="780" y="451"/>
                  </a:lnTo>
                  <a:lnTo>
                    <a:pt x="779" y="451"/>
                  </a:lnTo>
                  <a:lnTo>
                    <a:pt x="777" y="451"/>
                  </a:lnTo>
                  <a:lnTo>
                    <a:pt x="776" y="451"/>
                  </a:lnTo>
                  <a:lnTo>
                    <a:pt x="776" y="448"/>
                  </a:lnTo>
                  <a:lnTo>
                    <a:pt x="776" y="447"/>
                  </a:lnTo>
                  <a:lnTo>
                    <a:pt x="777" y="446"/>
                  </a:lnTo>
                  <a:lnTo>
                    <a:pt x="778" y="445"/>
                  </a:lnTo>
                  <a:lnTo>
                    <a:pt x="780" y="445"/>
                  </a:lnTo>
                  <a:lnTo>
                    <a:pt x="782" y="445"/>
                  </a:lnTo>
                  <a:lnTo>
                    <a:pt x="784" y="445"/>
                  </a:lnTo>
                  <a:lnTo>
                    <a:pt x="785" y="445"/>
                  </a:lnTo>
                  <a:lnTo>
                    <a:pt x="786" y="444"/>
                  </a:lnTo>
                  <a:lnTo>
                    <a:pt x="786" y="443"/>
                  </a:lnTo>
                  <a:lnTo>
                    <a:pt x="786" y="442"/>
                  </a:lnTo>
                  <a:lnTo>
                    <a:pt x="785" y="440"/>
                  </a:lnTo>
                  <a:lnTo>
                    <a:pt x="784" y="440"/>
                  </a:lnTo>
                  <a:lnTo>
                    <a:pt x="782" y="439"/>
                  </a:lnTo>
                  <a:lnTo>
                    <a:pt x="780" y="439"/>
                  </a:lnTo>
                  <a:lnTo>
                    <a:pt x="779" y="440"/>
                  </a:lnTo>
                  <a:lnTo>
                    <a:pt x="778" y="440"/>
                  </a:lnTo>
                  <a:lnTo>
                    <a:pt x="777" y="440"/>
                  </a:lnTo>
                  <a:lnTo>
                    <a:pt x="776" y="439"/>
                  </a:lnTo>
                  <a:lnTo>
                    <a:pt x="775" y="438"/>
                  </a:lnTo>
                  <a:lnTo>
                    <a:pt x="772" y="438"/>
                  </a:lnTo>
                  <a:lnTo>
                    <a:pt x="771" y="438"/>
                  </a:lnTo>
                  <a:lnTo>
                    <a:pt x="770" y="438"/>
                  </a:lnTo>
                  <a:lnTo>
                    <a:pt x="768" y="442"/>
                  </a:lnTo>
                  <a:lnTo>
                    <a:pt x="768" y="443"/>
                  </a:lnTo>
                  <a:lnTo>
                    <a:pt x="768" y="444"/>
                  </a:lnTo>
                  <a:lnTo>
                    <a:pt x="768" y="445"/>
                  </a:lnTo>
                  <a:lnTo>
                    <a:pt x="766" y="447"/>
                  </a:lnTo>
                  <a:lnTo>
                    <a:pt x="764" y="447"/>
                  </a:lnTo>
                  <a:lnTo>
                    <a:pt x="763" y="447"/>
                  </a:lnTo>
                  <a:lnTo>
                    <a:pt x="761" y="446"/>
                  </a:lnTo>
                  <a:lnTo>
                    <a:pt x="760" y="445"/>
                  </a:lnTo>
                  <a:lnTo>
                    <a:pt x="760" y="444"/>
                  </a:lnTo>
                  <a:lnTo>
                    <a:pt x="760" y="443"/>
                  </a:lnTo>
                  <a:lnTo>
                    <a:pt x="761" y="442"/>
                  </a:lnTo>
                  <a:lnTo>
                    <a:pt x="762" y="440"/>
                  </a:lnTo>
                  <a:lnTo>
                    <a:pt x="763" y="439"/>
                  </a:lnTo>
                  <a:lnTo>
                    <a:pt x="763" y="438"/>
                  </a:lnTo>
                  <a:lnTo>
                    <a:pt x="763" y="437"/>
                  </a:lnTo>
                  <a:lnTo>
                    <a:pt x="763" y="436"/>
                  </a:lnTo>
                  <a:lnTo>
                    <a:pt x="763" y="435"/>
                  </a:lnTo>
                  <a:lnTo>
                    <a:pt x="763" y="434"/>
                  </a:lnTo>
                  <a:lnTo>
                    <a:pt x="764" y="434"/>
                  </a:lnTo>
                  <a:lnTo>
                    <a:pt x="766" y="432"/>
                  </a:lnTo>
                  <a:lnTo>
                    <a:pt x="767" y="431"/>
                  </a:lnTo>
                  <a:lnTo>
                    <a:pt x="767" y="429"/>
                  </a:lnTo>
                  <a:lnTo>
                    <a:pt x="766" y="428"/>
                  </a:lnTo>
                  <a:lnTo>
                    <a:pt x="764" y="427"/>
                  </a:lnTo>
                  <a:lnTo>
                    <a:pt x="764" y="426"/>
                  </a:lnTo>
                  <a:lnTo>
                    <a:pt x="762" y="424"/>
                  </a:lnTo>
                  <a:lnTo>
                    <a:pt x="760" y="423"/>
                  </a:lnTo>
                  <a:lnTo>
                    <a:pt x="758" y="423"/>
                  </a:lnTo>
                  <a:lnTo>
                    <a:pt x="756" y="423"/>
                  </a:lnTo>
                  <a:lnTo>
                    <a:pt x="754" y="424"/>
                  </a:lnTo>
                  <a:lnTo>
                    <a:pt x="753" y="424"/>
                  </a:lnTo>
                  <a:lnTo>
                    <a:pt x="752" y="426"/>
                  </a:lnTo>
                  <a:lnTo>
                    <a:pt x="751" y="426"/>
                  </a:lnTo>
                  <a:lnTo>
                    <a:pt x="750" y="426"/>
                  </a:lnTo>
                  <a:lnTo>
                    <a:pt x="748" y="424"/>
                  </a:lnTo>
                  <a:lnTo>
                    <a:pt x="746" y="424"/>
                  </a:lnTo>
                  <a:lnTo>
                    <a:pt x="745" y="426"/>
                  </a:lnTo>
                  <a:lnTo>
                    <a:pt x="745" y="427"/>
                  </a:lnTo>
                  <a:lnTo>
                    <a:pt x="744" y="428"/>
                  </a:lnTo>
                  <a:lnTo>
                    <a:pt x="742" y="428"/>
                  </a:lnTo>
                  <a:lnTo>
                    <a:pt x="740" y="427"/>
                  </a:lnTo>
                  <a:lnTo>
                    <a:pt x="740" y="426"/>
                  </a:lnTo>
                  <a:lnTo>
                    <a:pt x="742" y="423"/>
                  </a:lnTo>
                  <a:lnTo>
                    <a:pt x="740" y="422"/>
                  </a:lnTo>
                  <a:lnTo>
                    <a:pt x="740" y="421"/>
                  </a:lnTo>
                  <a:lnTo>
                    <a:pt x="738" y="420"/>
                  </a:lnTo>
                  <a:lnTo>
                    <a:pt x="737" y="420"/>
                  </a:lnTo>
                  <a:lnTo>
                    <a:pt x="735" y="420"/>
                  </a:lnTo>
                  <a:lnTo>
                    <a:pt x="735" y="421"/>
                  </a:lnTo>
                  <a:lnTo>
                    <a:pt x="734" y="422"/>
                  </a:lnTo>
                  <a:lnTo>
                    <a:pt x="734" y="424"/>
                  </a:lnTo>
                  <a:lnTo>
                    <a:pt x="736" y="426"/>
                  </a:lnTo>
                  <a:lnTo>
                    <a:pt x="737" y="427"/>
                  </a:lnTo>
                  <a:lnTo>
                    <a:pt x="738" y="427"/>
                  </a:lnTo>
                  <a:lnTo>
                    <a:pt x="738" y="428"/>
                  </a:lnTo>
                  <a:lnTo>
                    <a:pt x="738" y="429"/>
                  </a:lnTo>
                  <a:lnTo>
                    <a:pt x="737" y="430"/>
                  </a:lnTo>
                  <a:lnTo>
                    <a:pt x="736" y="430"/>
                  </a:lnTo>
                  <a:lnTo>
                    <a:pt x="735" y="430"/>
                  </a:lnTo>
                  <a:lnTo>
                    <a:pt x="734" y="430"/>
                  </a:lnTo>
                  <a:lnTo>
                    <a:pt x="732" y="431"/>
                  </a:lnTo>
                  <a:lnTo>
                    <a:pt x="731" y="432"/>
                  </a:lnTo>
                  <a:lnTo>
                    <a:pt x="731" y="434"/>
                  </a:lnTo>
                  <a:lnTo>
                    <a:pt x="730" y="435"/>
                  </a:lnTo>
                  <a:lnTo>
                    <a:pt x="729" y="435"/>
                  </a:lnTo>
                  <a:lnTo>
                    <a:pt x="728" y="435"/>
                  </a:lnTo>
                  <a:lnTo>
                    <a:pt x="727" y="435"/>
                  </a:lnTo>
                  <a:lnTo>
                    <a:pt x="726" y="434"/>
                  </a:lnTo>
                  <a:lnTo>
                    <a:pt x="723" y="432"/>
                  </a:lnTo>
                  <a:lnTo>
                    <a:pt x="722" y="431"/>
                  </a:lnTo>
                  <a:lnTo>
                    <a:pt x="721" y="430"/>
                  </a:lnTo>
                  <a:lnTo>
                    <a:pt x="719" y="429"/>
                  </a:lnTo>
                  <a:lnTo>
                    <a:pt x="718" y="429"/>
                  </a:lnTo>
                  <a:lnTo>
                    <a:pt x="714" y="428"/>
                  </a:lnTo>
                  <a:lnTo>
                    <a:pt x="713" y="428"/>
                  </a:lnTo>
                  <a:lnTo>
                    <a:pt x="712" y="428"/>
                  </a:lnTo>
                  <a:lnTo>
                    <a:pt x="710" y="429"/>
                  </a:lnTo>
                  <a:lnTo>
                    <a:pt x="707" y="430"/>
                  </a:lnTo>
                  <a:lnTo>
                    <a:pt x="706" y="430"/>
                  </a:lnTo>
                  <a:lnTo>
                    <a:pt x="705" y="431"/>
                  </a:lnTo>
                  <a:lnTo>
                    <a:pt x="703" y="432"/>
                  </a:lnTo>
                  <a:lnTo>
                    <a:pt x="700" y="435"/>
                  </a:lnTo>
                  <a:lnTo>
                    <a:pt x="699" y="435"/>
                  </a:lnTo>
                  <a:lnTo>
                    <a:pt x="697" y="436"/>
                  </a:lnTo>
                  <a:lnTo>
                    <a:pt x="695" y="435"/>
                  </a:lnTo>
                  <a:lnTo>
                    <a:pt x="694" y="434"/>
                  </a:lnTo>
                  <a:lnTo>
                    <a:pt x="691" y="432"/>
                  </a:lnTo>
                  <a:lnTo>
                    <a:pt x="691" y="430"/>
                  </a:lnTo>
                  <a:lnTo>
                    <a:pt x="691" y="429"/>
                  </a:lnTo>
                  <a:lnTo>
                    <a:pt x="691" y="426"/>
                  </a:lnTo>
                  <a:lnTo>
                    <a:pt x="691" y="424"/>
                  </a:lnTo>
                  <a:lnTo>
                    <a:pt x="690" y="423"/>
                  </a:lnTo>
                  <a:lnTo>
                    <a:pt x="689" y="422"/>
                  </a:lnTo>
                  <a:lnTo>
                    <a:pt x="688" y="423"/>
                  </a:lnTo>
                  <a:lnTo>
                    <a:pt x="687" y="423"/>
                  </a:lnTo>
                  <a:lnTo>
                    <a:pt x="686" y="423"/>
                  </a:lnTo>
                  <a:lnTo>
                    <a:pt x="683" y="426"/>
                  </a:lnTo>
                  <a:lnTo>
                    <a:pt x="682" y="427"/>
                  </a:lnTo>
                  <a:lnTo>
                    <a:pt x="681" y="428"/>
                  </a:lnTo>
                  <a:lnTo>
                    <a:pt x="680" y="429"/>
                  </a:lnTo>
                  <a:lnTo>
                    <a:pt x="679" y="429"/>
                  </a:lnTo>
                  <a:lnTo>
                    <a:pt x="676" y="428"/>
                  </a:lnTo>
                  <a:lnTo>
                    <a:pt x="675" y="428"/>
                  </a:lnTo>
                  <a:lnTo>
                    <a:pt x="674" y="428"/>
                  </a:lnTo>
                  <a:lnTo>
                    <a:pt x="673" y="428"/>
                  </a:lnTo>
                  <a:lnTo>
                    <a:pt x="671" y="428"/>
                  </a:lnTo>
                  <a:lnTo>
                    <a:pt x="670" y="428"/>
                  </a:lnTo>
                  <a:lnTo>
                    <a:pt x="668" y="428"/>
                  </a:lnTo>
                  <a:lnTo>
                    <a:pt x="667" y="427"/>
                  </a:lnTo>
                  <a:lnTo>
                    <a:pt x="666" y="427"/>
                  </a:lnTo>
                  <a:lnTo>
                    <a:pt x="665" y="427"/>
                  </a:lnTo>
                  <a:lnTo>
                    <a:pt x="664" y="428"/>
                  </a:lnTo>
                  <a:lnTo>
                    <a:pt x="663" y="428"/>
                  </a:lnTo>
                  <a:lnTo>
                    <a:pt x="662" y="429"/>
                  </a:lnTo>
                  <a:lnTo>
                    <a:pt x="660" y="430"/>
                  </a:lnTo>
                  <a:lnTo>
                    <a:pt x="659" y="430"/>
                  </a:lnTo>
                  <a:lnTo>
                    <a:pt x="658" y="430"/>
                  </a:lnTo>
                  <a:lnTo>
                    <a:pt x="657" y="430"/>
                  </a:lnTo>
                  <a:lnTo>
                    <a:pt x="656" y="430"/>
                  </a:lnTo>
                  <a:lnTo>
                    <a:pt x="655" y="429"/>
                  </a:lnTo>
                  <a:lnTo>
                    <a:pt x="654" y="427"/>
                  </a:lnTo>
                  <a:lnTo>
                    <a:pt x="654" y="426"/>
                  </a:lnTo>
                  <a:lnTo>
                    <a:pt x="654" y="423"/>
                  </a:lnTo>
                  <a:lnTo>
                    <a:pt x="652" y="421"/>
                  </a:lnTo>
                  <a:lnTo>
                    <a:pt x="652" y="419"/>
                  </a:lnTo>
                  <a:lnTo>
                    <a:pt x="652" y="418"/>
                  </a:lnTo>
                  <a:lnTo>
                    <a:pt x="654" y="415"/>
                  </a:lnTo>
                  <a:lnTo>
                    <a:pt x="652" y="413"/>
                  </a:lnTo>
                  <a:lnTo>
                    <a:pt x="651" y="412"/>
                  </a:lnTo>
                  <a:lnTo>
                    <a:pt x="651" y="411"/>
                  </a:lnTo>
                  <a:lnTo>
                    <a:pt x="649" y="407"/>
                  </a:lnTo>
                  <a:lnTo>
                    <a:pt x="648" y="405"/>
                  </a:lnTo>
                  <a:lnTo>
                    <a:pt x="647" y="404"/>
                  </a:lnTo>
                  <a:lnTo>
                    <a:pt x="646" y="403"/>
                  </a:lnTo>
                  <a:lnTo>
                    <a:pt x="644" y="400"/>
                  </a:lnTo>
                  <a:lnTo>
                    <a:pt x="643" y="400"/>
                  </a:lnTo>
                  <a:lnTo>
                    <a:pt x="642" y="399"/>
                  </a:lnTo>
                  <a:lnTo>
                    <a:pt x="641" y="398"/>
                  </a:lnTo>
                  <a:lnTo>
                    <a:pt x="640" y="398"/>
                  </a:lnTo>
                  <a:lnTo>
                    <a:pt x="638" y="398"/>
                  </a:lnTo>
                  <a:lnTo>
                    <a:pt x="636" y="399"/>
                  </a:lnTo>
                  <a:lnTo>
                    <a:pt x="634" y="400"/>
                  </a:lnTo>
                  <a:lnTo>
                    <a:pt x="633" y="400"/>
                  </a:lnTo>
                  <a:lnTo>
                    <a:pt x="632" y="400"/>
                  </a:lnTo>
                  <a:lnTo>
                    <a:pt x="631" y="402"/>
                  </a:lnTo>
                  <a:lnTo>
                    <a:pt x="628" y="402"/>
                  </a:lnTo>
                  <a:lnTo>
                    <a:pt x="626" y="402"/>
                  </a:lnTo>
                  <a:lnTo>
                    <a:pt x="624" y="402"/>
                  </a:lnTo>
                  <a:lnTo>
                    <a:pt x="623" y="403"/>
                  </a:lnTo>
                  <a:lnTo>
                    <a:pt x="619" y="402"/>
                  </a:lnTo>
                  <a:lnTo>
                    <a:pt x="617" y="400"/>
                  </a:lnTo>
                  <a:lnTo>
                    <a:pt x="616" y="399"/>
                  </a:lnTo>
                  <a:lnTo>
                    <a:pt x="614" y="398"/>
                  </a:lnTo>
                  <a:lnTo>
                    <a:pt x="610" y="396"/>
                  </a:lnTo>
                  <a:lnTo>
                    <a:pt x="609" y="395"/>
                  </a:lnTo>
                  <a:lnTo>
                    <a:pt x="607" y="394"/>
                  </a:lnTo>
                  <a:lnTo>
                    <a:pt x="604" y="391"/>
                  </a:lnTo>
                  <a:lnTo>
                    <a:pt x="603" y="390"/>
                  </a:lnTo>
                  <a:lnTo>
                    <a:pt x="601" y="388"/>
                  </a:lnTo>
                  <a:lnTo>
                    <a:pt x="599" y="387"/>
                  </a:lnTo>
                  <a:lnTo>
                    <a:pt x="596" y="384"/>
                  </a:lnTo>
                  <a:lnTo>
                    <a:pt x="594" y="383"/>
                  </a:lnTo>
                  <a:lnTo>
                    <a:pt x="592" y="382"/>
                  </a:lnTo>
                  <a:lnTo>
                    <a:pt x="590" y="381"/>
                  </a:lnTo>
                  <a:lnTo>
                    <a:pt x="588" y="381"/>
                  </a:lnTo>
                  <a:lnTo>
                    <a:pt x="586" y="380"/>
                  </a:lnTo>
                  <a:lnTo>
                    <a:pt x="585" y="379"/>
                  </a:lnTo>
                  <a:lnTo>
                    <a:pt x="582" y="376"/>
                  </a:lnTo>
                  <a:lnTo>
                    <a:pt x="580" y="376"/>
                  </a:lnTo>
                  <a:lnTo>
                    <a:pt x="578" y="374"/>
                  </a:lnTo>
                  <a:lnTo>
                    <a:pt x="577" y="373"/>
                  </a:lnTo>
                  <a:lnTo>
                    <a:pt x="576" y="372"/>
                  </a:lnTo>
                  <a:lnTo>
                    <a:pt x="576" y="371"/>
                  </a:lnTo>
                  <a:lnTo>
                    <a:pt x="576" y="368"/>
                  </a:lnTo>
                  <a:lnTo>
                    <a:pt x="576" y="367"/>
                  </a:lnTo>
                  <a:lnTo>
                    <a:pt x="577" y="366"/>
                  </a:lnTo>
                  <a:lnTo>
                    <a:pt x="578" y="365"/>
                  </a:lnTo>
                  <a:lnTo>
                    <a:pt x="578" y="364"/>
                  </a:lnTo>
                  <a:lnTo>
                    <a:pt x="579" y="363"/>
                  </a:lnTo>
                  <a:lnTo>
                    <a:pt x="579" y="362"/>
                  </a:lnTo>
                  <a:lnTo>
                    <a:pt x="579" y="359"/>
                  </a:lnTo>
                  <a:lnTo>
                    <a:pt x="579" y="358"/>
                  </a:lnTo>
                  <a:lnTo>
                    <a:pt x="578" y="358"/>
                  </a:lnTo>
                  <a:lnTo>
                    <a:pt x="576" y="357"/>
                  </a:lnTo>
                  <a:lnTo>
                    <a:pt x="574" y="357"/>
                  </a:lnTo>
                  <a:lnTo>
                    <a:pt x="570" y="356"/>
                  </a:lnTo>
                  <a:lnTo>
                    <a:pt x="569" y="355"/>
                  </a:lnTo>
                  <a:lnTo>
                    <a:pt x="568" y="355"/>
                  </a:lnTo>
                  <a:lnTo>
                    <a:pt x="566" y="355"/>
                  </a:lnTo>
                  <a:lnTo>
                    <a:pt x="564" y="355"/>
                  </a:lnTo>
                  <a:lnTo>
                    <a:pt x="562" y="355"/>
                  </a:lnTo>
                  <a:lnTo>
                    <a:pt x="560" y="354"/>
                  </a:lnTo>
                  <a:lnTo>
                    <a:pt x="558" y="351"/>
                  </a:lnTo>
                  <a:lnTo>
                    <a:pt x="555" y="350"/>
                  </a:lnTo>
                  <a:lnTo>
                    <a:pt x="553" y="348"/>
                  </a:lnTo>
                  <a:lnTo>
                    <a:pt x="552" y="347"/>
                  </a:lnTo>
                  <a:lnTo>
                    <a:pt x="551" y="347"/>
                  </a:lnTo>
                  <a:lnTo>
                    <a:pt x="550" y="347"/>
                  </a:lnTo>
                  <a:lnTo>
                    <a:pt x="547" y="347"/>
                  </a:lnTo>
                  <a:lnTo>
                    <a:pt x="546" y="349"/>
                  </a:lnTo>
                  <a:lnTo>
                    <a:pt x="544" y="352"/>
                  </a:lnTo>
                  <a:lnTo>
                    <a:pt x="543" y="354"/>
                  </a:lnTo>
                  <a:lnTo>
                    <a:pt x="543" y="355"/>
                  </a:lnTo>
                  <a:lnTo>
                    <a:pt x="542" y="355"/>
                  </a:lnTo>
                  <a:lnTo>
                    <a:pt x="540" y="356"/>
                  </a:lnTo>
                  <a:lnTo>
                    <a:pt x="539" y="356"/>
                  </a:lnTo>
                  <a:lnTo>
                    <a:pt x="538" y="356"/>
                  </a:lnTo>
                  <a:lnTo>
                    <a:pt x="537" y="356"/>
                  </a:lnTo>
                  <a:lnTo>
                    <a:pt x="535" y="356"/>
                  </a:lnTo>
                  <a:lnTo>
                    <a:pt x="534" y="356"/>
                  </a:lnTo>
                  <a:lnTo>
                    <a:pt x="532" y="356"/>
                  </a:lnTo>
                  <a:lnTo>
                    <a:pt x="531" y="357"/>
                  </a:lnTo>
                  <a:lnTo>
                    <a:pt x="530" y="357"/>
                  </a:lnTo>
                  <a:lnTo>
                    <a:pt x="529" y="358"/>
                  </a:lnTo>
                  <a:lnTo>
                    <a:pt x="528" y="358"/>
                  </a:lnTo>
                  <a:lnTo>
                    <a:pt x="527" y="358"/>
                  </a:lnTo>
                  <a:lnTo>
                    <a:pt x="524" y="358"/>
                  </a:lnTo>
                  <a:lnTo>
                    <a:pt x="523" y="358"/>
                  </a:lnTo>
                  <a:lnTo>
                    <a:pt x="521" y="358"/>
                  </a:lnTo>
                  <a:lnTo>
                    <a:pt x="520" y="358"/>
                  </a:lnTo>
                  <a:lnTo>
                    <a:pt x="518" y="358"/>
                  </a:lnTo>
                  <a:lnTo>
                    <a:pt x="516" y="358"/>
                  </a:lnTo>
                  <a:lnTo>
                    <a:pt x="515" y="358"/>
                  </a:lnTo>
                  <a:lnTo>
                    <a:pt x="514" y="357"/>
                  </a:lnTo>
                  <a:lnTo>
                    <a:pt x="513" y="357"/>
                  </a:lnTo>
                  <a:lnTo>
                    <a:pt x="512" y="356"/>
                  </a:lnTo>
                  <a:lnTo>
                    <a:pt x="512" y="355"/>
                  </a:lnTo>
                  <a:lnTo>
                    <a:pt x="511" y="354"/>
                  </a:lnTo>
                  <a:lnTo>
                    <a:pt x="511" y="352"/>
                  </a:lnTo>
                  <a:lnTo>
                    <a:pt x="511" y="350"/>
                  </a:lnTo>
                  <a:lnTo>
                    <a:pt x="511" y="348"/>
                  </a:lnTo>
                  <a:lnTo>
                    <a:pt x="510" y="347"/>
                  </a:lnTo>
                  <a:lnTo>
                    <a:pt x="508" y="346"/>
                  </a:lnTo>
                  <a:lnTo>
                    <a:pt x="508" y="343"/>
                  </a:lnTo>
                  <a:lnTo>
                    <a:pt x="507" y="341"/>
                  </a:lnTo>
                  <a:lnTo>
                    <a:pt x="507" y="340"/>
                  </a:lnTo>
                  <a:lnTo>
                    <a:pt x="507" y="338"/>
                  </a:lnTo>
                  <a:lnTo>
                    <a:pt x="505" y="336"/>
                  </a:lnTo>
                  <a:lnTo>
                    <a:pt x="505" y="334"/>
                  </a:lnTo>
                  <a:lnTo>
                    <a:pt x="504" y="333"/>
                  </a:lnTo>
                  <a:lnTo>
                    <a:pt x="503" y="332"/>
                  </a:lnTo>
                  <a:lnTo>
                    <a:pt x="502" y="332"/>
                  </a:lnTo>
                  <a:lnTo>
                    <a:pt x="500" y="331"/>
                  </a:lnTo>
                  <a:lnTo>
                    <a:pt x="500" y="328"/>
                  </a:lnTo>
                  <a:lnTo>
                    <a:pt x="500" y="327"/>
                  </a:lnTo>
                  <a:lnTo>
                    <a:pt x="499" y="326"/>
                  </a:lnTo>
                  <a:lnTo>
                    <a:pt x="499" y="325"/>
                  </a:lnTo>
                  <a:lnTo>
                    <a:pt x="498" y="324"/>
                  </a:lnTo>
                  <a:lnTo>
                    <a:pt x="497" y="323"/>
                  </a:lnTo>
                  <a:lnTo>
                    <a:pt x="496" y="324"/>
                  </a:lnTo>
                  <a:lnTo>
                    <a:pt x="495" y="324"/>
                  </a:lnTo>
                  <a:lnTo>
                    <a:pt x="494" y="325"/>
                  </a:lnTo>
                  <a:lnTo>
                    <a:pt x="492" y="325"/>
                  </a:lnTo>
                  <a:lnTo>
                    <a:pt x="491" y="326"/>
                  </a:lnTo>
                  <a:lnTo>
                    <a:pt x="488" y="326"/>
                  </a:lnTo>
                  <a:lnTo>
                    <a:pt x="486" y="326"/>
                  </a:lnTo>
                  <a:lnTo>
                    <a:pt x="484" y="326"/>
                  </a:lnTo>
                  <a:lnTo>
                    <a:pt x="482" y="325"/>
                  </a:lnTo>
                  <a:lnTo>
                    <a:pt x="481" y="325"/>
                  </a:lnTo>
                  <a:lnTo>
                    <a:pt x="480" y="325"/>
                  </a:lnTo>
                  <a:lnTo>
                    <a:pt x="480" y="324"/>
                  </a:lnTo>
                  <a:lnTo>
                    <a:pt x="479" y="324"/>
                  </a:lnTo>
                  <a:lnTo>
                    <a:pt x="479" y="323"/>
                  </a:lnTo>
                  <a:lnTo>
                    <a:pt x="478" y="322"/>
                  </a:lnTo>
                  <a:lnTo>
                    <a:pt x="474" y="319"/>
                  </a:lnTo>
                  <a:lnTo>
                    <a:pt x="473" y="318"/>
                  </a:lnTo>
                  <a:lnTo>
                    <a:pt x="472" y="317"/>
                  </a:lnTo>
                  <a:lnTo>
                    <a:pt x="471" y="316"/>
                  </a:lnTo>
                  <a:lnTo>
                    <a:pt x="470" y="315"/>
                  </a:lnTo>
                  <a:lnTo>
                    <a:pt x="467" y="314"/>
                  </a:lnTo>
                  <a:lnTo>
                    <a:pt x="466" y="312"/>
                  </a:lnTo>
                  <a:lnTo>
                    <a:pt x="464" y="311"/>
                  </a:lnTo>
                  <a:lnTo>
                    <a:pt x="462" y="311"/>
                  </a:lnTo>
                  <a:lnTo>
                    <a:pt x="460" y="311"/>
                  </a:lnTo>
                  <a:lnTo>
                    <a:pt x="459" y="311"/>
                  </a:lnTo>
                  <a:lnTo>
                    <a:pt x="460" y="310"/>
                  </a:lnTo>
                  <a:lnTo>
                    <a:pt x="460" y="309"/>
                  </a:lnTo>
                  <a:lnTo>
                    <a:pt x="460" y="308"/>
                  </a:lnTo>
                  <a:lnTo>
                    <a:pt x="462" y="307"/>
                  </a:lnTo>
                  <a:lnTo>
                    <a:pt x="462" y="306"/>
                  </a:lnTo>
                  <a:lnTo>
                    <a:pt x="462" y="304"/>
                  </a:lnTo>
                  <a:lnTo>
                    <a:pt x="463" y="303"/>
                  </a:lnTo>
                  <a:lnTo>
                    <a:pt x="463" y="302"/>
                  </a:lnTo>
                  <a:lnTo>
                    <a:pt x="465" y="302"/>
                  </a:lnTo>
                  <a:lnTo>
                    <a:pt x="466" y="301"/>
                  </a:lnTo>
                  <a:lnTo>
                    <a:pt x="467" y="301"/>
                  </a:lnTo>
                  <a:lnTo>
                    <a:pt x="468" y="300"/>
                  </a:lnTo>
                  <a:lnTo>
                    <a:pt x="470" y="300"/>
                  </a:lnTo>
                  <a:lnTo>
                    <a:pt x="471" y="299"/>
                  </a:lnTo>
                  <a:lnTo>
                    <a:pt x="471" y="298"/>
                  </a:lnTo>
                  <a:lnTo>
                    <a:pt x="472" y="296"/>
                  </a:lnTo>
                  <a:lnTo>
                    <a:pt x="473" y="296"/>
                  </a:lnTo>
                  <a:lnTo>
                    <a:pt x="474" y="298"/>
                  </a:lnTo>
                  <a:lnTo>
                    <a:pt x="474" y="300"/>
                  </a:lnTo>
                  <a:lnTo>
                    <a:pt x="474" y="301"/>
                  </a:lnTo>
                  <a:lnTo>
                    <a:pt x="476" y="302"/>
                  </a:lnTo>
                  <a:lnTo>
                    <a:pt x="476" y="303"/>
                  </a:lnTo>
                  <a:lnTo>
                    <a:pt x="478" y="304"/>
                  </a:lnTo>
                  <a:lnTo>
                    <a:pt x="478" y="306"/>
                  </a:lnTo>
                  <a:lnTo>
                    <a:pt x="480" y="307"/>
                  </a:lnTo>
                  <a:lnTo>
                    <a:pt x="481" y="307"/>
                  </a:lnTo>
                  <a:lnTo>
                    <a:pt x="482" y="307"/>
                  </a:lnTo>
                  <a:lnTo>
                    <a:pt x="483" y="307"/>
                  </a:lnTo>
                  <a:lnTo>
                    <a:pt x="483" y="304"/>
                  </a:lnTo>
                  <a:lnTo>
                    <a:pt x="483" y="303"/>
                  </a:lnTo>
                  <a:lnTo>
                    <a:pt x="483" y="302"/>
                  </a:lnTo>
                  <a:lnTo>
                    <a:pt x="481" y="301"/>
                  </a:lnTo>
                  <a:lnTo>
                    <a:pt x="481" y="299"/>
                  </a:lnTo>
                  <a:lnTo>
                    <a:pt x="482" y="296"/>
                  </a:lnTo>
                  <a:lnTo>
                    <a:pt x="483" y="295"/>
                  </a:lnTo>
                  <a:lnTo>
                    <a:pt x="486" y="293"/>
                  </a:lnTo>
                  <a:lnTo>
                    <a:pt x="487" y="292"/>
                  </a:lnTo>
                  <a:lnTo>
                    <a:pt x="489" y="292"/>
                  </a:lnTo>
                  <a:lnTo>
                    <a:pt x="490" y="292"/>
                  </a:lnTo>
                  <a:lnTo>
                    <a:pt x="491" y="293"/>
                  </a:lnTo>
                  <a:lnTo>
                    <a:pt x="492" y="294"/>
                  </a:lnTo>
                  <a:lnTo>
                    <a:pt x="494" y="294"/>
                  </a:lnTo>
                  <a:lnTo>
                    <a:pt x="495" y="294"/>
                  </a:lnTo>
                  <a:lnTo>
                    <a:pt x="495" y="293"/>
                  </a:lnTo>
                  <a:lnTo>
                    <a:pt x="496" y="292"/>
                  </a:lnTo>
                  <a:lnTo>
                    <a:pt x="498" y="292"/>
                  </a:lnTo>
                  <a:lnTo>
                    <a:pt x="500" y="291"/>
                  </a:lnTo>
                  <a:lnTo>
                    <a:pt x="503" y="291"/>
                  </a:lnTo>
                  <a:lnTo>
                    <a:pt x="504" y="290"/>
                  </a:lnTo>
                  <a:lnTo>
                    <a:pt x="505" y="287"/>
                  </a:lnTo>
                  <a:lnTo>
                    <a:pt x="506" y="285"/>
                  </a:lnTo>
                  <a:lnTo>
                    <a:pt x="507" y="282"/>
                  </a:lnTo>
                  <a:lnTo>
                    <a:pt x="510" y="280"/>
                  </a:lnTo>
                  <a:lnTo>
                    <a:pt x="512" y="280"/>
                  </a:lnTo>
                  <a:lnTo>
                    <a:pt x="512" y="279"/>
                  </a:lnTo>
                  <a:lnTo>
                    <a:pt x="513" y="277"/>
                  </a:lnTo>
                  <a:lnTo>
                    <a:pt x="515" y="276"/>
                  </a:lnTo>
                  <a:lnTo>
                    <a:pt x="518" y="276"/>
                  </a:lnTo>
                  <a:lnTo>
                    <a:pt x="519" y="274"/>
                  </a:lnTo>
                  <a:lnTo>
                    <a:pt x="519" y="271"/>
                  </a:lnTo>
                  <a:lnTo>
                    <a:pt x="519" y="270"/>
                  </a:lnTo>
                  <a:lnTo>
                    <a:pt x="515" y="269"/>
                  </a:lnTo>
                  <a:lnTo>
                    <a:pt x="513" y="268"/>
                  </a:lnTo>
                  <a:lnTo>
                    <a:pt x="511" y="268"/>
                  </a:lnTo>
                  <a:lnTo>
                    <a:pt x="507" y="268"/>
                  </a:lnTo>
                  <a:lnTo>
                    <a:pt x="505" y="268"/>
                  </a:lnTo>
                  <a:lnTo>
                    <a:pt x="504" y="267"/>
                  </a:lnTo>
                  <a:lnTo>
                    <a:pt x="500" y="267"/>
                  </a:lnTo>
                  <a:lnTo>
                    <a:pt x="498" y="266"/>
                  </a:lnTo>
                  <a:lnTo>
                    <a:pt x="495" y="264"/>
                  </a:lnTo>
                  <a:lnTo>
                    <a:pt x="492" y="263"/>
                  </a:lnTo>
                  <a:lnTo>
                    <a:pt x="491" y="263"/>
                  </a:lnTo>
                  <a:lnTo>
                    <a:pt x="489" y="263"/>
                  </a:lnTo>
                  <a:lnTo>
                    <a:pt x="486" y="263"/>
                  </a:lnTo>
                  <a:lnTo>
                    <a:pt x="483" y="262"/>
                  </a:lnTo>
                  <a:lnTo>
                    <a:pt x="481" y="261"/>
                  </a:lnTo>
                  <a:lnTo>
                    <a:pt x="479" y="259"/>
                  </a:lnTo>
                  <a:lnTo>
                    <a:pt x="476" y="256"/>
                  </a:lnTo>
                  <a:lnTo>
                    <a:pt x="473" y="255"/>
                  </a:lnTo>
                  <a:lnTo>
                    <a:pt x="472" y="254"/>
                  </a:lnTo>
                  <a:lnTo>
                    <a:pt x="470" y="253"/>
                  </a:lnTo>
                  <a:lnTo>
                    <a:pt x="467" y="252"/>
                  </a:lnTo>
                  <a:lnTo>
                    <a:pt x="466" y="252"/>
                  </a:lnTo>
                  <a:lnTo>
                    <a:pt x="460" y="250"/>
                  </a:lnTo>
                  <a:lnTo>
                    <a:pt x="458" y="250"/>
                  </a:lnTo>
                  <a:lnTo>
                    <a:pt x="455" y="248"/>
                  </a:lnTo>
                  <a:lnTo>
                    <a:pt x="451" y="248"/>
                  </a:lnTo>
                  <a:lnTo>
                    <a:pt x="449" y="247"/>
                  </a:lnTo>
                  <a:lnTo>
                    <a:pt x="447" y="247"/>
                  </a:lnTo>
                  <a:lnTo>
                    <a:pt x="443" y="245"/>
                  </a:lnTo>
                  <a:lnTo>
                    <a:pt x="441" y="243"/>
                  </a:lnTo>
                  <a:lnTo>
                    <a:pt x="438" y="240"/>
                  </a:lnTo>
                  <a:lnTo>
                    <a:pt x="432" y="237"/>
                  </a:lnTo>
                  <a:lnTo>
                    <a:pt x="428" y="235"/>
                  </a:lnTo>
                  <a:lnTo>
                    <a:pt x="426" y="232"/>
                  </a:lnTo>
                  <a:lnTo>
                    <a:pt x="422" y="230"/>
                  </a:lnTo>
                  <a:lnTo>
                    <a:pt x="419" y="228"/>
                  </a:lnTo>
                  <a:lnTo>
                    <a:pt x="412" y="221"/>
                  </a:lnTo>
                  <a:lnTo>
                    <a:pt x="409" y="218"/>
                  </a:lnTo>
                  <a:lnTo>
                    <a:pt x="408" y="214"/>
                  </a:lnTo>
                  <a:lnTo>
                    <a:pt x="407" y="212"/>
                  </a:lnTo>
                  <a:lnTo>
                    <a:pt x="406" y="210"/>
                  </a:lnTo>
                  <a:lnTo>
                    <a:pt x="406" y="207"/>
                  </a:lnTo>
                  <a:lnTo>
                    <a:pt x="404" y="199"/>
                  </a:lnTo>
                  <a:lnTo>
                    <a:pt x="403" y="197"/>
                  </a:lnTo>
                  <a:lnTo>
                    <a:pt x="402" y="196"/>
                  </a:lnTo>
                  <a:lnTo>
                    <a:pt x="401" y="195"/>
                  </a:lnTo>
                  <a:lnTo>
                    <a:pt x="400" y="194"/>
                  </a:lnTo>
                  <a:lnTo>
                    <a:pt x="398" y="191"/>
                  </a:lnTo>
                  <a:lnTo>
                    <a:pt x="395" y="190"/>
                  </a:lnTo>
                  <a:lnTo>
                    <a:pt x="393" y="189"/>
                  </a:lnTo>
                  <a:lnTo>
                    <a:pt x="390" y="188"/>
                  </a:lnTo>
                  <a:lnTo>
                    <a:pt x="387" y="187"/>
                  </a:lnTo>
                  <a:lnTo>
                    <a:pt x="384" y="186"/>
                  </a:lnTo>
                  <a:lnTo>
                    <a:pt x="380" y="184"/>
                  </a:lnTo>
                  <a:lnTo>
                    <a:pt x="378" y="183"/>
                  </a:lnTo>
                  <a:lnTo>
                    <a:pt x="376" y="182"/>
                  </a:lnTo>
                  <a:lnTo>
                    <a:pt x="372" y="181"/>
                  </a:lnTo>
                  <a:lnTo>
                    <a:pt x="371" y="180"/>
                  </a:lnTo>
                  <a:lnTo>
                    <a:pt x="369" y="179"/>
                  </a:lnTo>
                  <a:lnTo>
                    <a:pt x="367" y="178"/>
                  </a:lnTo>
                  <a:lnTo>
                    <a:pt x="364" y="178"/>
                  </a:lnTo>
                  <a:lnTo>
                    <a:pt x="360" y="176"/>
                  </a:lnTo>
                  <a:lnTo>
                    <a:pt x="358" y="175"/>
                  </a:lnTo>
                  <a:lnTo>
                    <a:pt x="354" y="175"/>
                  </a:lnTo>
                  <a:lnTo>
                    <a:pt x="353" y="175"/>
                  </a:lnTo>
                  <a:lnTo>
                    <a:pt x="351" y="176"/>
                  </a:lnTo>
                  <a:lnTo>
                    <a:pt x="350" y="178"/>
                  </a:lnTo>
                  <a:lnTo>
                    <a:pt x="348" y="179"/>
                  </a:lnTo>
                  <a:lnTo>
                    <a:pt x="343" y="183"/>
                  </a:lnTo>
                  <a:lnTo>
                    <a:pt x="342" y="184"/>
                  </a:lnTo>
                  <a:lnTo>
                    <a:pt x="340" y="186"/>
                  </a:lnTo>
                  <a:lnTo>
                    <a:pt x="338" y="188"/>
                  </a:lnTo>
                  <a:lnTo>
                    <a:pt x="336" y="189"/>
                  </a:lnTo>
                  <a:lnTo>
                    <a:pt x="335" y="190"/>
                  </a:lnTo>
                  <a:lnTo>
                    <a:pt x="334" y="192"/>
                  </a:lnTo>
                  <a:lnTo>
                    <a:pt x="331" y="192"/>
                  </a:lnTo>
                  <a:lnTo>
                    <a:pt x="329" y="191"/>
                  </a:lnTo>
                  <a:lnTo>
                    <a:pt x="328" y="189"/>
                  </a:lnTo>
                  <a:lnTo>
                    <a:pt x="326" y="189"/>
                  </a:lnTo>
                  <a:lnTo>
                    <a:pt x="323" y="189"/>
                  </a:lnTo>
                  <a:lnTo>
                    <a:pt x="321" y="189"/>
                  </a:lnTo>
                  <a:lnTo>
                    <a:pt x="320" y="190"/>
                  </a:lnTo>
                  <a:lnTo>
                    <a:pt x="319" y="191"/>
                  </a:lnTo>
                  <a:lnTo>
                    <a:pt x="319" y="192"/>
                  </a:lnTo>
                  <a:lnTo>
                    <a:pt x="319" y="194"/>
                  </a:lnTo>
                  <a:lnTo>
                    <a:pt x="318" y="196"/>
                  </a:lnTo>
                  <a:lnTo>
                    <a:pt x="316" y="197"/>
                  </a:lnTo>
                  <a:lnTo>
                    <a:pt x="316" y="198"/>
                  </a:lnTo>
                  <a:lnTo>
                    <a:pt x="316" y="200"/>
                  </a:lnTo>
                  <a:lnTo>
                    <a:pt x="316" y="202"/>
                  </a:lnTo>
                  <a:lnTo>
                    <a:pt x="315" y="203"/>
                  </a:lnTo>
                  <a:lnTo>
                    <a:pt x="314" y="205"/>
                  </a:lnTo>
                  <a:lnTo>
                    <a:pt x="313" y="206"/>
                  </a:lnTo>
                  <a:lnTo>
                    <a:pt x="311" y="207"/>
                  </a:lnTo>
                  <a:lnTo>
                    <a:pt x="310" y="208"/>
                  </a:lnTo>
                  <a:lnTo>
                    <a:pt x="306" y="210"/>
                  </a:lnTo>
                  <a:lnTo>
                    <a:pt x="304" y="210"/>
                  </a:lnTo>
                  <a:lnTo>
                    <a:pt x="300" y="210"/>
                  </a:lnTo>
                  <a:lnTo>
                    <a:pt x="297" y="210"/>
                  </a:lnTo>
                  <a:lnTo>
                    <a:pt x="295" y="211"/>
                  </a:lnTo>
                  <a:lnTo>
                    <a:pt x="294" y="213"/>
                  </a:lnTo>
                  <a:lnTo>
                    <a:pt x="294" y="214"/>
                  </a:lnTo>
                  <a:lnTo>
                    <a:pt x="291" y="216"/>
                  </a:lnTo>
                  <a:lnTo>
                    <a:pt x="289" y="216"/>
                  </a:lnTo>
                  <a:lnTo>
                    <a:pt x="288" y="216"/>
                  </a:lnTo>
                  <a:lnTo>
                    <a:pt x="286" y="216"/>
                  </a:lnTo>
                  <a:lnTo>
                    <a:pt x="283" y="216"/>
                  </a:lnTo>
                  <a:lnTo>
                    <a:pt x="282" y="216"/>
                  </a:lnTo>
                  <a:lnTo>
                    <a:pt x="281" y="216"/>
                  </a:lnTo>
                  <a:lnTo>
                    <a:pt x="279" y="218"/>
                  </a:lnTo>
                  <a:lnTo>
                    <a:pt x="278" y="219"/>
                  </a:lnTo>
                  <a:lnTo>
                    <a:pt x="276" y="221"/>
                  </a:lnTo>
                  <a:lnTo>
                    <a:pt x="276" y="222"/>
                  </a:lnTo>
                  <a:lnTo>
                    <a:pt x="276" y="223"/>
                  </a:lnTo>
                  <a:lnTo>
                    <a:pt x="276" y="224"/>
                  </a:lnTo>
                  <a:lnTo>
                    <a:pt x="276" y="226"/>
                  </a:lnTo>
                  <a:lnTo>
                    <a:pt x="276" y="227"/>
                  </a:lnTo>
                  <a:lnTo>
                    <a:pt x="275" y="227"/>
                  </a:lnTo>
                  <a:lnTo>
                    <a:pt x="273" y="227"/>
                  </a:lnTo>
                  <a:lnTo>
                    <a:pt x="271" y="227"/>
                  </a:lnTo>
                  <a:lnTo>
                    <a:pt x="270" y="228"/>
                  </a:lnTo>
                  <a:lnTo>
                    <a:pt x="267" y="229"/>
                  </a:lnTo>
                  <a:lnTo>
                    <a:pt x="265" y="229"/>
                  </a:lnTo>
                  <a:lnTo>
                    <a:pt x="264" y="229"/>
                  </a:lnTo>
                  <a:lnTo>
                    <a:pt x="262" y="229"/>
                  </a:lnTo>
                  <a:lnTo>
                    <a:pt x="262" y="228"/>
                  </a:lnTo>
                  <a:lnTo>
                    <a:pt x="262" y="226"/>
                  </a:lnTo>
                  <a:lnTo>
                    <a:pt x="263" y="224"/>
                  </a:lnTo>
                  <a:lnTo>
                    <a:pt x="263" y="223"/>
                  </a:lnTo>
                  <a:lnTo>
                    <a:pt x="264" y="221"/>
                  </a:lnTo>
                  <a:lnTo>
                    <a:pt x="265" y="220"/>
                  </a:lnTo>
                  <a:lnTo>
                    <a:pt x="265" y="218"/>
                  </a:lnTo>
                  <a:lnTo>
                    <a:pt x="266" y="215"/>
                  </a:lnTo>
                  <a:lnTo>
                    <a:pt x="265" y="213"/>
                  </a:lnTo>
                  <a:lnTo>
                    <a:pt x="264" y="212"/>
                  </a:lnTo>
                  <a:lnTo>
                    <a:pt x="262" y="211"/>
                  </a:lnTo>
                  <a:lnTo>
                    <a:pt x="260" y="210"/>
                  </a:lnTo>
                  <a:lnTo>
                    <a:pt x="259" y="208"/>
                  </a:lnTo>
                  <a:lnTo>
                    <a:pt x="258" y="207"/>
                  </a:lnTo>
                  <a:lnTo>
                    <a:pt x="257" y="206"/>
                  </a:lnTo>
                  <a:lnTo>
                    <a:pt x="257" y="204"/>
                  </a:lnTo>
                  <a:lnTo>
                    <a:pt x="256" y="200"/>
                  </a:lnTo>
                  <a:lnTo>
                    <a:pt x="256" y="199"/>
                  </a:lnTo>
                  <a:lnTo>
                    <a:pt x="257" y="197"/>
                  </a:lnTo>
                  <a:lnTo>
                    <a:pt x="258" y="197"/>
                  </a:lnTo>
                  <a:lnTo>
                    <a:pt x="259" y="196"/>
                  </a:lnTo>
                  <a:lnTo>
                    <a:pt x="260" y="195"/>
                  </a:lnTo>
                  <a:lnTo>
                    <a:pt x="260" y="194"/>
                  </a:lnTo>
                  <a:lnTo>
                    <a:pt x="260" y="191"/>
                  </a:lnTo>
                  <a:lnTo>
                    <a:pt x="259" y="191"/>
                  </a:lnTo>
                  <a:lnTo>
                    <a:pt x="259" y="189"/>
                  </a:lnTo>
                  <a:lnTo>
                    <a:pt x="259" y="188"/>
                  </a:lnTo>
                  <a:lnTo>
                    <a:pt x="259" y="187"/>
                  </a:lnTo>
                  <a:lnTo>
                    <a:pt x="259" y="186"/>
                  </a:lnTo>
                  <a:lnTo>
                    <a:pt x="257" y="183"/>
                  </a:lnTo>
                  <a:lnTo>
                    <a:pt x="256" y="183"/>
                  </a:lnTo>
                  <a:lnTo>
                    <a:pt x="255" y="183"/>
                  </a:lnTo>
                  <a:lnTo>
                    <a:pt x="252" y="184"/>
                  </a:lnTo>
                  <a:lnTo>
                    <a:pt x="251" y="186"/>
                  </a:lnTo>
                  <a:lnTo>
                    <a:pt x="251" y="187"/>
                  </a:lnTo>
                  <a:lnTo>
                    <a:pt x="249" y="190"/>
                  </a:lnTo>
                  <a:lnTo>
                    <a:pt x="248" y="190"/>
                  </a:lnTo>
                  <a:lnTo>
                    <a:pt x="247" y="191"/>
                  </a:lnTo>
                  <a:lnTo>
                    <a:pt x="244" y="192"/>
                  </a:lnTo>
                  <a:lnTo>
                    <a:pt x="243" y="195"/>
                  </a:lnTo>
                  <a:lnTo>
                    <a:pt x="242" y="196"/>
                  </a:lnTo>
                  <a:lnTo>
                    <a:pt x="240" y="197"/>
                  </a:lnTo>
                  <a:lnTo>
                    <a:pt x="239" y="197"/>
                  </a:lnTo>
                  <a:lnTo>
                    <a:pt x="236" y="197"/>
                  </a:lnTo>
                  <a:lnTo>
                    <a:pt x="234" y="198"/>
                  </a:lnTo>
                  <a:lnTo>
                    <a:pt x="233" y="198"/>
                  </a:lnTo>
                  <a:lnTo>
                    <a:pt x="231" y="199"/>
                  </a:lnTo>
                  <a:lnTo>
                    <a:pt x="230" y="200"/>
                  </a:lnTo>
                  <a:lnTo>
                    <a:pt x="227" y="202"/>
                  </a:lnTo>
                  <a:lnTo>
                    <a:pt x="226" y="202"/>
                  </a:lnTo>
                  <a:lnTo>
                    <a:pt x="224" y="203"/>
                  </a:lnTo>
                  <a:lnTo>
                    <a:pt x="222" y="204"/>
                  </a:lnTo>
                  <a:lnTo>
                    <a:pt x="220" y="205"/>
                  </a:lnTo>
                  <a:lnTo>
                    <a:pt x="218" y="206"/>
                  </a:lnTo>
                  <a:lnTo>
                    <a:pt x="216" y="206"/>
                  </a:lnTo>
                  <a:lnTo>
                    <a:pt x="214" y="206"/>
                  </a:lnTo>
                  <a:lnTo>
                    <a:pt x="211" y="206"/>
                  </a:lnTo>
                  <a:lnTo>
                    <a:pt x="210" y="206"/>
                  </a:lnTo>
                  <a:lnTo>
                    <a:pt x="208" y="205"/>
                  </a:lnTo>
                  <a:lnTo>
                    <a:pt x="206" y="204"/>
                  </a:lnTo>
                  <a:lnTo>
                    <a:pt x="204" y="204"/>
                  </a:lnTo>
                  <a:lnTo>
                    <a:pt x="203" y="204"/>
                  </a:lnTo>
                  <a:lnTo>
                    <a:pt x="202" y="203"/>
                  </a:lnTo>
                  <a:lnTo>
                    <a:pt x="201" y="200"/>
                  </a:lnTo>
                  <a:lnTo>
                    <a:pt x="200" y="199"/>
                  </a:lnTo>
                  <a:lnTo>
                    <a:pt x="200" y="197"/>
                  </a:lnTo>
                  <a:lnTo>
                    <a:pt x="200" y="195"/>
                  </a:lnTo>
                  <a:lnTo>
                    <a:pt x="199" y="192"/>
                  </a:lnTo>
                  <a:lnTo>
                    <a:pt x="199" y="190"/>
                  </a:lnTo>
                  <a:lnTo>
                    <a:pt x="199" y="188"/>
                  </a:lnTo>
                  <a:lnTo>
                    <a:pt x="198" y="186"/>
                  </a:lnTo>
                  <a:lnTo>
                    <a:pt x="196" y="183"/>
                  </a:lnTo>
                  <a:lnTo>
                    <a:pt x="196" y="182"/>
                  </a:lnTo>
                  <a:lnTo>
                    <a:pt x="195" y="181"/>
                  </a:lnTo>
                  <a:lnTo>
                    <a:pt x="195" y="179"/>
                  </a:lnTo>
                  <a:lnTo>
                    <a:pt x="195" y="176"/>
                  </a:lnTo>
                  <a:lnTo>
                    <a:pt x="196" y="175"/>
                  </a:lnTo>
                  <a:lnTo>
                    <a:pt x="195" y="173"/>
                  </a:lnTo>
                  <a:lnTo>
                    <a:pt x="196" y="172"/>
                  </a:lnTo>
                  <a:lnTo>
                    <a:pt x="196" y="167"/>
                  </a:lnTo>
                  <a:lnTo>
                    <a:pt x="195" y="164"/>
                  </a:lnTo>
                  <a:lnTo>
                    <a:pt x="195" y="162"/>
                  </a:lnTo>
                  <a:lnTo>
                    <a:pt x="194" y="160"/>
                  </a:lnTo>
                  <a:lnTo>
                    <a:pt x="193" y="159"/>
                  </a:lnTo>
                  <a:lnTo>
                    <a:pt x="192" y="158"/>
                  </a:lnTo>
                  <a:lnTo>
                    <a:pt x="190" y="156"/>
                  </a:lnTo>
                  <a:lnTo>
                    <a:pt x="188" y="155"/>
                  </a:lnTo>
                  <a:lnTo>
                    <a:pt x="187" y="154"/>
                  </a:lnTo>
                  <a:lnTo>
                    <a:pt x="186" y="151"/>
                  </a:lnTo>
                  <a:lnTo>
                    <a:pt x="186" y="150"/>
                  </a:lnTo>
                  <a:lnTo>
                    <a:pt x="187" y="149"/>
                  </a:lnTo>
                  <a:lnTo>
                    <a:pt x="190" y="147"/>
                  </a:lnTo>
                  <a:lnTo>
                    <a:pt x="190" y="146"/>
                  </a:lnTo>
                  <a:lnTo>
                    <a:pt x="191" y="143"/>
                  </a:lnTo>
                  <a:lnTo>
                    <a:pt x="191" y="141"/>
                  </a:lnTo>
                  <a:lnTo>
                    <a:pt x="191" y="139"/>
                  </a:lnTo>
                  <a:lnTo>
                    <a:pt x="190" y="135"/>
                  </a:lnTo>
                  <a:lnTo>
                    <a:pt x="190" y="130"/>
                  </a:lnTo>
                  <a:lnTo>
                    <a:pt x="190" y="127"/>
                  </a:lnTo>
                  <a:lnTo>
                    <a:pt x="187" y="126"/>
                  </a:lnTo>
                  <a:lnTo>
                    <a:pt x="186" y="125"/>
                  </a:lnTo>
                  <a:lnTo>
                    <a:pt x="185" y="124"/>
                  </a:lnTo>
                  <a:lnTo>
                    <a:pt x="186" y="122"/>
                  </a:lnTo>
                  <a:lnTo>
                    <a:pt x="185" y="120"/>
                  </a:lnTo>
                  <a:lnTo>
                    <a:pt x="187" y="119"/>
                  </a:lnTo>
                  <a:lnTo>
                    <a:pt x="188" y="118"/>
                  </a:lnTo>
                  <a:lnTo>
                    <a:pt x="191" y="118"/>
                  </a:lnTo>
                  <a:lnTo>
                    <a:pt x="194" y="116"/>
                  </a:lnTo>
                  <a:lnTo>
                    <a:pt x="196" y="112"/>
                  </a:lnTo>
                  <a:lnTo>
                    <a:pt x="199" y="111"/>
                  </a:lnTo>
                  <a:lnTo>
                    <a:pt x="200" y="110"/>
                  </a:lnTo>
                  <a:lnTo>
                    <a:pt x="200" y="108"/>
                  </a:lnTo>
                  <a:lnTo>
                    <a:pt x="200" y="106"/>
                  </a:lnTo>
                  <a:lnTo>
                    <a:pt x="198" y="103"/>
                  </a:lnTo>
                  <a:lnTo>
                    <a:pt x="196" y="102"/>
                  </a:lnTo>
                  <a:lnTo>
                    <a:pt x="194" y="101"/>
                  </a:lnTo>
                  <a:lnTo>
                    <a:pt x="193" y="100"/>
                  </a:lnTo>
                  <a:lnTo>
                    <a:pt x="193" y="96"/>
                  </a:lnTo>
                  <a:lnTo>
                    <a:pt x="195" y="96"/>
                  </a:lnTo>
                  <a:lnTo>
                    <a:pt x="198" y="96"/>
                  </a:lnTo>
                  <a:lnTo>
                    <a:pt x="199" y="95"/>
                  </a:lnTo>
                  <a:lnTo>
                    <a:pt x="202" y="94"/>
                  </a:lnTo>
                  <a:lnTo>
                    <a:pt x="204" y="93"/>
                  </a:lnTo>
                  <a:lnTo>
                    <a:pt x="206" y="92"/>
                  </a:lnTo>
                  <a:lnTo>
                    <a:pt x="209" y="90"/>
                  </a:lnTo>
                  <a:lnTo>
                    <a:pt x="209" y="87"/>
                  </a:lnTo>
                  <a:lnTo>
                    <a:pt x="209" y="85"/>
                  </a:lnTo>
                  <a:lnTo>
                    <a:pt x="209" y="84"/>
                  </a:lnTo>
                  <a:lnTo>
                    <a:pt x="209" y="82"/>
                  </a:lnTo>
                  <a:lnTo>
                    <a:pt x="211" y="78"/>
                  </a:lnTo>
                  <a:lnTo>
                    <a:pt x="212" y="76"/>
                  </a:lnTo>
                  <a:lnTo>
                    <a:pt x="214" y="75"/>
                  </a:lnTo>
                  <a:lnTo>
                    <a:pt x="216" y="72"/>
                  </a:lnTo>
                  <a:lnTo>
                    <a:pt x="218" y="71"/>
                  </a:lnTo>
                  <a:lnTo>
                    <a:pt x="220" y="70"/>
                  </a:lnTo>
                  <a:lnTo>
                    <a:pt x="223" y="69"/>
                  </a:lnTo>
                  <a:lnTo>
                    <a:pt x="224" y="68"/>
                  </a:lnTo>
                  <a:lnTo>
                    <a:pt x="227" y="66"/>
                  </a:lnTo>
                  <a:lnTo>
                    <a:pt x="228" y="66"/>
                  </a:lnTo>
                  <a:lnTo>
                    <a:pt x="230" y="64"/>
                  </a:lnTo>
                  <a:lnTo>
                    <a:pt x="232" y="63"/>
                  </a:lnTo>
                  <a:lnTo>
                    <a:pt x="233" y="62"/>
                  </a:lnTo>
                  <a:lnTo>
                    <a:pt x="234" y="61"/>
                  </a:lnTo>
                  <a:lnTo>
                    <a:pt x="236" y="60"/>
                  </a:lnTo>
                  <a:lnTo>
                    <a:pt x="239" y="58"/>
                  </a:lnTo>
                  <a:lnTo>
                    <a:pt x="240" y="56"/>
                  </a:lnTo>
                  <a:lnTo>
                    <a:pt x="243" y="56"/>
                  </a:lnTo>
                  <a:lnTo>
                    <a:pt x="244" y="56"/>
                  </a:lnTo>
                  <a:lnTo>
                    <a:pt x="250" y="55"/>
                  </a:lnTo>
                  <a:lnTo>
                    <a:pt x="251" y="53"/>
                  </a:lnTo>
                  <a:lnTo>
                    <a:pt x="251" y="52"/>
                  </a:lnTo>
                  <a:lnTo>
                    <a:pt x="250" y="51"/>
                  </a:lnTo>
                  <a:lnTo>
                    <a:pt x="250" y="48"/>
                  </a:lnTo>
                  <a:lnTo>
                    <a:pt x="248" y="47"/>
                  </a:lnTo>
                  <a:lnTo>
                    <a:pt x="246" y="46"/>
                  </a:lnTo>
                  <a:lnTo>
                    <a:pt x="243" y="47"/>
                  </a:lnTo>
                  <a:lnTo>
                    <a:pt x="240" y="48"/>
                  </a:lnTo>
                  <a:lnTo>
                    <a:pt x="239" y="47"/>
                  </a:lnTo>
                  <a:lnTo>
                    <a:pt x="239" y="46"/>
                  </a:lnTo>
                  <a:lnTo>
                    <a:pt x="239" y="45"/>
                  </a:lnTo>
                  <a:lnTo>
                    <a:pt x="238" y="44"/>
                  </a:lnTo>
                  <a:lnTo>
                    <a:pt x="236" y="43"/>
                  </a:lnTo>
                  <a:lnTo>
                    <a:pt x="234" y="43"/>
                  </a:lnTo>
                  <a:lnTo>
                    <a:pt x="233" y="44"/>
                  </a:lnTo>
                  <a:lnTo>
                    <a:pt x="232" y="44"/>
                  </a:lnTo>
                  <a:lnTo>
                    <a:pt x="231" y="44"/>
                  </a:lnTo>
                  <a:lnTo>
                    <a:pt x="228" y="44"/>
                  </a:lnTo>
                  <a:lnTo>
                    <a:pt x="227" y="43"/>
                  </a:lnTo>
                  <a:lnTo>
                    <a:pt x="225" y="43"/>
                  </a:lnTo>
                  <a:lnTo>
                    <a:pt x="224" y="43"/>
                  </a:lnTo>
                  <a:lnTo>
                    <a:pt x="223" y="43"/>
                  </a:lnTo>
                  <a:lnTo>
                    <a:pt x="220" y="42"/>
                  </a:lnTo>
                  <a:lnTo>
                    <a:pt x="219" y="42"/>
                  </a:lnTo>
                  <a:lnTo>
                    <a:pt x="218" y="40"/>
                  </a:lnTo>
                  <a:lnTo>
                    <a:pt x="216" y="39"/>
                  </a:lnTo>
                  <a:lnTo>
                    <a:pt x="215" y="39"/>
                  </a:lnTo>
                  <a:lnTo>
                    <a:pt x="212" y="38"/>
                  </a:lnTo>
                  <a:lnTo>
                    <a:pt x="211" y="38"/>
                  </a:lnTo>
                  <a:lnTo>
                    <a:pt x="209" y="37"/>
                  </a:lnTo>
                  <a:lnTo>
                    <a:pt x="208" y="36"/>
                  </a:lnTo>
                  <a:lnTo>
                    <a:pt x="207" y="34"/>
                  </a:lnTo>
                  <a:lnTo>
                    <a:pt x="206" y="35"/>
                  </a:lnTo>
                  <a:lnTo>
                    <a:pt x="204" y="34"/>
                  </a:lnTo>
                  <a:lnTo>
                    <a:pt x="203" y="32"/>
                  </a:lnTo>
                  <a:lnTo>
                    <a:pt x="201" y="31"/>
                  </a:lnTo>
                  <a:lnTo>
                    <a:pt x="201" y="30"/>
                  </a:lnTo>
                  <a:lnTo>
                    <a:pt x="200" y="30"/>
                  </a:lnTo>
                  <a:lnTo>
                    <a:pt x="199" y="29"/>
                  </a:lnTo>
                  <a:lnTo>
                    <a:pt x="196" y="29"/>
                  </a:lnTo>
                  <a:lnTo>
                    <a:pt x="195" y="28"/>
                  </a:lnTo>
                  <a:lnTo>
                    <a:pt x="194" y="28"/>
                  </a:lnTo>
                  <a:lnTo>
                    <a:pt x="193" y="28"/>
                  </a:lnTo>
                  <a:lnTo>
                    <a:pt x="192" y="27"/>
                  </a:lnTo>
                  <a:lnTo>
                    <a:pt x="191" y="26"/>
                  </a:lnTo>
                  <a:lnTo>
                    <a:pt x="190" y="26"/>
                  </a:lnTo>
                  <a:lnTo>
                    <a:pt x="188" y="24"/>
                  </a:lnTo>
                  <a:lnTo>
                    <a:pt x="187" y="23"/>
                  </a:lnTo>
                  <a:lnTo>
                    <a:pt x="186" y="23"/>
                  </a:lnTo>
                  <a:lnTo>
                    <a:pt x="184" y="22"/>
                  </a:lnTo>
                  <a:lnTo>
                    <a:pt x="183" y="21"/>
                  </a:lnTo>
                  <a:lnTo>
                    <a:pt x="180" y="21"/>
                  </a:lnTo>
                  <a:lnTo>
                    <a:pt x="178" y="19"/>
                  </a:lnTo>
                  <a:lnTo>
                    <a:pt x="177" y="15"/>
                  </a:lnTo>
                  <a:lnTo>
                    <a:pt x="176" y="14"/>
                  </a:lnTo>
                  <a:lnTo>
                    <a:pt x="175" y="13"/>
                  </a:lnTo>
                  <a:lnTo>
                    <a:pt x="174" y="13"/>
                  </a:lnTo>
                  <a:lnTo>
                    <a:pt x="172" y="13"/>
                  </a:lnTo>
                  <a:lnTo>
                    <a:pt x="171" y="12"/>
                  </a:lnTo>
                  <a:lnTo>
                    <a:pt x="170" y="12"/>
                  </a:lnTo>
                  <a:lnTo>
                    <a:pt x="169" y="11"/>
                  </a:lnTo>
                  <a:lnTo>
                    <a:pt x="168" y="10"/>
                  </a:lnTo>
                  <a:lnTo>
                    <a:pt x="168" y="8"/>
                  </a:lnTo>
                  <a:lnTo>
                    <a:pt x="167" y="7"/>
                  </a:lnTo>
                  <a:lnTo>
                    <a:pt x="164" y="6"/>
                  </a:lnTo>
                  <a:lnTo>
                    <a:pt x="163" y="6"/>
                  </a:lnTo>
                  <a:lnTo>
                    <a:pt x="162" y="5"/>
                  </a:lnTo>
                  <a:lnTo>
                    <a:pt x="162" y="4"/>
                  </a:lnTo>
                  <a:lnTo>
                    <a:pt x="161" y="4"/>
                  </a:lnTo>
                  <a:lnTo>
                    <a:pt x="160" y="3"/>
                  </a:lnTo>
                  <a:lnTo>
                    <a:pt x="159" y="3"/>
                  </a:lnTo>
                  <a:lnTo>
                    <a:pt x="156" y="3"/>
                  </a:lnTo>
                  <a:lnTo>
                    <a:pt x="155" y="3"/>
                  </a:lnTo>
                  <a:lnTo>
                    <a:pt x="154" y="3"/>
                  </a:lnTo>
                  <a:lnTo>
                    <a:pt x="153" y="3"/>
                  </a:lnTo>
                  <a:lnTo>
                    <a:pt x="151" y="3"/>
                  </a:lnTo>
                  <a:lnTo>
                    <a:pt x="148" y="2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rgbClr val="C00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33" name="BR"/>
            <p:cNvSpPr>
              <a:spLocks/>
            </p:cNvSpPr>
            <p:nvPr/>
          </p:nvSpPr>
          <p:spPr bwMode="auto">
            <a:xfrm>
              <a:off x="7005963" y="2947561"/>
              <a:ext cx="548308" cy="344454"/>
            </a:xfrm>
            <a:custGeom>
              <a:avLst/>
              <a:gdLst>
                <a:gd name="T0" fmla="*/ 194 w 1369"/>
                <a:gd name="T1" fmla="*/ 257 h 887"/>
                <a:gd name="T2" fmla="*/ 175 w 1369"/>
                <a:gd name="T3" fmla="*/ 280 h 887"/>
                <a:gd name="T4" fmla="*/ 238 w 1369"/>
                <a:gd name="T5" fmla="*/ 328 h 887"/>
                <a:gd name="T6" fmla="*/ 248 w 1369"/>
                <a:gd name="T7" fmla="*/ 412 h 887"/>
                <a:gd name="T8" fmla="*/ 354 w 1369"/>
                <a:gd name="T9" fmla="*/ 492 h 887"/>
                <a:gd name="T10" fmla="*/ 239 w 1369"/>
                <a:gd name="T11" fmla="*/ 494 h 887"/>
                <a:gd name="T12" fmla="*/ 102 w 1369"/>
                <a:gd name="T13" fmla="*/ 590 h 887"/>
                <a:gd name="T14" fmla="*/ 2 w 1369"/>
                <a:gd name="T15" fmla="*/ 688 h 887"/>
                <a:gd name="T16" fmla="*/ 59 w 1369"/>
                <a:gd name="T17" fmla="*/ 791 h 887"/>
                <a:gd name="T18" fmla="*/ 111 w 1369"/>
                <a:gd name="T19" fmla="*/ 822 h 887"/>
                <a:gd name="T20" fmla="*/ 177 w 1369"/>
                <a:gd name="T21" fmla="*/ 800 h 887"/>
                <a:gd name="T22" fmla="*/ 214 w 1369"/>
                <a:gd name="T23" fmla="*/ 810 h 887"/>
                <a:gd name="T24" fmla="*/ 235 w 1369"/>
                <a:gd name="T25" fmla="*/ 831 h 887"/>
                <a:gd name="T26" fmla="*/ 257 w 1369"/>
                <a:gd name="T27" fmla="*/ 815 h 887"/>
                <a:gd name="T28" fmla="*/ 280 w 1369"/>
                <a:gd name="T29" fmla="*/ 826 h 887"/>
                <a:gd name="T30" fmla="*/ 300 w 1369"/>
                <a:gd name="T31" fmla="*/ 860 h 887"/>
                <a:gd name="T32" fmla="*/ 329 w 1369"/>
                <a:gd name="T33" fmla="*/ 882 h 887"/>
                <a:gd name="T34" fmla="*/ 353 w 1369"/>
                <a:gd name="T35" fmla="*/ 849 h 887"/>
                <a:gd name="T36" fmla="*/ 387 w 1369"/>
                <a:gd name="T37" fmla="*/ 836 h 887"/>
                <a:gd name="T38" fmla="*/ 419 w 1369"/>
                <a:gd name="T39" fmla="*/ 828 h 887"/>
                <a:gd name="T40" fmla="*/ 449 w 1369"/>
                <a:gd name="T41" fmla="*/ 865 h 887"/>
                <a:gd name="T42" fmla="*/ 490 w 1369"/>
                <a:gd name="T43" fmla="*/ 866 h 887"/>
                <a:gd name="T44" fmla="*/ 516 w 1369"/>
                <a:gd name="T45" fmla="*/ 839 h 887"/>
                <a:gd name="T46" fmla="*/ 571 w 1369"/>
                <a:gd name="T47" fmla="*/ 823 h 887"/>
                <a:gd name="T48" fmla="*/ 614 w 1369"/>
                <a:gd name="T49" fmla="*/ 820 h 887"/>
                <a:gd name="T50" fmla="*/ 648 w 1369"/>
                <a:gd name="T51" fmla="*/ 788 h 887"/>
                <a:gd name="T52" fmla="*/ 680 w 1369"/>
                <a:gd name="T53" fmla="*/ 745 h 887"/>
                <a:gd name="T54" fmla="*/ 738 w 1369"/>
                <a:gd name="T55" fmla="*/ 765 h 887"/>
                <a:gd name="T56" fmla="*/ 777 w 1369"/>
                <a:gd name="T57" fmla="*/ 788 h 887"/>
                <a:gd name="T58" fmla="*/ 806 w 1369"/>
                <a:gd name="T59" fmla="*/ 804 h 887"/>
                <a:gd name="T60" fmla="*/ 819 w 1369"/>
                <a:gd name="T61" fmla="*/ 828 h 887"/>
                <a:gd name="T62" fmla="*/ 857 w 1369"/>
                <a:gd name="T63" fmla="*/ 868 h 887"/>
                <a:gd name="T64" fmla="*/ 879 w 1369"/>
                <a:gd name="T65" fmla="*/ 824 h 887"/>
                <a:gd name="T66" fmla="*/ 918 w 1369"/>
                <a:gd name="T67" fmla="*/ 814 h 887"/>
                <a:gd name="T68" fmla="*/ 958 w 1369"/>
                <a:gd name="T69" fmla="*/ 808 h 887"/>
                <a:gd name="T70" fmla="*/ 998 w 1369"/>
                <a:gd name="T71" fmla="*/ 796 h 887"/>
                <a:gd name="T72" fmla="*/ 1032 w 1369"/>
                <a:gd name="T73" fmla="*/ 761 h 887"/>
                <a:gd name="T74" fmla="*/ 1039 w 1369"/>
                <a:gd name="T75" fmla="*/ 726 h 887"/>
                <a:gd name="T76" fmla="*/ 1078 w 1369"/>
                <a:gd name="T77" fmla="*/ 665 h 887"/>
                <a:gd name="T78" fmla="*/ 1105 w 1369"/>
                <a:gd name="T79" fmla="*/ 632 h 887"/>
                <a:gd name="T80" fmla="*/ 1142 w 1369"/>
                <a:gd name="T81" fmla="*/ 617 h 887"/>
                <a:gd name="T82" fmla="*/ 1164 w 1369"/>
                <a:gd name="T83" fmla="*/ 597 h 887"/>
                <a:gd name="T84" fmla="*/ 1243 w 1369"/>
                <a:gd name="T85" fmla="*/ 626 h 887"/>
                <a:gd name="T86" fmla="*/ 1276 w 1369"/>
                <a:gd name="T87" fmla="*/ 548 h 887"/>
                <a:gd name="T88" fmla="*/ 1270 w 1369"/>
                <a:gd name="T89" fmla="*/ 466 h 887"/>
                <a:gd name="T90" fmla="*/ 1334 w 1369"/>
                <a:gd name="T91" fmla="*/ 346 h 887"/>
                <a:gd name="T92" fmla="*/ 1346 w 1369"/>
                <a:gd name="T93" fmla="*/ 280 h 887"/>
                <a:gd name="T94" fmla="*/ 1279 w 1369"/>
                <a:gd name="T95" fmla="*/ 306 h 887"/>
                <a:gd name="T96" fmla="*/ 1225 w 1369"/>
                <a:gd name="T97" fmla="*/ 302 h 887"/>
                <a:gd name="T98" fmla="*/ 1107 w 1369"/>
                <a:gd name="T99" fmla="*/ 313 h 887"/>
                <a:gd name="T100" fmla="*/ 1027 w 1369"/>
                <a:gd name="T101" fmla="*/ 254 h 887"/>
                <a:gd name="T102" fmla="*/ 929 w 1369"/>
                <a:gd name="T103" fmla="*/ 298 h 887"/>
                <a:gd name="T104" fmla="*/ 770 w 1369"/>
                <a:gd name="T105" fmla="*/ 249 h 887"/>
                <a:gd name="T106" fmla="*/ 657 w 1369"/>
                <a:gd name="T107" fmla="*/ 222 h 887"/>
                <a:gd name="T108" fmla="*/ 545 w 1369"/>
                <a:gd name="T109" fmla="*/ 207 h 887"/>
                <a:gd name="T110" fmla="*/ 434 w 1369"/>
                <a:gd name="T111" fmla="*/ 148 h 887"/>
                <a:gd name="T112" fmla="*/ 323 w 1369"/>
                <a:gd name="T113" fmla="*/ 46 h 887"/>
                <a:gd name="T114" fmla="*/ 209 w 1369"/>
                <a:gd name="T115" fmla="*/ 6 h 887"/>
                <a:gd name="T116" fmla="*/ 167 w 1369"/>
                <a:gd name="T117" fmla="*/ 55 h 887"/>
                <a:gd name="T118" fmla="*/ 168 w 1369"/>
                <a:gd name="T119" fmla="*/ 90 h 887"/>
                <a:gd name="T120" fmla="*/ 207 w 1369"/>
                <a:gd name="T121" fmla="*/ 124 h 887"/>
                <a:gd name="T122" fmla="*/ 228 w 1369"/>
                <a:gd name="T123" fmla="*/ 182 h 887"/>
                <a:gd name="T124" fmla="*/ 274 w 1369"/>
                <a:gd name="T125" fmla="*/ 208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69" h="887">
                  <a:moveTo>
                    <a:pt x="287" y="240"/>
                  </a:moveTo>
                  <a:lnTo>
                    <a:pt x="280" y="241"/>
                  </a:lnTo>
                  <a:lnTo>
                    <a:pt x="273" y="242"/>
                  </a:lnTo>
                  <a:lnTo>
                    <a:pt x="267" y="242"/>
                  </a:lnTo>
                  <a:lnTo>
                    <a:pt x="264" y="242"/>
                  </a:lnTo>
                  <a:lnTo>
                    <a:pt x="260" y="242"/>
                  </a:lnTo>
                  <a:lnTo>
                    <a:pt x="255" y="241"/>
                  </a:lnTo>
                  <a:lnTo>
                    <a:pt x="252" y="241"/>
                  </a:lnTo>
                  <a:lnTo>
                    <a:pt x="246" y="241"/>
                  </a:lnTo>
                  <a:lnTo>
                    <a:pt x="241" y="240"/>
                  </a:lnTo>
                  <a:lnTo>
                    <a:pt x="235" y="238"/>
                  </a:lnTo>
                  <a:lnTo>
                    <a:pt x="230" y="237"/>
                  </a:lnTo>
                  <a:lnTo>
                    <a:pt x="225" y="236"/>
                  </a:lnTo>
                  <a:lnTo>
                    <a:pt x="223" y="236"/>
                  </a:lnTo>
                  <a:lnTo>
                    <a:pt x="218" y="234"/>
                  </a:lnTo>
                  <a:lnTo>
                    <a:pt x="216" y="233"/>
                  </a:lnTo>
                  <a:lnTo>
                    <a:pt x="212" y="233"/>
                  </a:lnTo>
                  <a:lnTo>
                    <a:pt x="211" y="234"/>
                  </a:lnTo>
                  <a:lnTo>
                    <a:pt x="210" y="237"/>
                  </a:lnTo>
                  <a:lnTo>
                    <a:pt x="210" y="240"/>
                  </a:lnTo>
                  <a:lnTo>
                    <a:pt x="209" y="244"/>
                  </a:lnTo>
                  <a:lnTo>
                    <a:pt x="206" y="248"/>
                  </a:lnTo>
                  <a:lnTo>
                    <a:pt x="201" y="252"/>
                  </a:lnTo>
                  <a:lnTo>
                    <a:pt x="194" y="257"/>
                  </a:lnTo>
                  <a:lnTo>
                    <a:pt x="192" y="258"/>
                  </a:lnTo>
                  <a:lnTo>
                    <a:pt x="188" y="260"/>
                  </a:lnTo>
                  <a:lnTo>
                    <a:pt x="185" y="261"/>
                  </a:lnTo>
                  <a:lnTo>
                    <a:pt x="183" y="261"/>
                  </a:lnTo>
                  <a:lnTo>
                    <a:pt x="179" y="260"/>
                  </a:lnTo>
                  <a:lnTo>
                    <a:pt x="178" y="261"/>
                  </a:lnTo>
                  <a:lnTo>
                    <a:pt x="177" y="262"/>
                  </a:lnTo>
                  <a:lnTo>
                    <a:pt x="174" y="261"/>
                  </a:lnTo>
                  <a:lnTo>
                    <a:pt x="171" y="258"/>
                  </a:lnTo>
                  <a:lnTo>
                    <a:pt x="170" y="257"/>
                  </a:lnTo>
                  <a:lnTo>
                    <a:pt x="167" y="256"/>
                  </a:lnTo>
                  <a:lnTo>
                    <a:pt x="166" y="256"/>
                  </a:lnTo>
                  <a:lnTo>
                    <a:pt x="164" y="257"/>
                  </a:lnTo>
                  <a:lnTo>
                    <a:pt x="163" y="258"/>
                  </a:lnTo>
                  <a:lnTo>
                    <a:pt x="162" y="261"/>
                  </a:lnTo>
                  <a:lnTo>
                    <a:pt x="162" y="263"/>
                  </a:lnTo>
                  <a:lnTo>
                    <a:pt x="162" y="265"/>
                  </a:lnTo>
                  <a:lnTo>
                    <a:pt x="162" y="269"/>
                  </a:lnTo>
                  <a:lnTo>
                    <a:pt x="162" y="271"/>
                  </a:lnTo>
                  <a:lnTo>
                    <a:pt x="164" y="273"/>
                  </a:lnTo>
                  <a:lnTo>
                    <a:pt x="166" y="276"/>
                  </a:lnTo>
                  <a:lnTo>
                    <a:pt x="168" y="277"/>
                  </a:lnTo>
                  <a:lnTo>
                    <a:pt x="171" y="279"/>
                  </a:lnTo>
                  <a:lnTo>
                    <a:pt x="175" y="280"/>
                  </a:lnTo>
                  <a:lnTo>
                    <a:pt x="183" y="282"/>
                  </a:lnTo>
                  <a:lnTo>
                    <a:pt x="186" y="284"/>
                  </a:lnTo>
                  <a:lnTo>
                    <a:pt x="190" y="285"/>
                  </a:lnTo>
                  <a:lnTo>
                    <a:pt x="191" y="287"/>
                  </a:lnTo>
                  <a:lnTo>
                    <a:pt x="194" y="293"/>
                  </a:lnTo>
                  <a:lnTo>
                    <a:pt x="195" y="297"/>
                  </a:lnTo>
                  <a:lnTo>
                    <a:pt x="195" y="300"/>
                  </a:lnTo>
                  <a:lnTo>
                    <a:pt x="196" y="303"/>
                  </a:lnTo>
                  <a:lnTo>
                    <a:pt x="199" y="305"/>
                  </a:lnTo>
                  <a:lnTo>
                    <a:pt x="201" y="308"/>
                  </a:lnTo>
                  <a:lnTo>
                    <a:pt x="204" y="310"/>
                  </a:lnTo>
                  <a:lnTo>
                    <a:pt x="209" y="311"/>
                  </a:lnTo>
                  <a:lnTo>
                    <a:pt x="217" y="311"/>
                  </a:lnTo>
                  <a:lnTo>
                    <a:pt x="222" y="312"/>
                  </a:lnTo>
                  <a:lnTo>
                    <a:pt x="225" y="312"/>
                  </a:lnTo>
                  <a:lnTo>
                    <a:pt x="228" y="313"/>
                  </a:lnTo>
                  <a:lnTo>
                    <a:pt x="231" y="314"/>
                  </a:lnTo>
                  <a:lnTo>
                    <a:pt x="233" y="317"/>
                  </a:lnTo>
                  <a:lnTo>
                    <a:pt x="234" y="319"/>
                  </a:lnTo>
                  <a:lnTo>
                    <a:pt x="235" y="320"/>
                  </a:lnTo>
                  <a:lnTo>
                    <a:pt x="236" y="322"/>
                  </a:lnTo>
                  <a:lnTo>
                    <a:pt x="238" y="324"/>
                  </a:lnTo>
                  <a:lnTo>
                    <a:pt x="239" y="327"/>
                  </a:lnTo>
                  <a:lnTo>
                    <a:pt x="238" y="328"/>
                  </a:lnTo>
                  <a:lnTo>
                    <a:pt x="241" y="337"/>
                  </a:lnTo>
                  <a:lnTo>
                    <a:pt x="241" y="340"/>
                  </a:lnTo>
                  <a:lnTo>
                    <a:pt x="236" y="344"/>
                  </a:lnTo>
                  <a:lnTo>
                    <a:pt x="232" y="344"/>
                  </a:lnTo>
                  <a:lnTo>
                    <a:pt x="228" y="344"/>
                  </a:lnTo>
                  <a:lnTo>
                    <a:pt x="223" y="345"/>
                  </a:lnTo>
                  <a:lnTo>
                    <a:pt x="217" y="349"/>
                  </a:lnTo>
                  <a:lnTo>
                    <a:pt x="208" y="349"/>
                  </a:lnTo>
                  <a:lnTo>
                    <a:pt x="201" y="346"/>
                  </a:lnTo>
                  <a:lnTo>
                    <a:pt x="196" y="345"/>
                  </a:lnTo>
                  <a:lnTo>
                    <a:pt x="192" y="348"/>
                  </a:lnTo>
                  <a:lnTo>
                    <a:pt x="191" y="352"/>
                  </a:lnTo>
                  <a:lnTo>
                    <a:pt x="194" y="359"/>
                  </a:lnTo>
                  <a:lnTo>
                    <a:pt x="199" y="362"/>
                  </a:lnTo>
                  <a:lnTo>
                    <a:pt x="200" y="367"/>
                  </a:lnTo>
                  <a:lnTo>
                    <a:pt x="200" y="373"/>
                  </a:lnTo>
                  <a:lnTo>
                    <a:pt x="201" y="380"/>
                  </a:lnTo>
                  <a:lnTo>
                    <a:pt x="202" y="384"/>
                  </a:lnTo>
                  <a:lnTo>
                    <a:pt x="207" y="388"/>
                  </a:lnTo>
                  <a:lnTo>
                    <a:pt x="211" y="392"/>
                  </a:lnTo>
                  <a:lnTo>
                    <a:pt x="231" y="400"/>
                  </a:lnTo>
                  <a:lnTo>
                    <a:pt x="239" y="405"/>
                  </a:lnTo>
                  <a:lnTo>
                    <a:pt x="242" y="407"/>
                  </a:lnTo>
                  <a:lnTo>
                    <a:pt x="248" y="412"/>
                  </a:lnTo>
                  <a:lnTo>
                    <a:pt x="251" y="416"/>
                  </a:lnTo>
                  <a:lnTo>
                    <a:pt x="255" y="421"/>
                  </a:lnTo>
                  <a:lnTo>
                    <a:pt x="259" y="425"/>
                  </a:lnTo>
                  <a:lnTo>
                    <a:pt x="263" y="430"/>
                  </a:lnTo>
                  <a:lnTo>
                    <a:pt x="266" y="432"/>
                  </a:lnTo>
                  <a:lnTo>
                    <a:pt x="268" y="434"/>
                  </a:lnTo>
                  <a:lnTo>
                    <a:pt x="274" y="434"/>
                  </a:lnTo>
                  <a:lnTo>
                    <a:pt x="278" y="433"/>
                  </a:lnTo>
                  <a:lnTo>
                    <a:pt x="281" y="432"/>
                  </a:lnTo>
                  <a:lnTo>
                    <a:pt x="287" y="433"/>
                  </a:lnTo>
                  <a:lnTo>
                    <a:pt x="290" y="433"/>
                  </a:lnTo>
                  <a:lnTo>
                    <a:pt x="296" y="437"/>
                  </a:lnTo>
                  <a:lnTo>
                    <a:pt x="302" y="440"/>
                  </a:lnTo>
                  <a:lnTo>
                    <a:pt x="318" y="447"/>
                  </a:lnTo>
                  <a:lnTo>
                    <a:pt x="323" y="453"/>
                  </a:lnTo>
                  <a:lnTo>
                    <a:pt x="330" y="455"/>
                  </a:lnTo>
                  <a:lnTo>
                    <a:pt x="336" y="461"/>
                  </a:lnTo>
                  <a:lnTo>
                    <a:pt x="342" y="465"/>
                  </a:lnTo>
                  <a:lnTo>
                    <a:pt x="347" y="469"/>
                  </a:lnTo>
                  <a:lnTo>
                    <a:pt x="351" y="471"/>
                  </a:lnTo>
                  <a:lnTo>
                    <a:pt x="352" y="479"/>
                  </a:lnTo>
                  <a:lnTo>
                    <a:pt x="352" y="484"/>
                  </a:lnTo>
                  <a:lnTo>
                    <a:pt x="352" y="488"/>
                  </a:lnTo>
                  <a:lnTo>
                    <a:pt x="354" y="492"/>
                  </a:lnTo>
                  <a:lnTo>
                    <a:pt x="359" y="493"/>
                  </a:lnTo>
                  <a:lnTo>
                    <a:pt x="360" y="494"/>
                  </a:lnTo>
                  <a:lnTo>
                    <a:pt x="360" y="497"/>
                  </a:lnTo>
                  <a:lnTo>
                    <a:pt x="356" y="500"/>
                  </a:lnTo>
                  <a:lnTo>
                    <a:pt x="350" y="500"/>
                  </a:lnTo>
                  <a:lnTo>
                    <a:pt x="343" y="500"/>
                  </a:lnTo>
                  <a:lnTo>
                    <a:pt x="335" y="498"/>
                  </a:lnTo>
                  <a:lnTo>
                    <a:pt x="322" y="497"/>
                  </a:lnTo>
                  <a:lnTo>
                    <a:pt x="316" y="497"/>
                  </a:lnTo>
                  <a:lnTo>
                    <a:pt x="308" y="495"/>
                  </a:lnTo>
                  <a:lnTo>
                    <a:pt x="305" y="493"/>
                  </a:lnTo>
                  <a:lnTo>
                    <a:pt x="300" y="490"/>
                  </a:lnTo>
                  <a:lnTo>
                    <a:pt x="297" y="487"/>
                  </a:lnTo>
                  <a:lnTo>
                    <a:pt x="290" y="486"/>
                  </a:lnTo>
                  <a:lnTo>
                    <a:pt x="284" y="487"/>
                  </a:lnTo>
                  <a:lnTo>
                    <a:pt x="279" y="490"/>
                  </a:lnTo>
                  <a:lnTo>
                    <a:pt x="274" y="495"/>
                  </a:lnTo>
                  <a:lnTo>
                    <a:pt x="270" y="498"/>
                  </a:lnTo>
                  <a:lnTo>
                    <a:pt x="264" y="502"/>
                  </a:lnTo>
                  <a:lnTo>
                    <a:pt x="259" y="502"/>
                  </a:lnTo>
                  <a:lnTo>
                    <a:pt x="256" y="501"/>
                  </a:lnTo>
                  <a:lnTo>
                    <a:pt x="252" y="498"/>
                  </a:lnTo>
                  <a:lnTo>
                    <a:pt x="247" y="497"/>
                  </a:lnTo>
                  <a:lnTo>
                    <a:pt x="239" y="494"/>
                  </a:lnTo>
                  <a:lnTo>
                    <a:pt x="232" y="493"/>
                  </a:lnTo>
                  <a:lnTo>
                    <a:pt x="226" y="490"/>
                  </a:lnTo>
                  <a:lnTo>
                    <a:pt x="222" y="492"/>
                  </a:lnTo>
                  <a:lnTo>
                    <a:pt x="215" y="497"/>
                  </a:lnTo>
                  <a:lnTo>
                    <a:pt x="202" y="509"/>
                  </a:lnTo>
                  <a:lnTo>
                    <a:pt x="198" y="513"/>
                  </a:lnTo>
                  <a:lnTo>
                    <a:pt x="192" y="519"/>
                  </a:lnTo>
                  <a:lnTo>
                    <a:pt x="186" y="521"/>
                  </a:lnTo>
                  <a:lnTo>
                    <a:pt x="180" y="524"/>
                  </a:lnTo>
                  <a:lnTo>
                    <a:pt x="175" y="526"/>
                  </a:lnTo>
                  <a:lnTo>
                    <a:pt x="170" y="529"/>
                  </a:lnTo>
                  <a:lnTo>
                    <a:pt x="167" y="534"/>
                  </a:lnTo>
                  <a:lnTo>
                    <a:pt x="161" y="544"/>
                  </a:lnTo>
                  <a:lnTo>
                    <a:pt x="158" y="550"/>
                  </a:lnTo>
                  <a:lnTo>
                    <a:pt x="152" y="558"/>
                  </a:lnTo>
                  <a:lnTo>
                    <a:pt x="148" y="561"/>
                  </a:lnTo>
                  <a:lnTo>
                    <a:pt x="140" y="566"/>
                  </a:lnTo>
                  <a:lnTo>
                    <a:pt x="134" y="568"/>
                  </a:lnTo>
                  <a:lnTo>
                    <a:pt x="129" y="570"/>
                  </a:lnTo>
                  <a:lnTo>
                    <a:pt x="124" y="572"/>
                  </a:lnTo>
                  <a:lnTo>
                    <a:pt x="115" y="576"/>
                  </a:lnTo>
                  <a:lnTo>
                    <a:pt x="110" y="582"/>
                  </a:lnTo>
                  <a:lnTo>
                    <a:pt x="106" y="586"/>
                  </a:lnTo>
                  <a:lnTo>
                    <a:pt x="102" y="590"/>
                  </a:lnTo>
                  <a:lnTo>
                    <a:pt x="97" y="592"/>
                  </a:lnTo>
                  <a:lnTo>
                    <a:pt x="88" y="591"/>
                  </a:lnTo>
                  <a:lnTo>
                    <a:pt x="81" y="592"/>
                  </a:lnTo>
                  <a:lnTo>
                    <a:pt x="76" y="593"/>
                  </a:lnTo>
                  <a:lnTo>
                    <a:pt x="72" y="597"/>
                  </a:lnTo>
                  <a:lnTo>
                    <a:pt x="70" y="599"/>
                  </a:lnTo>
                  <a:lnTo>
                    <a:pt x="65" y="605"/>
                  </a:lnTo>
                  <a:lnTo>
                    <a:pt x="60" y="610"/>
                  </a:lnTo>
                  <a:lnTo>
                    <a:pt x="55" y="614"/>
                  </a:lnTo>
                  <a:lnTo>
                    <a:pt x="48" y="617"/>
                  </a:lnTo>
                  <a:lnTo>
                    <a:pt x="39" y="621"/>
                  </a:lnTo>
                  <a:lnTo>
                    <a:pt x="31" y="624"/>
                  </a:lnTo>
                  <a:lnTo>
                    <a:pt x="25" y="625"/>
                  </a:lnTo>
                  <a:lnTo>
                    <a:pt x="19" y="629"/>
                  </a:lnTo>
                  <a:lnTo>
                    <a:pt x="15" y="632"/>
                  </a:lnTo>
                  <a:lnTo>
                    <a:pt x="10" y="637"/>
                  </a:lnTo>
                  <a:lnTo>
                    <a:pt x="9" y="642"/>
                  </a:lnTo>
                  <a:lnTo>
                    <a:pt x="8" y="647"/>
                  </a:lnTo>
                  <a:lnTo>
                    <a:pt x="7" y="655"/>
                  </a:lnTo>
                  <a:lnTo>
                    <a:pt x="3" y="662"/>
                  </a:lnTo>
                  <a:lnTo>
                    <a:pt x="0" y="669"/>
                  </a:lnTo>
                  <a:lnTo>
                    <a:pt x="0" y="676"/>
                  </a:lnTo>
                  <a:lnTo>
                    <a:pt x="1" y="682"/>
                  </a:lnTo>
                  <a:lnTo>
                    <a:pt x="2" y="688"/>
                  </a:lnTo>
                  <a:lnTo>
                    <a:pt x="3" y="693"/>
                  </a:lnTo>
                  <a:lnTo>
                    <a:pt x="3" y="698"/>
                  </a:lnTo>
                  <a:lnTo>
                    <a:pt x="3" y="704"/>
                  </a:lnTo>
                  <a:lnTo>
                    <a:pt x="4" y="712"/>
                  </a:lnTo>
                  <a:lnTo>
                    <a:pt x="6" y="720"/>
                  </a:lnTo>
                  <a:lnTo>
                    <a:pt x="8" y="726"/>
                  </a:lnTo>
                  <a:lnTo>
                    <a:pt x="10" y="730"/>
                  </a:lnTo>
                  <a:lnTo>
                    <a:pt x="16" y="738"/>
                  </a:lnTo>
                  <a:lnTo>
                    <a:pt x="18" y="742"/>
                  </a:lnTo>
                  <a:lnTo>
                    <a:pt x="19" y="746"/>
                  </a:lnTo>
                  <a:lnTo>
                    <a:pt x="22" y="751"/>
                  </a:lnTo>
                  <a:lnTo>
                    <a:pt x="24" y="753"/>
                  </a:lnTo>
                  <a:lnTo>
                    <a:pt x="28" y="756"/>
                  </a:lnTo>
                  <a:lnTo>
                    <a:pt x="33" y="758"/>
                  </a:lnTo>
                  <a:lnTo>
                    <a:pt x="38" y="760"/>
                  </a:lnTo>
                  <a:lnTo>
                    <a:pt x="41" y="764"/>
                  </a:lnTo>
                  <a:lnTo>
                    <a:pt x="44" y="768"/>
                  </a:lnTo>
                  <a:lnTo>
                    <a:pt x="47" y="773"/>
                  </a:lnTo>
                  <a:lnTo>
                    <a:pt x="48" y="777"/>
                  </a:lnTo>
                  <a:lnTo>
                    <a:pt x="50" y="781"/>
                  </a:lnTo>
                  <a:lnTo>
                    <a:pt x="51" y="784"/>
                  </a:lnTo>
                  <a:lnTo>
                    <a:pt x="56" y="786"/>
                  </a:lnTo>
                  <a:lnTo>
                    <a:pt x="58" y="789"/>
                  </a:lnTo>
                  <a:lnTo>
                    <a:pt x="59" y="791"/>
                  </a:lnTo>
                  <a:lnTo>
                    <a:pt x="59" y="794"/>
                  </a:lnTo>
                  <a:lnTo>
                    <a:pt x="58" y="797"/>
                  </a:lnTo>
                  <a:lnTo>
                    <a:pt x="57" y="801"/>
                  </a:lnTo>
                  <a:lnTo>
                    <a:pt x="54" y="809"/>
                  </a:lnTo>
                  <a:lnTo>
                    <a:pt x="48" y="816"/>
                  </a:lnTo>
                  <a:lnTo>
                    <a:pt x="43" y="820"/>
                  </a:lnTo>
                  <a:lnTo>
                    <a:pt x="49" y="820"/>
                  </a:lnTo>
                  <a:lnTo>
                    <a:pt x="52" y="820"/>
                  </a:lnTo>
                  <a:lnTo>
                    <a:pt x="54" y="818"/>
                  </a:lnTo>
                  <a:lnTo>
                    <a:pt x="59" y="818"/>
                  </a:lnTo>
                  <a:lnTo>
                    <a:pt x="63" y="818"/>
                  </a:lnTo>
                  <a:lnTo>
                    <a:pt x="66" y="818"/>
                  </a:lnTo>
                  <a:lnTo>
                    <a:pt x="70" y="818"/>
                  </a:lnTo>
                  <a:lnTo>
                    <a:pt x="73" y="818"/>
                  </a:lnTo>
                  <a:lnTo>
                    <a:pt x="75" y="818"/>
                  </a:lnTo>
                  <a:lnTo>
                    <a:pt x="79" y="820"/>
                  </a:lnTo>
                  <a:lnTo>
                    <a:pt x="82" y="820"/>
                  </a:lnTo>
                  <a:lnTo>
                    <a:pt x="86" y="821"/>
                  </a:lnTo>
                  <a:lnTo>
                    <a:pt x="89" y="821"/>
                  </a:lnTo>
                  <a:lnTo>
                    <a:pt x="91" y="821"/>
                  </a:lnTo>
                  <a:lnTo>
                    <a:pt x="99" y="821"/>
                  </a:lnTo>
                  <a:lnTo>
                    <a:pt x="103" y="822"/>
                  </a:lnTo>
                  <a:lnTo>
                    <a:pt x="106" y="822"/>
                  </a:lnTo>
                  <a:lnTo>
                    <a:pt x="111" y="822"/>
                  </a:lnTo>
                  <a:lnTo>
                    <a:pt x="114" y="822"/>
                  </a:lnTo>
                  <a:lnTo>
                    <a:pt x="115" y="823"/>
                  </a:lnTo>
                  <a:lnTo>
                    <a:pt x="121" y="822"/>
                  </a:lnTo>
                  <a:lnTo>
                    <a:pt x="124" y="822"/>
                  </a:lnTo>
                  <a:lnTo>
                    <a:pt x="128" y="821"/>
                  </a:lnTo>
                  <a:lnTo>
                    <a:pt x="130" y="820"/>
                  </a:lnTo>
                  <a:lnTo>
                    <a:pt x="134" y="820"/>
                  </a:lnTo>
                  <a:lnTo>
                    <a:pt x="136" y="818"/>
                  </a:lnTo>
                  <a:lnTo>
                    <a:pt x="138" y="817"/>
                  </a:lnTo>
                  <a:lnTo>
                    <a:pt x="142" y="816"/>
                  </a:lnTo>
                  <a:lnTo>
                    <a:pt x="144" y="815"/>
                  </a:lnTo>
                  <a:lnTo>
                    <a:pt x="147" y="814"/>
                  </a:lnTo>
                  <a:lnTo>
                    <a:pt x="150" y="814"/>
                  </a:lnTo>
                  <a:lnTo>
                    <a:pt x="153" y="813"/>
                  </a:lnTo>
                  <a:lnTo>
                    <a:pt x="155" y="812"/>
                  </a:lnTo>
                  <a:lnTo>
                    <a:pt x="159" y="812"/>
                  </a:lnTo>
                  <a:lnTo>
                    <a:pt x="161" y="810"/>
                  </a:lnTo>
                  <a:lnTo>
                    <a:pt x="163" y="810"/>
                  </a:lnTo>
                  <a:lnTo>
                    <a:pt x="166" y="809"/>
                  </a:lnTo>
                  <a:lnTo>
                    <a:pt x="168" y="808"/>
                  </a:lnTo>
                  <a:lnTo>
                    <a:pt x="171" y="806"/>
                  </a:lnTo>
                  <a:lnTo>
                    <a:pt x="172" y="805"/>
                  </a:lnTo>
                  <a:lnTo>
                    <a:pt x="175" y="801"/>
                  </a:lnTo>
                  <a:lnTo>
                    <a:pt x="177" y="800"/>
                  </a:lnTo>
                  <a:lnTo>
                    <a:pt x="179" y="798"/>
                  </a:lnTo>
                  <a:lnTo>
                    <a:pt x="180" y="796"/>
                  </a:lnTo>
                  <a:lnTo>
                    <a:pt x="183" y="792"/>
                  </a:lnTo>
                  <a:lnTo>
                    <a:pt x="184" y="791"/>
                  </a:lnTo>
                  <a:lnTo>
                    <a:pt x="185" y="789"/>
                  </a:lnTo>
                  <a:lnTo>
                    <a:pt x="186" y="788"/>
                  </a:lnTo>
                  <a:lnTo>
                    <a:pt x="187" y="786"/>
                  </a:lnTo>
                  <a:lnTo>
                    <a:pt x="188" y="785"/>
                  </a:lnTo>
                  <a:lnTo>
                    <a:pt x="190" y="784"/>
                  </a:lnTo>
                  <a:lnTo>
                    <a:pt x="192" y="784"/>
                  </a:lnTo>
                  <a:lnTo>
                    <a:pt x="193" y="785"/>
                  </a:lnTo>
                  <a:lnTo>
                    <a:pt x="194" y="788"/>
                  </a:lnTo>
                  <a:lnTo>
                    <a:pt x="195" y="789"/>
                  </a:lnTo>
                  <a:lnTo>
                    <a:pt x="198" y="791"/>
                  </a:lnTo>
                  <a:lnTo>
                    <a:pt x="199" y="792"/>
                  </a:lnTo>
                  <a:lnTo>
                    <a:pt x="201" y="793"/>
                  </a:lnTo>
                  <a:lnTo>
                    <a:pt x="203" y="794"/>
                  </a:lnTo>
                  <a:lnTo>
                    <a:pt x="203" y="796"/>
                  </a:lnTo>
                  <a:lnTo>
                    <a:pt x="204" y="797"/>
                  </a:lnTo>
                  <a:lnTo>
                    <a:pt x="206" y="798"/>
                  </a:lnTo>
                  <a:lnTo>
                    <a:pt x="208" y="800"/>
                  </a:lnTo>
                  <a:lnTo>
                    <a:pt x="211" y="806"/>
                  </a:lnTo>
                  <a:lnTo>
                    <a:pt x="212" y="808"/>
                  </a:lnTo>
                  <a:lnTo>
                    <a:pt x="214" y="810"/>
                  </a:lnTo>
                  <a:lnTo>
                    <a:pt x="216" y="812"/>
                  </a:lnTo>
                  <a:lnTo>
                    <a:pt x="218" y="816"/>
                  </a:lnTo>
                  <a:lnTo>
                    <a:pt x="218" y="817"/>
                  </a:lnTo>
                  <a:lnTo>
                    <a:pt x="219" y="821"/>
                  </a:lnTo>
                  <a:lnTo>
                    <a:pt x="220" y="824"/>
                  </a:lnTo>
                  <a:lnTo>
                    <a:pt x="222" y="826"/>
                  </a:lnTo>
                  <a:lnTo>
                    <a:pt x="222" y="829"/>
                  </a:lnTo>
                  <a:lnTo>
                    <a:pt x="224" y="831"/>
                  </a:lnTo>
                  <a:lnTo>
                    <a:pt x="226" y="831"/>
                  </a:lnTo>
                  <a:lnTo>
                    <a:pt x="227" y="830"/>
                  </a:lnTo>
                  <a:lnTo>
                    <a:pt x="228" y="829"/>
                  </a:lnTo>
                  <a:lnTo>
                    <a:pt x="228" y="826"/>
                  </a:lnTo>
                  <a:lnTo>
                    <a:pt x="228" y="825"/>
                  </a:lnTo>
                  <a:lnTo>
                    <a:pt x="228" y="823"/>
                  </a:lnTo>
                  <a:lnTo>
                    <a:pt x="228" y="822"/>
                  </a:lnTo>
                  <a:lnTo>
                    <a:pt x="230" y="820"/>
                  </a:lnTo>
                  <a:lnTo>
                    <a:pt x="232" y="820"/>
                  </a:lnTo>
                  <a:lnTo>
                    <a:pt x="234" y="820"/>
                  </a:lnTo>
                  <a:lnTo>
                    <a:pt x="235" y="821"/>
                  </a:lnTo>
                  <a:lnTo>
                    <a:pt x="234" y="824"/>
                  </a:lnTo>
                  <a:lnTo>
                    <a:pt x="234" y="826"/>
                  </a:lnTo>
                  <a:lnTo>
                    <a:pt x="234" y="829"/>
                  </a:lnTo>
                  <a:lnTo>
                    <a:pt x="235" y="830"/>
                  </a:lnTo>
                  <a:lnTo>
                    <a:pt x="235" y="831"/>
                  </a:lnTo>
                  <a:lnTo>
                    <a:pt x="236" y="832"/>
                  </a:lnTo>
                  <a:lnTo>
                    <a:pt x="238" y="832"/>
                  </a:lnTo>
                  <a:lnTo>
                    <a:pt x="240" y="832"/>
                  </a:lnTo>
                  <a:lnTo>
                    <a:pt x="241" y="831"/>
                  </a:lnTo>
                  <a:lnTo>
                    <a:pt x="242" y="830"/>
                  </a:lnTo>
                  <a:lnTo>
                    <a:pt x="242" y="829"/>
                  </a:lnTo>
                  <a:lnTo>
                    <a:pt x="243" y="826"/>
                  </a:lnTo>
                  <a:lnTo>
                    <a:pt x="242" y="825"/>
                  </a:lnTo>
                  <a:lnTo>
                    <a:pt x="239" y="821"/>
                  </a:lnTo>
                  <a:lnTo>
                    <a:pt x="239" y="820"/>
                  </a:lnTo>
                  <a:lnTo>
                    <a:pt x="239" y="817"/>
                  </a:lnTo>
                  <a:lnTo>
                    <a:pt x="241" y="815"/>
                  </a:lnTo>
                  <a:lnTo>
                    <a:pt x="243" y="815"/>
                  </a:lnTo>
                  <a:lnTo>
                    <a:pt x="244" y="815"/>
                  </a:lnTo>
                  <a:lnTo>
                    <a:pt x="247" y="814"/>
                  </a:lnTo>
                  <a:lnTo>
                    <a:pt x="248" y="814"/>
                  </a:lnTo>
                  <a:lnTo>
                    <a:pt x="248" y="815"/>
                  </a:lnTo>
                  <a:lnTo>
                    <a:pt x="250" y="816"/>
                  </a:lnTo>
                  <a:lnTo>
                    <a:pt x="251" y="815"/>
                  </a:lnTo>
                  <a:lnTo>
                    <a:pt x="252" y="815"/>
                  </a:lnTo>
                  <a:lnTo>
                    <a:pt x="254" y="814"/>
                  </a:lnTo>
                  <a:lnTo>
                    <a:pt x="255" y="814"/>
                  </a:lnTo>
                  <a:lnTo>
                    <a:pt x="256" y="814"/>
                  </a:lnTo>
                  <a:lnTo>
                    <a:pt x="257" y="815"/>
                  </a:lnTo>
                  <a:lnTo>
                    <a:pt x="258" y="817"/>
                  </a:lnTo>
                  <a:lnTo>
                    <a:pt x="259" y="817"/>
                  </a:lnTo>
                  <a:lnTo>
                    <a:pt x="262" y="818"/>
                  </a:lnTo>
                  <a:lnTo>
                    <a:pt x="264" y="818"/>
                  </a:lnTo>
                  <a:lnTo>
                    <a:pt x="264" y="817"/>
                  </a:lnTo>
                  <a:lnTo>
                    <a:pt x="265" y="815"/>
                  </a:lnTo>
                  <a:lnTo>
                    <a:pt x="265" y="814"/>
                  </a:lnTo>
                  <a:lnTo>
                    <a:pt x="264" y="812"/>
                  </a:lnTo>
                  <a:lnTo>
                    <a:pt x="264" y="809"/>
                  </a:lnTo>
                  <a:lnTo>
                    <a:pt x="265" y="808"/>
                  </a:lnTo>
                  <a:lnTo>
                    <a:pt x="267" y="807"/>
                  </a:lnTo>
                  <a:lnTo>
                    <a:pt x="270" y="807"/>
                  </a:lnTo>
                  <a:lnTo>
                    <a:pt x="272" y="806"/>
                  </a:lnTo>
                  <a:lnTo>
                    <a:pt x="273" y="807"/>
                  </a:lnTo>
                  <a:lnTo>
                    <a:pt x="274" y="808"/>
                  </a:lnTo>
                  <a:lnTo>
                    <a:pt x="274" y="812"/>
                  </a:lnTo>
                  <a:lnTo>
                    <a:pt x="274" y="814"/>
                  </a:lnTo>
                  <a:lnTo>
                    <a:pt x="274" y="816"/>
                  </a:lnTo>
                  <a:lnTo>
                    <a:pt x="274" y="818"/>
                  </a:lnTo>
                  <a:lnTo>
                    <a:pt x="274" y="821"/>
                  </a:lnTo>
                  <a:lnTo>
                    <a:pt x="275" y="822"/>
                  </a:lnTo>
                  <a:lnTo>
                    <a:pt x="276" y="824"/>
                  </a:lnTo>
                  <a:lnTo>
                    <a:pt x="279" y="825"/>
                  </a:lnTo>
                  <a:lnTo>
                    <a:pt x="280" y="826"/>
                  </a:lnTo>
                  <a:lnTo>
                    <a:pt x="281" y="828"/>
                  </a:lnTo>
                  <a:lnTo>
                    <a:pt x="280" y="832"/>
                  </a:lnTo>
                  <a:lnTo>
                    <a:pt x="278" y="834"/>
                  </a:lnTo>
                  <a:lnTo>
                    <a:pt x="275" y="834"/>
                  </a:lnTo>
                  <a:lnTo>
                    <a:pt x="273" y="834"/>
                  </a:lnTo>
                  <a:lnTo>
                    <a:pt x="272" y="836"/>
                  </a:lnTo>
                  <a:lnTo>
                    <a:pt x="272" y="838"/>
                  </a:lnTo>
                  <a:lnTo>
                    <a:pt x="273" y="839"/>
                  </a:lnTo>
                  <a:lnTo>
                    <a:pt x="275" y="840"/>
                  </a:lnTo>
                  <a:lnTo>
                    <a:pt x="279" y="841"/>
                  </a:lnTo>
                  <a:lnTo>
                    <a:pt x="280" y="842"/>
                  </a:lnTo>
                  <a:lnTo>
                    <a:pt x="282" y="844"/>
                  </a:lnTo>
                  <a:lnTo>
                    <a:pt x="283" y="845"/>
                  </a:lnTo>
                  <a:lnTo>
                    <a:pt x="284" y="846"/>
                  </a:lnTo>
                  <a:lnTo>
                    <a:pt x="286" y="847"/>
                  </a:lnTo>
                  <a:lnTo>
                    <a:pt x="287" y="849"/>
                  </a:lnTo>
                  <a:lnTo>
                    <a:pt x="288" y="850"/>
                  </a:lnTo>
                  <a:lnTo>
                    <a:pt x="288" y="853"/>
                  </a:lnTo>
                  <a:lnTo>
                    <a:pt x="290" y="855"/>
                  </a:lnTo>
                  <a:lnTo>
                    <a:pt x="292" y="856"/>
                  </a:lnTo>
                  <a:lnTo>
                    <a:pt x="295" y="857"/>
                  </a:lnTo>
                  <a:lnTo>
                    <a:pt x="297" y="857"/>
                  </a:lnTo>
                  <a:lnTo>
                    <a:pt x="298" y="858"/>
                  </a:lnTo>
                  <a:lnTo>
                    <a:pt x="300" y="860"/>
                  </a:lnTo>
                  <a:lnTo>
                    <a:pt x="302" y="860"/>
                  </a:lnTo>
                  <a:lnTo>
                    <a:pt x="303" y="861"/>
                  </a:lnTo>
                  <a:lnTo>
                    <a:pt x="305" y="863"/>
                  </a:lnTo>
                  <a:lnTo>
                    <a:pt x="307" y="865"/>
                  </a:lnTo>
                  <a:lnTo>
                    <a:pt x="310" y="869"/>
                  </a:lnTo>
                  <a:lnTo>
                    <a:pt x="311" y="871"/>
                  </a:lnTo>
                  <a:lnTo>
                    <a:pt x="313" y="873"/>
                  </a:lnTo>
                  <a:lnTo>
                    <a:pt x="315" y="874"/>
                  </a:lnTo>
                  <a:lnTo>
                    <a:pt x="318" y="874"/>
                  </a:lnTo>
                  <a:lnTo>
                    <a:pt x="319" y="874"/>
                  </a:lnTo>
                  <a:lnTo>
                    <a:pt x="321" y="877"/>
                  </a:lnTo>
                  <a:lnTo>
                    <a:pt x="322" y="877"/>
                  </a:lnTo>
                  <a:lnTo>
                    <a:pt x="323" y="879"/>
                  </a:lnTo>
                  <a:lnTo>
                    <a:pt x="322" y="881"/>
                  </a:lnTo>
                  <a:lnTo>
                    <a:pt x="322" y="882"/>
                  </a:lnTo>
                  <a:lnTo>
                    <a:pt x="322" y="884"/>
                  </a:lnTo>
                  <a:lnTo>
                    <a:pt x="323" y="885"/>
                  </a:lnTo>
                  <a:lnTo>
                    <a:pt x="324" y="885"/>
                  </a:lnTo>
                  <a:lnTo>
                    <a:pt x="326" y="887"/>
                  </a:lnTo>
                  <a:lnTo>
                    <a:pt x="328" y="887"/>
                  </a:lnTo>
                  <a:lnTo>
                    <a:pt x="329" y="887"/>
                  </a:lnTo>
                  <a:lnTo>
                    <a:pt x="329" y="885"/>
                  </a:lnTo>
                  <a:lnTo>
                    <a:pt x="329" y="884"/>
                  </a:lnTo>
                  <a:lnTo>
                    <a:pt x="329" y="882"/>
                  </a:lnTo>
                  <a:lnTo>
                    <a:pt x="329" y="880"/>
                  </a:lnTo>
                  <a:lnTo>
                    <a:pt x="329" y="878"/>
                  </a:lnTo>
                  <a:lnTo>
                    <a:pt x="329" y="877"/>
                  </a:lnTo>
                  <a:lnTo>
                    <a:pt x="331" y="876"/>
                  </a:lnTo>
                  <a:lnTo>
                    <a:pt x="332" y="874"/>
                  </a:lnTo>
                  <a:lnTo>
                    <a:pt x="331" y="871"/>
                  </a:lnTo>
                  <a:lnTo>
                    <a:pt x="331" y="869"/>
                  </a:lnTo>
                  <a:lnTo>
                    <a:pt x="334" y="866"/>
                  </a:lnTo>
                  <a:lnTo>
                    <a:pt x="336" y="865"/>
                  </a:lnTo>
                  <a:lnTo>
                    <a:pt x="338" y="864"/>
                  </a:lnTo>
                  <a:lnTo>
                    <a:pt x="342" y="862"/>
                  </a:lnTo>
                  <a:lnTo>
                    <a:pt x="342" y="861"/>
                  </a:lnTo>
                  <a:lnTo>
                    <a:pt x="343" y="858"/>
                  </a:lnTo>
                  <a:lnTo>
                    <a:pt x="344" y="857"/>
                  </a:lnTo>
                  <a:lnTo>
                    <a:pt x="345" y="856"/>
                  </a:lnTo>
                  <a:lnTo>
                    <a:pt x="346" y="856"/>
                  </a:lnTo>
                  <a:lnTo>
                    <a:pt x="346" y="855"/>
                  </a:lnTo>
                  <a:lnTo>
                    <a:pt x="347" y="854"/>
                  </a:lnTo>
                  <a:lnTo>
                    <a:pt x="347" y="853"/>
                  </a:lnTo>
                  <a:lnTo>
                    <a:pt x="348" y="850"/>
                  </a:lnTo>
                  <a:lnTo>
                    <a:pt x="350" y="849"/>
                  </a:lnTo>
                  <a:lnTo>
                    <a:pt x="351" y="848"/>
                  </a:lnTo>
                  <a:lnTo>
                    <a:pt x="352" y="848"/>
                  </a:lnTo>
                  <a:lnTo>
                    <a:pt x="353" y="849"/>
                  </a:lnTo>
                  <a:lnTo>
                    <a:pt x="354" y="852"/>
                  </a:lnTo>
                  <a:lnTo>
                    <a:pt x="354" y="853"/>
                  </a:lnTo>
                  <a:lnTo>
                    <a:pt x="354" y="854"/>
                  </a:lnTo>
                  <a:lnTo>
                    <a:pt x="356" y="855"/>
                  </a:lnTo>
                  <a:lnTo>
                    <a:pt x="358" y="856"/>
                  </a:lnTo>
                  <a:lnTo>
                    <a:pt x="360" y="856"/>
                  </a:lnTo>
                  <a:lnTo>
                    <a:pt x="362" y="856"/>
                  </a:lnTo>
                  <a:lnTo>
                    <a:pt x="368" y="855"/>
                  </a:lnTo>
                  <a:lnTo>
                    <a:pt x="369" y="855"/>
                  </a:lnTo>
                  <a:lnTo>
                    <a:pt x="370" y="856"/>
                  </a:lnTo>
                  <a:lnTo>
                    <a:pt x="371" y="857"/>
                  </a:lnTo>
                  <a:lnTo>
                    <a:pt x="374" y="857"/>
                  </a:lnTo>
                  <a:lnTo>
                    <a:pt x="375" y="855"/>
                  </a:lnTo>
                  <a:lnTo>
                    <a:pt x="375" y="853"/>
                  </a:lnTo>
                  <a:lnTo>
                    <a:pt x="374" y="852"/>
                  </a:lnTo>
                  <a:lnTo>
                    <a:pt x="374" y="847"/>
                  </a:lnTo>
                  <a:lnTo>
                    <a:pt x="376" y="845"/>
                  </a:lnTo>
                  <a:lnTo>
                    <a:pt x="378" y="841"/>
                  </a:lnTo>
                  <a:lnTo>
                    <a:pt x="379" y="840"/>
                  </a:lnTo>
                  <a:lnTo>
                    <a:pt x="380" y="838"/>
                  </a:lnTo>
                  <a:lnTo>
                    <a:pt x="382" y="837"/>
                  </a:lnTo>
                  <a:lnTo>
                    <a:pt x="384" y="836"/>
                  </a:lnTo>
                  <a:lnTo>
                    <a:pt x="386" y="836"/>
                  </a:lnTo>
                  <a:lnTo>
                    <a:pt x="387" y="836"/>
                  </a:lnTo>
                  <a:lnTo>
                    <a:pt x="388" y="836"/>
                  </a:lnTo>
                  <a:lnTo>
                    <a:pt x="390" y="837"/>
                  </a:lnTo>
                  <a:lnTo>
                    <a:pt x="392" y="837"/>
                  </a:lnTo>
                  <a:lnTo>
                    <a:pt x="393" y="837"/>
                  </a:lnTo>
                  <a:lnTo>
                    <a:pt x="395" y="836"/>
                  </a:lnTo>
                  <a:lnTo>
                    <a:pt x="396" y="834"/>
                  </a:lnTo>
                  <a:lnTo>
                    <a:pt x="398" y="833"/>
                  </a:lnTo>
                  <a:lnTo>
                    <a:pt x="400" y="829"/>
                  </a:lnTo>
                  <a:lnTo>
                    <a:pt x="401" y="830"/>
                  </a:lnTo>
                  <a:lnTo>
                    <a:pt x="403" y="829"/>
                  </a:lnTo>
                  <a:lnTo>
                    <a:pt x="404" y="828"/>
                  </a:lnTo>
                  <a:lnTo>
                    <a:pt x="404" y="826"/>
                  </a:lnTo>
                  <a:lnTo>
                    <a:pt x="404" y="825"/>
                  </a:lnTo>
                  <a:lnTo>
                    <a:pt x="406" y="823"/>
                  </a:lnTo>
                  <a:lnTo>
                    <a:pt x="407" y="822"/>
                  </a:lnTo>
                  <a:lnTo>
                    <a:pt x="409" y="822"/>
                  </a:lnTo>
                  <a:lnTo>
                    <a:pt x="410" y="822"/>
                  </a:lnTo>
                  <a:lnTo>
                    <a:pt x="411" y="822"/>
                  </a:lnTo>
                  <a:lnTo>
                    <a:pt x="414" y="822"/>
                  </a:lnTo>
                  <a:lnTo>
                    <a:pt x="416" y="822"/>
                  </a:lnTo>
                  <a:lnTo>
                    <a:pt x="417" y="823"/>
                  </a:lnTo>
                  <a:lnTo>
                    <a:pt x="418" y="824"/>
                  </a:lnTo>
                  <a:lnTo>
                    <a:pt x="419" y="826"/>
                  </a:lnTo>
                  <a:lnTo>
                    <a:pt x="419" y="828"/>
                  </a:lnTo>
                  <a:lnTo>
                    <a:pt x="419" y="830"/>
                  </a:lnTo>
                  <a:lnTo>
                    <a:pt x="419" y="831"/>
                  </a:lnTo>
                  <a:lnTo>
                    <a:pt x="418" y="834"/>
                  </a:lnTo>
                  <a:lnTo>
                    <a:pt x="417" y="837"/>
                  </a:lnTo>
                  <a:lnTo>
                    <a:pt x="416" y="839"/>
                  </a:lnTo>
                  <a:lnTo>
                    <a:pt x="416" y="840"/>
                  </a:lnTo>
                  <a:lnTo>
                    <a:pt x="417" y="842"/>
                  </a:lnTo>
                  <a:lnTo>
                    <a:pt x="418" y="844"/>
                  </a:lnTo>
                  <a:lnTo>
                    <a:pt x="419" y="844"/>
                  </a:lnTo>
                  <a:lnTo>
                    <a:pt x="423" y="844"/>
                  </a:lnTo>
                  <a:lnTo>
                    <a:pt x="426" y="844"/>
                  </a:lnTo>
                  <a:lnTo>
                    <a:pt x="428" y="842"/>
                  </a:lnTo>
                  <a:lnTo>
                    <a:pt x="430" y="842"/>
                  </a:lnTo>
                  <a:lnTo>
                    <a:pt x="433" y="846"/>
                  </a:lnTo>
                  <a:lnTo>
                    <a:pt x="433" y="848"/>
                  </a:lnTo>
                  <a:lnTo>
                    <a:pt x="433" y="849"/>
                  </a:lnTo>
                  <a:lnTo>
                    <a:pt x="433" y="853"/>
                  </a:lnTo>
                  <a:lnTo>
                    <a:pt x="434" y="856"/>
                  </a:lnTo>
                  <a:lnTo>
                    <a:pt x="435" y="860"/>
                  </a:lnTo>
                  <a:lnTo>
                    <a:pt x="439" y="864"/>
                  </a:lnTo>
                  <a:lnTo>
                    <a:pt x="440" y="864"/>
                  </a:lnTo>
                  <a:lnTo>
                    <a:pt x="443" y="864"/>
                  </a:lnTo>
                  <a:lnTo>
                    <a:pt x="447" y="864"/>
                  </a:lnTo>
                  <a:lnTo>
                    <a:pt x="449" y="865"/>
                  </a:lnTo>
                  <a:lnTo>
                    <a:pt x="451" y="865"/>
                  </a:lnTo>
                  <a:lnTo>
                    <a:pt x="456" y="866"/>
                  </a:lnTo>
                  <a:lnTo>
                    <a:pt x="458" y="868"/>
                  </a:lnTo>
                  <a:lnTo>
                    <a:pt x="460" y="868"/>
                  </a:lnTo>
                  <a:lnTo>
                    <a:pt x="462" y="864"/>
                  </a:lnTo>
                  <a:lnTo>
                    <a:pt x="464" y="862"/>
                  </a:lnTo>
                  <a:lnTo>
                    <a:pt x="468" y="858"/>
                  </a:lnTo>
                  <a:lnTo>
                    <a:pt x="470" y="857"/>
                  </a:lnTo>
                  <a:lnTo>
                    <a:pt x="472" y="856"/>
                  </a:lnTo>
                  <a:lnTo>
                    <a:pt x="474" y="855"/>
                  </a:lnTo>
                  <a:lnTo>
                    <a:pt x="478" y="855"/>
                  </a:lnTo>
                  <a:lnTo>
                    <a:pt x="480" y="856"/>
                  </a:lnTo>
                  <a:lnTo>
                    <a:pt x="481" y="856"/>
                  </a:lnTo>
                  <a:lnTo>
                    <a:pt x="482" y="852"/>
                  </a:lnTo>
                  <a:lnTo>
                    <a:pt x="484" y="850"/>
                  </a:lnTo>
                  <a:lnTo>
                    <a:pt x="487" y="850"/>
                  </a:lnTo>
                  <a:lnTo>
                    <a:pt x="488" y="852"/>
                  </a:lnTo>
                  <a:lnTo>
                    <a:pt x="489" y="853"/>
                  </a:lnTo>
                  <a:lnTo>
                    <a:pt x="489" y="855"/>
                  </a:lnTo>
                  <a:lnTo>
                    <a:pt x="489" y="858"/>
                  </a:lnTo>
                  <a:lnTo>
                    <a:pt x="489" y="862"/>
                  </a:lnTo>
                  <a:lnTo>
                    <a:pt x="489" y="864"/>
                  </a:lnTo>
                  <a:lnTo>
                    <a:pt x="489" y="865"/>
                  </a:lnTo>
                  <a:lnTo>
                    <a:pt x="490" y="866"/>
                  </a:lnTo>
                  <a:lnTo>
                    <a:pt x="491" y="868"/>
                  </a:lnTo>
                  <a:lnTo>
                    <a:pt x="494" y="868"/>
                  </a:lnTo>
                  <a:lnTo>
                    <a:pt x="496" y="866"/>
                  </a:lnTo>
                  <a:lnTo>
                    <a:pt x="496" y="864"/>
                  </a:lnTo>
                  <a:lnTo>
                    <a:pt x="496" y="863"/>
                  </a:lnTo>
                  <a:lnTo>
                    <a:pt x="497" y="862"/>
                  </a:lnTo>
                  <a:lnTo>
                    <a:pt x="498" y="860"/>
                  </a:lnTo>
                  <a:lnTo>
                    <a:pt x="498" y="858"/>
                  </a:lnTo>
                  <a:lnTo>
                    <a:pt x="500" y="857"/>
                  </a:lnTo>
                  <a:lnTo>
                    <a:pt x="503" y="856"/>
                  </a:lnTo>
                  <a:lnTo>
                    <a:pt x="504" y="855"/>
                  </a:lnTo>
                  <a:lnTo>
                    <a:pt x="506" y="854"/>
                  </a:lnTo>
                  <a:lnTo>
                    <a:pt x="508" y="853"/>
                  </a:lnTo>
                  <a:lnTo>
                    <a:pt x="510" y="852"/>
                  </a:lnTo>
                  <a:lnTo>
                    <a:pt x="511" y="850"/>
                  </a:lnTo>
                  <a:lnTo>
                    <a:pt x="511" y="848"/>
                  </a:lnTo>
                  <a:lnTo>
                    <a:pt x="510" y="847"/>
                  </a:lnTo>
                  <a:lnTo>
                    <a:pt x="508" y="846"/>
                  </a:lnTo>
                  <a:lnTo>
                    <a:pt x="508" y="844"/>
                  </a:lnTo>
                  <a:lnTo>
                    <a:pt x="508" y="842"/>
                  </a:lnTo>
                  <a:lnTo>
                    <a:pt x="510" y="841"/>
                  </a:lnTo>
                  <a:lnTo>
                    <a:pt x="511" y="840"/>
                  </a:lnTo>
                  <a:lnTo>
                    <a:pt x="513" y="840"/>
                  </a:lnTo>
                  <a:lnTo>
                    <a:pt x="516" y="839"/>
                  </a:lnTo>
                  <a:lnTo>
                    <a:pt x="519" y="839"/>
                  </a:lnTo>
                  <a:lnTo>
                    <a:pt x="520" y="840"/>
                  </a:lnTo>
                  <a:lnTo>
                    <a:pt x="522" y="840"/>
                  </a:lnTo>
                  <a:lnTo>
                    <a:pt x="524" y="839"/>
                  </a:lnTo>
                  <a:lnTo>
                    <a:pt x="527" y="838"/>
                  </a:lnTo>
                  <a:lnTo>
                    <a:pt x="530" y="836"/>
                  </a:lnTo>
                  <a:lnTo>
                    <a:pt x="534" y="833"/>
                  </a:lnTo>
                  <a:lnTo>
                    <a:pt x="536" y="831"/>
                  </a:lnTo>
                  <a:lnTo>
                    <a:pt x="537" y="829"/>
                  </a:lnTo>
                  <a:lnTo>
                    <a:pt x="538" y="828"/>
                  </a:lnTo>
                  <a:lnTo>
                    <a:pt x="539" y="826"/>
                  </a:lnTo>
                  <a:lnTo>
                    <a:pt x="542" y="825"/>
                  </a:lnTo>
                  <a:lnTo>
                    <a:pt x="544" y="824"/>
                  </a:lnTo>
                  <a:lnTo>
                    <a:pt x="547" y="824"/>
                  </a:lnTo>
                  <a:lnTo>
                    <a:pt x="550" y="825"/>
                  </a:lnTo>
                  <a:lnTo>
                    <a:pt x="553" y="825"/>
                  </a:lnTo>
                  <a:lnTo>
                    <a:pt x="555" y="826"/>
                  </a:lnTo>
                  <a:lnTo>
                    <a:pt x="556" y="826"/>
                  </a:lnTo>
                  <a:lnTo>
                    <a:pt x="559" y="826"/>
                  </a:lnTo>
                  <a:lnTo>
                    <a:pt x="561" y="826"/>
                  </a:lnTo>
                  <a:lnTo>
                    <a:pt x="564" y="825"/>
                  </a:lnTo>
                  <a:lnTo>
                    <a:pt x="568" y="825"/>
                  </a:lnTo>
                  <a:lnTo>
                    <a:pt x="570" y="824"/>
                  </a:lnTo>
                  <a:lnTo>
                    <a:pt x="571" y="823"/>
                  </a:lnTo>
                  <a:lnTo>
                    <a:pt x="572" y="822"/>
                  </a:lnTo>
                  <a:lnTo>
                    <a:pt x="572" y="821"/>
                  </a:lnTo>
                  <a:lnTo>
                    <a:pt x="570" y="821"/>
                  </a:lnTo>
                  <a:lnTo>
                    <a:pt x="569" y="820"/>
                  </a:lnTo>
                  <a:lnTo>
                    <a:pt x="569" y="818"/>
                  </a:lnTo>
                  <a:lnTo>
                    <a:pt x="568" y="817"/>
                  </a:lnTo>
                  <a:lnTo>
                    <a:pt x="569" y="816"/>
                  </a:lnTo>
                  <a:lnTo>
                    <a:pt x="570" y="815"/>
                  </a:lnTo>
                  <a:lnTo>
                    <a:pt x="574" y="815"/>
                  </a:lnTo>
                  <a:lnTo>
                    <a:pt x="576" y="816"/>
                  </a:lnTo>
                  <a:lnTo>
                    <a:pt x="577" y="817"/>
                  </a:lnTo>
                  <a:lnTo>
                    <a:pt x="579" y="817"/>
                  </a:lnTo>
                  <a:lnTo>
                    <a:pt x="583" y="817"/>
                  </a:lnTo>
                  <a:lnTo>
                    <a:pt x="585" y="818"/>
                  </a:lnTo>
                  <a:lnTo>
                    <a:pt x="591" y="818"/>
                  </a:lnTo>
                  <a:lnTo>
                    <a:pt x="593" y="818"/>
                  </a:lnTo>
                  <a:lnTo>
                    <a:pt x="596" y="818"/>
                  </a:lnTo>
                  <a:lnTo>
                    <a:pt x="599" y="820"/>
                  </a:lnTo>
                  <a:lnTo>
                    <a:pt x="603" y="821"/>
                  </a:lnTo>
                  <a:lnTo>
                    <a:pt x="604" y="822"/>
                  </a:lnTo>
                  <a:lnTo>
                    <a:pt x="608" y="822"/>
                  </a:lnTo>
                  <a:lnTo>
                    <a:pt x="610" y="822"/>
                  </a:lnTo>
                  <a:lnTo>
                    <a:pt x="611" y="822"/>
                  </a:lnTo>
                  <a:lnTo>
                    <a:pt x="614" y="820"/>
                  </a:lnTo>
                  <a:lnTo>
                    <a:pt x="615" y="818"/>
                  </a:lnTo>
                  <a:lnTo>
                    <a:pt x="618" y="817"/>
                  </a:lnTo>
                  <a:lnTo>
                    <a:pt x="619" y="816"/>
                  </a:lnTo>
                  <a:lnTo>
                    <a:pt x="622" y="815"/>
                  </a:lnTo>
                  <a:lnTo>
                    <a:pt x="623" y="813"/>
                  </a:lnTo>
                  <a:lnTo>
                    <a:pt x="624" y="812"/>
                  </a:lnTo>
                  <a:lnTo>
                    <a:pt x="627" y="810"/>
                  </a:lnTo>
                  <a:lnTo>
                    <a:pt x="628" y="809"/>
                  </a:lnTo>
                  <a:lnTo>
                    <a:pt x="631" y="809"/>
                  </a:lnTo>
                  <a:lnTo>
                    <a:pt x="633" y="809"/>
                  </a:lnTo>
                  <a:lnTo>
                    <a:pt x="635" y="810"/>
                  </a:lnTo>
                  <a:lnTo>
                    <a:pt x="638" y="810"/>
                  </a:lnTo>
                  <a:lnTo>
                    <a:pt x="641" y="810"/>
                  </a:lnTo>
                  <a:lnTo>
                    <a:pt x="644" y="810"/>
                  </a:lnTo>
                  <a:lnTo>
                    <a:pt x="647" y="810"/>
                  </a:lnTo>
                  <a:lnTo>
                    <a:pt x="648" y="808"/>
                  </a:lnTo>
                  <a:lnTo>
                    <a:pt x="649" y="806"/>
                  </a:lnTo>
                  <a:lnTo>
                    <a:pt x="650" y="802"/>
                  </a:lnTo>
                  <a:lnTo>
                    <a:pt x="650" y="798"/>
                  </a:lnTo>
                  <a:lnTo>
                    <a:pt x="649" y="796"/>
                  </a:lnTo>
                  <a:lnTo>
                    <a:pt x="649" y="793"/>
                  </a:lnTo>
                  <a:lnTo>
                    <a:pt x="648" y="791"/>
                  </a:lnTo>
                  <a:lnTo>
                    <a:pt x="648" y="789"/>
                  </a:lnTo>
                  <a:lnTo>
                    <a:pt x="648" y="788"/>
                  </a:lnTo>
                  <a:lnTo>
                    <a:pt x="648" y="785"/>
                  </a:lnTo>
                  <a:lnTo>
                    <a:pt x="648" y="783"/>
                  </a:lnTo>
                  <a:lnTo>
                    <a:pt x="650" y="782"/>
                  </a:lnTo>
                  <a:lnTo>
                    <a:pt x="651" y="781"/>
                  </a:lnTo>
                  <a:lnTo>
                    <a:pt x="654" y="780"/>
                  </a:lnTo>
                  <a:lnTo>
                    <a:pt x="657" y="775"/>
                  </a:lnTo>
                  <a:lnTo>
                    <a:pt x="658" y="774"/>
                  </a:lnTo>
                  <a:lnTo>
                    <a:pt x="660" y="772"/>
                  </a:lnTo>
                  <a:lnTo>
                    <a:pt x="663" y="769"/>
                  </a:lnTo>
                  <a:lnTo>
                    <a:pt x="664" y="766"/>
                  </a:lnTo>
                  <a:lnTo>
                    <a:pt x="663" y="764"/>
                  </a:lnTo>
                  <a:lnTo>
                    <a:pt x="663" y="761"/>
                  </a:lnTo>
                  <a:lnTo>
                    <a:pt x="663" y="759"/>
                  </a:lnTo>
                  <a:lnTo>
                    <a:pt x="662" y="757"/>
                  </a:lnTo>
                  <a:lnTo>
                    <a:pt x="662" y="754"/>
                  </a:lnTo>
                  <a:lnTo>
                    <a:pt x="663" y="752"/>
                  </a:lnTo>
                  <a:lnTo>
                    <a:pt x="663" y="750"/>
                  </a:lnTo>
                  <a:lnTo>
                    <a:pt x="664" y="748"/>
                  </a:lnTo>
                  <a:lnTo>
                    <a:pt x="667" y="745"/>
                  </a:lnTo>
                  <a:lnTo>
                    <a:pt x="670" y="744"/>
                  </a:lnTo>
                  <a:lnTo>
                    <a:pt x="672" y="744"/>
                  </a:lnTo>
                  <a:lnTo>
                    <a:pt x="674" y="744"/>
                  </a:lnTo>
                  <a:lnTo>
                    <a:pt x="676" y="745"/>
                  </a:lnTo>
                  <a:lnTo>
                    <a:pt x="680" y="745"/>
                  </a:lnTo>
                  <a:lnTo>
                    <a:pt x="682" y="746"/>
                  </a:lnTo>
                  <a:lnTo>
                    <a:pt x="684" y="746"/>
                  </a:lnTo>
                  <a:lnTo>
                    <a:pt x="687" y="748"/>
                  </a:lnTo>
                  <a:lnTo>
                    <a:pt x="688" y="749"/>
                  </a:lnTo>
                  <a:lnTo>
                    <a:pt x="691" y="749"/>
                  </a:lnTo>
                  <a:lnTo>
                    <a:pt x="694" y="749"/>
                  </a:lnTo>
                  <a:lnTo>
                    <a:pt x="697" y="749"/>
                  </a:lnTo>
                  <a:lnTo>
                    <a:pt x="699" y="749"/>
                  </a:lnTo>
                  <a:lnTo>
                    <a:pt x="702" y="749"/>
                  </a:lnTo>
                  <a:lnTo>
                    <a:pt x="704" y="750"/>
                  </a:lnTo>
                  <a:lnTo>
                    <a:pt x="707" y="752"/>
                  </a:lnTo>
                  <a:lnTo>
                    <a:pt x="708" y="754"/>
                  </a:lnTo>
                  <a:lnTo>
                    <a:pt x="712" y="757"/>
                  </a:lnTo>
                  <a:lnTo>
                    <a:pt x="714" y="758"/>
                  </a:lnTo>
                  <a:lnTo>
                    <a:pt x="716" y="760"/>
                  </a:lnTo>
                  <a:lnTo>
                    <a:pt x="719" y="762"/>
                  </a:lnTo>
                  <a:lnTo>
                    <a:pt x="721" y="765"/>
                  </a:lnTo>
                  <a:lnTo>
                    <a:pt x="724" y="766"/>
                  </a:lnTo>
                  <a:lnTo>
                    <a:pt x="728" y="766"/>
                  </a:lnTo>
                  <a:lnTo>
                    <a:pt x="730" y="766"/>
                  </a:lnTo>
                  <a:lnTo>
                    <a:pt x="732" y="767"/>
                  </a:lnTo>
                  <a:lnTo>
                    <a:pt x="735" y="767"/>
                  </a:lnTo>
                  <a:lnTo>
                    <a:pt x="736" y="766"/>
                  </a:lnTo>
                  <a:lnTo>
                    <a:pt x="738" y="765"/>
                  </a:lnTo>
                  <a:lnTo>
                    <a:pt x="740" y="764"/>
                  </a:lnTo>
                  <a:lnTo>
                    <a:pt x="743" y="762"/>
                  </a:lnTo>
                  <a:lnTo>
                    <a:pt x="745" y="762"/>
                  </a:lnTo>
                  <a:lnTo>
                    <a:pt x="747" y="761"/>
                  </a:lnTo>
                  <a:lnTo>
                    <a:pt x="748" y="761"/>
                  </a:lnTo>
                  <a:lnTo>
                    <a:pt x="752" y="764"/>
                  </a:lnTo>
                  <a:lnTo>
                    <a:pt x="753" y="765"/>
                  </a:lnTo>
                  <a:lnTo>
                    <a:pt x="755" y="766"/>
                  </a:lnTo>
                  <a:lnTo>
                    <a:pt x="758" y="766"/>
                  </a:lnTo>
                  <a:lnTo>
                    <a:pt x="760" y="766"/>
                  </a:lnTo>
                  <a:lnTo>
                    <a:pt x="761" y="766"/>
                  </a:lnTo>
                  <a:lnTo>
                    <a:pt x="763" y="766"/>
                  </a:lnTo>
                  <a:lnTo>
                    <a:pt x="766" y="767"/>
                  </a:lnTo>
                  <a:lnTo>
                    <a:pt x="767" y="767"/>
                  </a:lnTo>
                  <a:lnTo>
                    <a:pt x="770" y="769"/>
                  </a:lnTo>
                  <a:lnTo>
                    <a:pt x="771" y="770"/>
                  </a:lnTo>
                  <a:lnTo>
                    <a:pt x="774" y="772"/>
                  </a:lnTo>
                  <a:lnTo>
                    <a:pt x="775" y="773"/>
                  </a:lnTo>
                  <a:lnTo>
                    <a:pt x="777" y="774"/>
                  </a:lnTo>
                  <a:lnTo>
                    <a:pt x="778" y="776"/>
                  </a:lnTo>
                  <a:lnTo>
                    <a:pt x="779" y="780"/>
                  </a:lnTo>
                  <a:lnTo>
                    <a:pt x="778" y="783"/>
                  </a:lnTo>
                  <a:lnTo>
                    <a:pt x="777" y="785"/>
                  </a:lnTo>
                  <a:lnTo>
                    <a:pt x="777" y="788"/>
                  </a:lnTo>
                  <a:lnTo>
                    <a:pt x="776" y="790"/>
                  </a:lnTo>
                  <a:lnTo>
                    <a:pt x="775" y="792"/>
                  </a:lnTo>
                  <a:lnTo>
                    <a:pt x="775" y="794"/>
                  </a:lnTo>
                  <a:lnTo>
                    <a:pt x="775" y="797"/>
                  </a:lnTo>
                  <a:lnTo>
                    <a:pt x="775" y="799"/>
                  </a:lnTo>
                  <a:lnTo>
                    <a:pt x="776" y="800"/>
                  </a:lnTo>
                  <a:lnTo>
                    <a:pt x="778" y="801"/>
                  </a:lnTo>
                  <a:lnTo>
                    <a:pt x="779" y="804"/>
                  </a:lnTo>
                  <a:lnTo>
                    <a:pt x="782" y="805"/>
                  </a:lnTo>
                  <a:lnTo>
                    <a:pt x="783" y="805"/>
                  </a:lnTo>
                  <a:lnTo>
                    <a:pt x="784" y="807"/>
                  </a:lnTo>
                  <a:lnTo>
                    <a:pt x="786" y="809"/>
                  </a:lnTo>
                  <a:lnTo>
                    <a:pt x="787" y="810"/>
                  </a:lnTo>
                  <a:lnTo>
                    <a:pt x="790" y="810"/>
                  </a:lnTo>
                  <a:lnTo>
                    <a:pt x="792" y="810"/>
                  </a:lnTo>
                  <a:lnTo>
                    <a:pt x="794" y="810"/>
                  </a:lnTo>
                  <a:lnTo>
                    <a:pt x="796" y="810"/>
                  </a:lnTo>
                  <a:lnTo>
                    <a:pt x="799" y="809"/>
                  </a:lnTo>
                  <a:lnTo>
                    <a:pt x="800" y="809"/>
                  </a:lnTo>
                  <a:lnTo>
                    <a:pt x="801" y="808"/>
                  </a:lnTo>
                  <a:lnTo>
                    <a:pt x="803" y="806"/>
                  </a:lnTo>
                  <a:lnTo>
                    <a:pt x="803" y="805"/>
                  </a:lnTo>
                  <a:lnTo>
                    <a:pt x="804" y="804"/>
                  </a:lnTo>
                  <a:lnTo>
                    <a:pt x="806" y="804"/>
                  </a:lnTo>
                  <a:lnTo>
                    <a:pt x="807" y="805"/>
                  </a:lnTo>
                  <a:lnTo>
                    <a:pt x="808" y="806"/>
                  </a:lnTo>
                  <a:lnTo>
                    <a:pt x="809" y="807"/>
                  </a:lnTo>
                  <a:lnTo>
                    <a:pt x="811" y="808"/>
                  </a:lnTo>
                  <a:lnTo>
                    <a:pt x="812" y="808"/>
                  </a:lnTo>
                  <a:lnTo>
                    <a:pt x="812" y="806"/>
                  </a:lnTo>
                  <a:lnTo>
                    <a:pt x="814" y="806"/>
                  </a:lnTo>
                  <a:lnTo>
                    <a:pt x="815" y="806"/>
                  </a:lnTo>
                  <a:lnTo>
                    <a:pt x="816" y="806"/>
                  </a:lnTo>
                  <a:lnTo>
                    <a:pt x="818" y="808"/>
                  </a:lnTo>
                  <a:lnTo>
                    <a:pt x="818" y="809"/>
                  </a:lnTo>
                  <a:lnTo>
                    <a:pt x="819" y="809"/>
                  </a:lnTo>
                  <a:lnTo>
                    <a:pt x="819" y="812"/>
                  </a:lnTo>
                  <a:lnTo>
                    <a:pt x="819" y="813"/>
                  </a:lnTo>
                  <a:lnTo>
                    <a:pt x="818" y="814"/>
                  </a:lnTo>
                  <a:lnTo>
                    <a:pt x="817" y="815"/>
                  </a:lnTo>
                  <a:lnTo>
                    <a:pt x="817" y="816"/>
                  </a:lnTo>
                  <a:lnTo>
                    <a:pt x="817" y="818"/>
                  </a:lnTo>
                  <a:lnTo>
                    <a:pt x="818" y="820"/>
                  </a:lnTo>
                  <a:lnTo>
                    <a:pt x="819" y="822"/>
                  </a:lnTo>
                  <a:lnTo>
                    <a:pt x="820" y="823"/>
                  </a:lnTo>
                  <a:lnTo>
                    <a:pt x="820" y="825"/>
                  </a:lnTo>
                  <a:lnTo>
                    <a:pt x="820" y="826"/>
                  </a:lnTo>
                  <a:lnTo>
                    <a:pt x="819" y="828"/>
                  </a:lnTo>
                  <a:lnTo>
                    <a:pt x="818" y="829"/>
                  </a:lnTo>
                  <a:lnTo>
                    <a:pt x="815" y="832"/>
                  </a:lnTo>
                  <a:lnTo>
                    <a:pt x="812" y="834"/>
                  </a:lnTo>
                  <a:lnTo>
                    <a:pt x="811" y="836"/>
                  </a:lnTo>
                  <a:lnTo>
                    <a:pt x="810" y="837"/>
                  </a:lnTo>
                  <a:lnTo>
                    <a:pt x="810" y="838"/>
                  </a:lnTo>
                  <a:lnTo>
                    <a:pt x="811" y="840"/>
                  </a:lnTo>
                  <a:lnTo>
                    <a:pt x="812" y="841"/>
                  </a:lnTo>
                  <a:lnTo>
                    <a:pt x="815" y="842"/>
                  </a:lnTo>
                  <a:lnTo>
                    <a:pt x="817" y="842"/>
                  </a:lnTo>
                  <a:lnTo>
                    <a:pt x="819" y="844"/>
                  </a:lnTo>
                  <a:lnTo>
                    <a:pt x="822" y="844"/>
                  </a:lnTo>
                  <a:lnTo>
                    <a:pt x="826" y="846"/>
                  </a:lnTo>
                  <a:lnTo>
                    <a:pt x="828" y="847"/>
                  </a:lnTo>
                  <a:lnTo>
                    <a:pt x="833" y="850"/>
                  </a:lnTo>
                  <a:lnTo>
                    <a:pt x="836" y="853"/>
                  </a:lnTo>
                  <a:lnTo>
                    <a:pt x="839" y="855"/>
                  </a:lnTo>
                  <a:lnTo>
                    <a:pt x="842" y="857"/>
                  </a:lnTo>
                  <a:lnTo>
                    <a:pt x="844" y="861"/>
                  </a:lnTo>
                  <a:lnTo>
                    <a:pt x="847" y="863"/>
                  </a:lnTo>
                  <a:lnTo>
                    <a:pt x="848" y="864"/>
                  </a:lnTo>
                  <a:lnTo>
                    <a:pt x="850" y="865"/>
                  </a:lnTo>
                  <a:lnTo>
                    <a:pt x="852" y="866"/>
                  </a:lnTo>
                  <a:lnTo>
                    <a:pt x="857" y="868"/>
                  </a:lnTo>
                  <a:lnTo>
                    <a:pt x="859" y="868"/>
                  </a:lnTo>
                  <a:lnTo>
                    <a:pt x="859" y="865"/>
                  </a:lnTo>
                  <a:lnTo>
                    <a:pt x="860" y="863"/>
                  </a:lnTo>
                  <a:lnTo>
                    <a:pt x="860" y="861"/>
                  </a:lnTo>
                  <a:lnTo>
                    <a:pt x="862" y="860"/>
                  </a:lnTo>
                  <a:lnTo>
                    <a:pt x="863" y="858"/>
                  </a:lnTo>
                  <a:lnTo>
                    <a:pt x="863" y="856"/>
                  </a:lnTo>
                  <a:lnTo>
                    <a:pt x="862" y="855"/>
                  </a:lnTo>
                  <a:lnTo>
                    <a:pt x="862" y="853"/>
                  </a:lnTo>
                  <a:lnTo>
                    <a:pt x="864" y="852"/>
                  </a:lnTo>
                  <a:lnTo>
                    <a:pt x="867" y="850"/>
                  </a:lnTo>
                  <a:lnTo>
                    <a:pt x="870" y="850"/>
                  </a:lnTo>
                  <a:lnTo>
                    <a:pt x="871" y="848"/>
                  </a:lnTo>
                  <a:lnTo>
                    <a:pt x="871" y="846"/>
                  </a:lnTo>
                  <a:lnTo>
                    <a:pt x="870" y="844"/>
                  </a:lnTo>
                  <a:lnTo>
                    <a:pt x="868" y="839"/>
                  </a:lnTo>
                  <a:lnTo>
                    <a:pt x="868" y="837"/>
                  </a:lnTo>
                  <a:lnTo>
                    <a:pt x="870" y="836"/>
                  </a:lnTo>
                  <a:lnTo>
                    <a:pt x="873" y="831"/>
                  </a:lnTo>
                  <a:lnTo>
                    <a:pt x="872" y="830"/>
                  </a:lnTo>
                  <a:lnTo>
                    <a:pt x="873" y="828"/>
                  </a:lnTo>
                  <a:lnTo>
                    <a:pt x="874" y="825"/>
                  </a:lnTo>
                  <a:lnTo>
                    <a:pt x="876" y="824"/>
                  </a:lnTo>
                  <a:lnTo>
                    <a:pt x="879" y="824"/>
                  </a:lnTo>
                  <a:lnTo>
                    <a:pt x="881" y="824"/>
                  </a:lnTo>
                  <a:lnTo>
                    <a:pt x="882" y="823"/>
                  </a:lnTo>
                  <a:lnTo>
                    <a:pt x="884" y="821"/>
                  </a:lnTo>
                  <a:lnTo>
                    <a:pt x="887" y="820"/>
                  </a:lnTo>
                  <a:lnTo>
                    <a:pt x="886" y="816"/>
                  </a:lnTo>
                  <a:lnTo>
                    <a:pt x="887" y="815"/>
                  </a:lnTo>
                  <a:lnTo>
                    <a:pt x="888" y="814"/>
                  </a:lnTo>
                  <a:lnTo>
                    <a:pt x="891" y="815"/>
                  </a:lnTo>
                  <a:lnTo>
                    <a:pt x="892" y="814"/>
                  </a:lnTo>
                  <a:lnTo>
                    <a:pt x="894" y="812"/>
                  </a:lnTo>
                  <a:lnTo>
                    <a:pt x="894" y="807"/>
                  </a:lnTo>
                  <a:lnTo>
                    <a:pt x="895" y="805"/>
                  </a:lnTo>
                  <a:lnTo>
                    <a:pt x="896" y="804"/>
                  </a:lnTo>
                  <a:lnTo>
                    <a:pt x="897" y="802"/>
                  </a:lnTo>
                  <a:lnTo>
                    <a:pt x="899" y="802"/>
                  </a:lnTo>
                  <a:lnTo>
                    <a:pt x="900" y="804"/>
                  </a:lnTo>
                  <a:lnTo>
                    <a:pt x="903" y="805"/>
                  </a:lnTo>
                  <a:lnTo>
                    <a:pt x="905" y="806"/>
                  </a:lnTo>
                  <a:lnTo>
                    <a:pt x="907" y="807"/>
                  </a:lnTo>
                  <a:lnTo>
                    <a:pt x="910" y="809"/>
                  </a:lnTo>
                  <a:lnTo>
                    <a:pt x="911" y="810"/>
                  </a:lnTo>
                  <a:lnTo>
                    <a:pt x="913" y="812"/>
                  </a:lnTo>
                  <a:lnTo>
                    <a:pt x="915" y="813"/>
                  </a:lnTo>
                  <a:lnTo>
                    <a:pt x="918" y="814"/>
                  </a:lnTo>
                  <a:lnTo>
                    <a:pt x="920" y="814"/>
                  </a:lnTo>
                  <a:lnTo>
                    <a:pt x="922" y="813"/>
                  </a:lnTo>
                  <a:lnTo>
                    <a:pt x="923" y="812"/>
                  </a:lnTo>
                  <a:lnTo>
                    <a:pt x="926" y="810"/>
                  </a:lnTo>
                  <a:lnTo>
                    <a:pt x="928" y="810"/>
                  </a:lnTo>
                  <a:lnTo>
                    <a:pt x="930" y="812"/>
                  </a:lnTo>
                  <a:lnTo>
                    <a:pt x="932" y="812"/>
                  </a:lnTo>
                  <a:lnTo>
                    <a:pt x="936" y="810"/>
                  </a:lnTo>
                  <a:lnTo>
                    <a:pt x="937" y="809"/>
                  </a:lnTo>
                  <a:lnTo>
                    <a:pt x="937" y="806"/>
                  </a:lnTo>
                  <a:lnTo>
                    <a:pt x="937" y="804"/>
                  </a:lnTo>
                  <a:lnTo>
                    <a:pt x="937" y="801"/>
                  </a:lnTo>
                  <a:lnTo>
                    <a:pt x="937" y="800"/>
                  </a:lnTo>
                  <a:lnTo>
                    <a:pt x="938" y="799"/>
                  </a:lnTo>
                  <a:lnTo>
                    <a:pt x="939" y="798"/>
                  </a:lnTo>
                  <a:lnTo>
                    <a:pt x="942" y="798"/>
                  </a:lnTo>
                  <a:lnTo>
                    <a:pt x="944" y="798"/>
                  </a:lnTo>
                  <a:lnTo>
                    <a:pt x="946" y="798"/>
                  </a:lnTo>
                  <a:lnTo>
                    <a:pt x="950" y="799"/>
                  </a:lnTo>
                  <a:lnTo>
                    <a:pt x="952" y="801"/>
                  </a:lnTo>
                  <a:lnTo>
                    <a:pt x="954" y="802"/>
                  </a:lnTo>
                  <a:lnTo>
                    <a:pt x="956" y="805"/>
                  </a:lnTo>
                  <a:lnTo>
                    <a:pt x="958" y="807"/>
                  </a:lnTo>
                  <a:lnTo>
                    <a:pt x="958" y="808"/>
                  </a:lnTo>
                  <a:lnTo>
                    <a:pt x="958" y="810"/>
                  </a:lnTo>
                  <a:lnTo>
                    <a:pt x="956" y="812"/>
                  </a:lnTo>
                  <a:lnTo>
                    <a:pt x="956" y="813"/>
                  </a:lnTo>
                  <a:lnTo>
                    <a:pt x="956" y="814"/>
                  </a:lnTo>
                  <a:lnTo>
                    <a:pt x="959" y="814"/>
                  </a:lnTo>
                  <a:lnTo>
                    <a:pt x="962" y="814"/>
                  </a:lnTo>
                  <a:lnTo>
                    <a:pt x="964" y="814"/>
                  </a:lnTo>
                  <a:lnTo>
                    <a:pt x="970" y="814"/>
                  </a:lnTo>
                  <a:lnTo>
                    <a:pt x="972" y="812"/>
                  </a:lnTo>
                  <a:lnTo>
                    <a:pt x="975" y="810"/>
                  </a:lnTo>
                  <a:lnTo>
                    <a:pt x="977" y="808"/>
                  </a:lnTo>
                  <a:lnTo>
                    <a:pt x="980" y="808"/>
                  </a:lnTo>
                  <a:lnTo>
                    <a:pt x="983" y="808"/>
                  </a:lnTo>
                  <a:lnTo>
                    <a:pt x="985" y="807"/>
                  </a:lnTo>
                  <a:lnTo>
                    <a:pt x="986" y="805"/>
                  </a:lnTo>
                  <a:lnTo>
                    <a:pt x="988" y="800"/>
                  </a:lnTo>
                  <a:lnTo>
                    <a:pt x="990" y="798"/>
                  </a:lnTo>
                  <a:lnTo>
                    <a:pt x="991" y="796"/>
                  </a:lnTo>
                  <a:lnTo>
                    <a:pt x="992" y="793"/>
                  </a:lnTo>
                  <a:lnTo>
                    <a:pt x="993" y="792"/>
                  </a:lnTo>
                  <a:lnTo>
                    <a:pt x="994" y="791"/>
                  </a:lnTo>
                  <a:lnTo>
                    <a:pt x="996" y="792"/>
                  </a:lnTo>
                  <a:lnTo>
                    <a:pt x="998" y="793"/>
                  </a:lnTo>
                  <a:lnTo>
                    <a:pt x="998" y="796"/>
                  </a:lnTo>
                  <a:lnTo>
                    <a:pt x="1000" y="796"/>
                  </a:lnTo>
                  <a:lnTo>
                    <a:pt x="1002" y="796"/>
                  </a:lnTo>
                  <a:lnTo>
                    <a:pt x="1004" y="796"/>
                  </a:lnTo>
                  <a:lnTo>
                    <a:pt x="1008" y="796"/>
                  </a:lnTo>
                  <a:lnTo>
                    <a:pt x="1009" y="797"/>
                  </a:lnTo>
                  <a:lnTo>
                    <a:pt x="1014" y="798"/>
                  </a:lnTo>
                  <a:lnTo>
                    <a:pt x="1016" y="798"/>
                  </a:lnTo>
                  <a:lnTo>
                    <a:pt x="1018" y="798"/>
                  </a:lnTo>
                  <a:lnTo>
                    <a:pt x="1020" y="799"/>
                  </a:lnTo>
                  <a:lnTo>
                    <a:pt x="1023" y="798"/>
                  </a:lnTo>
                  <a:lnTo>
                    <a:pt x="1025" y="798"/>
                  </a:lnTo>
                  <a:lnTo>
                    <a:pt x="1026" y="798"/>
                  </a:lnTo>
                  <a:lnTo>
                    <a:pt x="1027" y="797"/>
                  </a:lnTo>
                  <a:lnTo>
                    <a:pt x="1027" y="794"/>
                  </a:lnTo>
                  <a:lnTo>
                    <a:pt x="1026" y="792"/>
                  </a:lnTo>
                  <a:lnTo>
                    <a:pt x="1026" y="790"/>
                  </a:lnTo>
                  <a:lnTo>
                    <a:pt x="1027" y="783"/>
                  </a:lnTo>
                  <a:lnTo>
                    <a:pt x="1028" y="776"/>
                  </a:lnTo>
                  <a:lnTo>
                    <a:pt x="1030" y="774"/>
                  </a:lnTo>
                  <a:lnTo>
                    <a:pt x="1030" y="772"/>
                  </a:lnTo>
                  <a:lnTo>
                    <a:pt x="1030" y="769"/>
                  </a:lnTo>
                  <a:lnTo>
                    <a:pt x="1030" y="768"/>
                  </a:lnTo>
                  <a:lnTo>
                    <a:pt x="1032" y="762"/>
                  </a:lnTo>
                  <a:lnTo>
                    <a:pt x="1032" y="761"/>
                  </a:lnTo>
                  <a:lnTo>
                    <a:pt x="1033" y="759"/>
                  </a:lnTo>
                  <a:lnTo>
                    <a:pt x="1034" y="758"/>
                  </a:lnTo>
                  <a:lnTo>
                    <a:pt x="1035" y="757"/>
                  </a:lnTo>
                  <a:lnTo>
                    <a:pt x="1038" y="756"/>
                  </a:lnTo>
                  <a:lnTo>
                    <a:pt x="1039" y="756"/>
                  </a:lnTo>
                  <a:lnTo>
                    <a:pt x="1041" y="754"/>
                  </a:lnTo>
                  <a:lnTo>
                    <a:pt x="1042" y="753"/>
                  </a:lnTo>
                  <a:lnTo>
                    <a:pt x="1042" y="752"/>
                  </a:lnTo>
                  <a:lnTo>
                    <a:pt x="1041" y="751"/>
                  </a:lnTo>
                  <a:lnTo>
                    <a:pt x="1040" y="749"/>
                  </a:lnTo>
                  <a:lnTo>
                    <a:pt x="1038" y="749"/>
                  </a:lnTo>
                  <a:lnTo>
                    <a:pt x="1034" y="748"/>
                  </a:lnTo>
                  <a:lnTo>
                    <a:pt x="1033" y="748"/>
                  </a:lnTo>
                  <a:lnTo>
                    <a:pt x="1032" y="746"/>
                  </a:lnTo>
                  <a:lnTo>
                    <a:pt x="1031" y="745"/>
                  </a:lnTo>
                  <a:lnTo>
                    <a:pt x="1032" y="743"/>
                  </a:lnTo>
                  <a:lnTo>
                    <a:pt x="1034" y="738"/>
                  </a:lnTo>
                  <a:lnTo>
                    <a:pt x="1035" y="737"/>
                  </a:lnTo>
                  <a:lnTo>
                    <a:pt x="1035" y="736"/>
                  </a:lnTo>
                  <a:lnTo>
                    <a:pt x="1035" y="734"/>
                  </a:lnTo>
                  <a:lnTo>
                    <a:pt x="1035" y="732"/>
                  </a:lnTo>
                  <a:lnTo>
                    <a:pt x="1035" y="729"/>
                  </a:lnTo>
                  <a:lnTo>
                    <a:pt x="1036" y="727"/>
                  </a:lnTo>
                  <a:lnTo>
                    <a:pt x="1039" y="726"/>
                  </a:lnTo>
                  <a:lnTo>
                    <a:pt x="1041" y="726"/>
                  </a:lnTo>
                  <a:lnTo>
                    <a:pt x="1042" y="724"/>
                  </a:lnTo>
                  <a:lnTo>
                    <a:pt x="1042" y="721"/>
                  </a:lnTo>
                  <a:lnTo>
                    <a:pt x="1043" y="719"/>
                  </a:lnTo>
                  <a:lnTo>
                    <a:pt x="1043" y="713"/>
                  </a:lnTo>
                  <a:lnTo>
                    <a:pt x="1042" y="708"/>
                  </a:lnTo>
                  <a:lnTo>
                    <a:pt x="1042" y="704"/>
                  </a:lnTo>
                  <a:lnTo>
                    <a:pt x="1042" y="702"/>
                  </a:lnTo>
                  <a:lnTo>
                    <a:pt x="1042" y="700"/>
                  </a:lnTo>
                  <a:lnTo>
                    <a:pt x="1041" y="695"/>
                  </a:lnTo>
                  <a:lnTo>
                    <a:pt x="1041" y="692"/>
                  </a:lnTo>
                  <a:lnTo>
                    <a:pt x="1042" y="689"/>
                  </a:lnTo>
                  <a:lnTo>
                    <a:pt x="1043" y="687"/>
                  </a:lnTo>
                  <a:lnTo>
                    <a:pt x="1048" y="681"/>
                  </a:lnTo>
                  <a:lnTo>
                    <a:pt x="1050" y="679"/>
                  </a:lnTo>
                  <a:lnTo>
                    <a:pt x="1052" y="677"/>
                  </a:lnTo>
                  <a:lnTo>
                    <a:pt x="1056" y="674"/>
                  </a:lnTo>
                  <a:lnTo>
                    <a:pt x="1059" y="669"/>
                  </a:lnTo>
                  <a:lnTo>
                    <a:pt x="1062" y="665"/>
                  </a:lnTo>
                  <a:lnTo>
                    <a:pt x="1064" y="664"/>
                  </a:lnTo>
                  <a:lnTo>
                    <a:pt x="1067" y="663"/>
                  </a:lnTo>
                  <a:lnTo>
                    <a:pt x="1071" y="664"/>
                  </a:lnTo>
                  <a:lnTo>
                    <a:pt x="1075" y="665"/>
                  </a:lnTo>
                  <a:lnTo>
                    <a:pt x="1078" y="665"/>
                  </a:lnTo>
                  <a:lnTo>
                    <a:pt x="1081" y="665"/>
                  </a:lnTo>
                  <a:lnTo>
                    <a:pt x="1083" y="665"/>
                  </a:lnTo>
                  <a:lnTo>
                    <a:pt x="1087" y="665"/>
                  </a:lnTo>
                  <a:lnTo>
                    <a:pt x="1089" y="665"/>
                  </a:lnTo>
                  <a:lnTo>
                    <a:pt x="1090" y="664"/>
                  </a:lnTo>
                  <a:lnTo>
                    <a:pt x="1090" y="662"/>
                  </a:lnTo>
                  <a:lnTo>
                    <a:pt x="1090" y="661"/>
                  </a:lnTo>
                  <a:lnTo>
                    <a:pt x="1092" y="658"/>
                  </a:lnTo>
                  <a:lnTo>
                    <a:pt x="1094" y="656"/>
                  </a:lnTo>
                  <a:lnTo>
                    <a:pt x="1094" y="654"/>
                  </a:lnTo>
                  <a:lnTo>
                    <a:pt x="1094" y="650"/>
                  </a:lnTo>
                  <a:lnTo>
                    <a:pt x="1092" y="647"/>
                  </a:lnTo>
                  <a:lnTo>
                    <a:pt x="1092" y="645"/>
                  </a:lnTo>
                  <a:lnTo>
                    <a:pt x="1091" y="642"/>
                  </a:lnTo>
                  <a:lnTo>
                    <a:pt x="1090" y="640"/>
                  </a:lnTo>
                  <a:lnTo>
                    <a:pt x="1091" y="638"/>
                  </a:lnTo>
                  <a:lnTo>
                    <a:pt x="1092" y="637"/>
                  </a:lnTo>
                  <a:lnTo>
                    <a:pt x="1094" y="634"/>
                  </a:lnTo>
                  <a:lnTo>
                    <a:pt x="1096" y="632"/>
                  </a:lnTo>
                  <a:lnTo>
                    <a:pt x="1097" y="631"/>
                  </a:lnTo>
                  <a:lnTo>
                    <a:pt x="1098" y="631"/>
                  </a:lnTo>
                  <a:lnTo>
                    <a:pt x="1100" y="631"/>
                  </a:lnTo>
                  <a:lnTo>
                    <a:pt x="1103" y="632"/>
                  </a:lnTo>
                  <a:lnTo>
                    <a:pt x="1105" y="632"/>
                  </a:lnTo>
                  <a:lnTo>
                    <a:pt x="1106" y="630"/>
                  </a:lnTo>
                  <a:lnTo>
                    <a:pt x="1106" y="628"/>
                  </a:lnTo>
                  <a:lnTo>
                    <a:pt x="1106" y="626"/>
                  </a:lnTo>
                  <a:lnTo>
                    <a:pt x="1105" y="625"/>
                  </a:lnTo>
                  <a:lnTo>
                    <a:pt x="1107" y="624"/>
                  </a:lnTo>
                  <a:lnTo>
                    <a:pt x="1110" y="624"/>
                  </a:lnTo>
                  <a:lnTo>
                    <a:pt x="1112" y="626"/>
                  </a:lnTo>
                  <a:lnTo>
                    <a:pt x="1113" y="628"/>
                  </a:lnTo>
                  <a:lnTo>
                    <a:pt x="1116" y="629"/>
                  </a:lnTo>
                  <a:lnTo>
                    <a:pt x="1120" y="629"/>
                  </a:lnTo>
                  <a:lnTo>
                    <a:pt x="1122" y="630"/>
                  </a:lnTo>
                  <a:lnTo>
                    <a:pt x="1124" y="631"/>
                  </a:lnTo>
                  <a:lnTo>
                    <a:pt x="1126" y="632"/>
                  </a:lnTo>
                  <a:lnTo>
                    <a:pt x="1127" y="633"/>
                  </a:lnTo>
                  <a:lnTo>
                    <a:pt x="1128" y="634"/>
                  </a:lnTo>
                  <a:lnTo>
                    <a:pt x="1130" y="636"/>
                  </a:lnTo>
                  <a:lnTo>
                    <a:pt x="1131" y="636"/>
                  </a:lnTo>
                  <a:lnTo>
                    <a:pt x="1134" y="634"/>
                  </a:lnTo>
                  <a:lnTo>
                    <a:pt x="1136" y="632"/>
                  </a:lnTo>
                  <a:lnTo>
                    <a:pt x="1140" y="626"/>
                  </a:lnTo>
                  <a:lnTo>
                    <a:pt x="1143" y="623"/>
                  </a:lnTo>
                  <a:lnTo>
                    <a:pt x="1143" y="622"/>
                  </a:lnTo>
                  <a:lnTo>
                    <a:pt x="1143" y="620"/>
                  </a:lnTo>
                  <a:lnTo>
                    <a:pt x="1142" y="617"/>
                  </a:lnTo>
                  <a:lnTo>
                    <a:pt x="1142" y="616"/>
                  </a:lnTo>
                  <a:lnTo>
                    <a:pt x="1140" y="614"/>
                  </a:lnTo>
                  <a:lnTo>
                    <a:pt x="1140" y="612"/>
                  </a:lnTo>
                  <a:lnTo>
                    <a:pt x="1139" y="610"/>
                  </a:lnTo>
                  <a:lnTo>
                    <a:pt x="1138" y="609"/>
                  </a:lnTo>
                  <a:lnTo>
                    <a:pt x="1138" y="607"/>
                  </a:lnTo>
                  <a:lnTo>
                    <a:pt x="1138" y="606"/>
                  </a:lnTo>
                  <a:lnTo>
                    <a:pt x="1140" y="606"/>
                  </a:lnTo>
                  <a:lnTo>
                    <a:pt x="1144" y="607"/>
                  </a:lnTo>
                  <a:lnTo>
                    <a:pt x="1146" y="608"/>
                  </a:lnTo>
                  <a:lnTo>
                    <a:pt x="1151" y="610"/>
                  </a:lnTo>
                  <a:lnTo>
                    <a:pt x="1152" y="612"/>
                  </a:lnTo>
                  <a:lnTo>
                    <a:pt x="1154" y="612"/>
                  </a:lnTo>
                  <a:lnTo>
                    <a:pt x="1154" y="609"/>
                  </a:lnTo>
                  <a:lnTo>
                    <a:pt x="1154" y="607"/>
                  </a:lnTo>
                  <a:lnTo>
                    <a:pt x="1154" y="605"/>
                  </a:lnTo>
                  <a:lnTo>
                    <a:pt x="1154" y="602"/>
                  </a:lnTo>
                  <a:lnTo>
                    <a:pt x="1155" y="600"/>
                  </a:lnTo>
                  <a:lnTo>
                    <a:pt x="1156" y="599"/>
                  </a:lnTo>
                  <a:lnTo>
                    <a:pt x="1159" y="597"/>
                  </a:lnTo>
                  <a:lnTo>
                    <a:pt x="1160" y="596"/>
                  </a:lnTo>
                  <a:lnTo>
                    <a:pt x="1161" y="596"/>
                  </a:lnTo>
                  <a:lnTo>
                    <a:pt x="1163" y="596"/>
                  </a:lnTo>
                  <a:lnTo>
                    <a:pt x="1164" y="597"/>
                  </a:lnTo>
                  <a:lnTo>
                    <a:pt x="1166" y="598"/>
                  </a:lnTo>
                  <a:lnTo>
                    <a:pt x="1167" y="600"/>
                  </a:lnTo>
                  <a:lnTo>
                    <a:pt x="1169" y="600"/>
                  </a:lnTo>
                  <a:lnTo>
                    <a:pt x="1171" y="601"/>
                  </a:lnTo>
                  <a:lnTo>
                    <a:pt x="1172" y="602"/>
                  </a:lnTo>
                  <a:lnTo>
                    <a:pt x="1175" y="604"/>
                  </a:lnTo>
                  <a:lnTo>
                    <a:pt x="1177" y="605"/>
                  </a:lnTo>
                  <a:lnTo>
                    <a:pt x="1180" y="605"/>
                  </a:lnTo>
                  <a:lnTo>
                    <a:pt x="1184" y="605"/>
                  </a:lnTo>
                  <a:lnTo>
                    <a:pt x="1188" y="606"/>
                  </a:lnTo>
                  <a:lnTo>
                    <a:pt x="1192" y="606"/>
                  </a:lnTo>
                  <a:lnTo>
                    <a:pt x="1194" y="607"/>
                  </a:lnTo>
                  <a:lnTo>
                    <a:pt x="1203" y="613"/>
                  </a:lnTo>
                  <a:lnTo>
                    <a:pt x="1208" y="614"/>
                  </a:lnTo>
                  <a:lnTo>
                    <a:pt x="1212" y="617"/>
                  </a:lnTo>
                  <a:lnTo>
                    <a:pt x="1214" y="620"/>
                  </a:lnTo>
                  <a:lnTo>
                    <a:pt x="1216" y="622"/>
                  </a:lnTo>
                  <a:lnTo>
                    <a:pt x="1219" y="623"/>
                  </a:lnTo>
                  <a:lnTo>
                    <a:pt x="1223" y="625"/>
                  </a:lnTo>
                  <a:lnTo>
                    <a:pt x="1225" y="628"/>
                  </a:lnTo>
                  <a:lnTo>
                    <a:pt x="1227" y="629"/>
                  </a:lnTo>
                  <a:lnTo>
                    <a:pt x="1234" y="633"/>
                  </a:lnTo>
                  <a:lnTo>
                    <a:pt x="1239" y="629"/>
                  </a:lnTo>
                  <a:lnTo>
                    <a:pt x="1243" y="626"/>
                  </a:lnTo>
                  <a:lnTo>
                    <a:pt x="1249" y="625"/>
                  </a:lnTo>
                  <a:lnTo>
                    <a:pt x="1254" y="621"/>
                  </a:lnTo>
                  <a:lnTo>
                    <a:pt x="1254" y="617"/>
                  </a:lnTo>
                  <a:lnTo>
                    <a:pt x="1254" y="613"/>
                  </a:lnTo>
                  <a:lnTo>
                    <a:pt x="1250" y="608"/>
                  </a:lnTo>
                  <a:lnTo>
                    <a:pt x="1246" y="604"/>
                  </a:lnTo>
                  <a:lnTo>
                    <a:pt x="1242" y="600"/>
                  </a:lnTo>
                  <a:lnTo>
                    <a:pt x="1238" y="596"/>
                  </a:lnTo>
                  <a:lnTo>
                    <a:pt x="1236" y="592"/>
                  </a:lnTo>
                  <a:lnTo>
                    <a:pt x="1236" y="588"/>
                  </a:lnTo>
                  <a:lnTo>
                    <a:pt x="1239" y="584"/>
                  </a:lnTo>
                  <a:lnTo>
                    <a:pt x="1240" y="582"/>
                  </a:lnTo>
                  <a:lnTo>
                    <a:pt x="1243" y="580"/>
                  </a:lnTo>
                  <a:lnTo>
                    <a:pt x="1246" y="575"/>
                  </a:lnTo>
                  <a:lnTo>
                    <a:pt x="1247" y="569"/>
                  </a:lnTo>
                  <a:lnTo>
                    <a:pt x="1248" y="566"/>
                  </a:lnTo>
                  <a:lnTo>
                    <a:pt x="1250" y="565"/>
                  </a:lnTo>
                  <a:lnTo>
                    <a:pt x="1254" y="565"/>
                  </a:lnTo>
                  <a:lnTo>
                    <a:pt x="1260" y="556"/>
                  </a:lnTo>
                  <a:lnTo>
                    <a:pt x="1264" y="552"/>
                  </a:lnTo>
                  <a:lnTo>
                    <a:pt x="1268" y="549"/>
                  </a:lnTo>
                  <a:lnTo>
                    <a:pt x="1271" y="548"/>
                  </a:lnTo>
                  <a:lnTo>
                    <a:pt x="1274" y="548"/>
                  </a:lnTo>
                  <a:lnTo>
                    <a:pt x="1276" y="548"/>
                  </a:lnTo>
                  <a:lnTo>
                    <a:pt x="1281" y="550"/>
                  </a:lnTo>
                  <a:lnTo>
                    <a:pt x="1286" y="553"/>
                  </a:lnTo>
                  <a:lnTo>
                    <a:pt x="1290" y="557"/>
                  </a:lnTo>
                  <a:lnTo>
                    <a:pt x="1295" y="560"/>
                  </a:lnTo>
                  <a:lnTo>
                    <a:pt x="1300" y="560"/>
                  </a:lnTo>
                  <a:lnTo>
                    <a:pt x="1305" y="559"/>
                  </a:lnTo>
                  <a:lnTo>
                    <a:pt x="1310" y="553"/>
                  </a:lnTo>
                  <a:lnTo>
                    <a:pt x="1307" y="544"/>
                  </a:lnTo>
                  <a:lnTo>
                    <a:pt x="1303" y="536"/>
                  </a:lnTo>
                  <a:lnTo>
                    <a:pt x="1303" y="532"/>
                  </a:lnTo>
                  <a:lnTo>
                    <a:pt x="1305" y="525"/>
                  </a:lnTo>
                  <a:lnTo>
                    <a:pt x="1307" y="519"/>
                  </a:lnTo>
                  <a:lnTo>
                    <a:pt x="1312" y="512"/>
                  </a:lnTo>
                  <a:lnTo>
                    <a:pt x="1308" y="508"/>
                  </a:lnTo>
                  <a:lnTo>
                    <a:pt x="1304" y="503"/>
                  </a:lnTo>
                  <a:lnTo>
                    <a:pt x="1297" y="501"/>
                  </a:lnTo>
                  <a:lnTo>
                    <a:pt x="1288" y="498"/>
                  </a:lnTo>
                  <a:lnTo>
                    <a:pt x="1284" y="495"/>
                  </a:lnTo>
                  <a:lnTo>
                    <a:pt x="1282" y="489"/>
                  </a:lnTo>
                  <a:lnTo>
                    <a:pt x="1276" y="484"/>
                  </a:lnTo>
                  <a:lnTo>
                    <a:pt x="1272" y="480"/>
                  </a:lnTo>
                  <a:lnTo>
                    <a:pt x="1270" y="477"/>
                  </a:lnTo>
                  <a:lnTo>
                    <a:pt x="1271" y="473"/>
                  </a:lnTo>
                  <a:lnTo>
                    <a:pt x="1270" y="466"/>
                  </a:lnTo>
                  <a:lnTo>
                    <a:pt x="1268" y="461"/>
                  </a:lnTo>
                  <a:lnTo>
                    <a:pt x="1264" y="458"/>
                  </a:lnTo>
                  <a:lnTo>
                    <a:pt x="1258" y="455"/>
                  </a:lnTo>
                  <a:lnTo>
                    <a:pt x="1252" y="454"/>
                  </a:lnTo>
                  <a:lnTo>
                    <a:pt x="1248" y="453"/>
                  </a:lnTo>
                  <a:lnTo>
                    <a:pt x="1246" y="449"/>
                  </a:lnTo>
                  <a:lnTo>
                    <a:pt x="1247" y="442"/>
                  </a:lnTo>
                  <a:lnTo>
                    <a:pt x="1247" y="437"/>
                  </a:lnTo>
                  <a:lnTo>
                    <a:pt x="1250" y="424"/>
                  </a:lnTo>
                  <a:lnTo>
                    <a:pt x="1256" y="416"/>
                  </a:lnTo>
                  <a:lnTo>
                    <a:pt x="1256" y="414"/>
                  </a:lnTo>
                  <a:lnTo>
                    <a:pt x="1257" y="409"/>
                  </a:lnTo>
                  <a:lnTo>
                    <a:pt x="1258" y="407"/>
                  </a:lnTo>
                  <a:lnTo>
                    <a:pt x="1264" y="401"/>
                  </a:lnTo>
                  <a:lnTo>
                    <a:pt x="1267" y="397"/>
                  </a:lnTo>
                  <a:lnTo>
                    <a:pt x="1278" y="385"/>
                  </a:lnTo>
                  <a:lnTo>
                    <a:pt x="1287" y="380"/>
                  </a:lnTo>
                  <a:lnTo>
                    <a:pt x="1290" y="377"/>
                  </a:lnTo>
                  <a:lnTo>
                    <a:pt x="1295" y="375"/>
                  </a:lnTo>
                  <a:lnTo>
                    <a:pt x="1303" y="370"/>
                  </a:lnTo>
                  <a:lnTo>
                    <a:pt x="1313" y="367"/>
                  </a:lnTo>
                  <a:lnTo>
                    <a:pt x="1329" y="356"/>
                  </a:lnTo>
                  <a:lnTo>
                    <a:pt x="1330" y="350"/>
                  </a:lnTo>
                  <a:lnTo>
                    <a:pt x="1334" y="346"/>
                  </a:lnTo>
                  <a:lnTo>
                    <a:pt x="1335" y="345"/>
                  </a:lnTo>
                  <a:lnTo>
                    <a:pt x="1339" y="343"/>
                  </a:lnTo>
                  <a:lnTo>
                    <a:pt x="1343" y="342"/>
                  </a:lnTo>
                  <a:lnTo>
                    <a:pt x="1346" y="341"/>
                  </a:lnTo>
                  <a:lnTo>
                    <a:pt x="1352" y="335"/>
                  </a:lnTo>
                  <a:lnTo>
                    <a:pt x="1359" y="328"/>
                  </a:lnTo>
                  <a:lnTo>
                    <a:pt x="1363" y="327"/>
                  </a:lnTo>
                  <a:lnTo>
                    <a:pt x="1368" y="321"/>
                  </a:lnTo>
                  <a:lnTo>
                    <a:pt x="1369" y="318"/>
                  </a:lnTo>
                  <a:lnTo>
                    <a:pt x="1369" y="314"/>
                  </a:lnTo>
                  <a:lnTo>
                    <a:pt x="1367" y="309"/>
                  </a:lnTo>
                  <a:lnTo>
                    <a:pt x="1366" y="306"/>
                  </a:lnTo>
                  <a:lnTo>
                    <a:pt x="1364" y="305"/>
                  </a:lnTo>
                  <a:lnTo>
                    <a:pt x="1362" y="300"/>
                  </a:lnTo>
                  <a:lnTo>
                    <a:pt x="1360" y="297"/>
                  </a:lnTo>
                  <a:lnTo>
                    <a:pt x="1359" y="296"/>
                  </a:lnTo>
                  <a:lnTo>
                    <a:pt x="1356" y="294"/>
                  </a:lnTo>
                  <a:lnTo>
                    <a:pt x="1354" y="294"/>
                  </a:lnTo>
                  <a:lnTo>
                    <a:pt x="1352" y="292"/>
                  </a:lnTo>
                  <a:lnTo>
                    <a:pt x="1350" y="290"/>
                  </a:lnTo>
                  <a:lnTo>
                    <a:pt x="1348" y="288"/>
                  </a:lnTo>
                  <a:lnTo>
                    <a:pt x="1348" y="286"/>
                  </a:lnTo>
                  <a:lnTo>
                    <a:pt x="1347" y="284"/>
                  </a:lnTo>
                  <a:lnTo>
                    <a:pt x="1346" y="280"/>
                  </a:lnTo>
                  <a:lnTo>
                    <a:pt x="1343" y="276"/>
                  </a:lnTo>
                  <a:lnTo>
                    <a:pt x="1340" y="273"/>
                  </a:lnTo>
                  <a:lnTo>
                    <a:pt x="1336" y="271"/>
                  </a:lnTo>
                  <a:lnTo>
                    <a:pt x="1326" y="270"/>
                  </a:lnTo>
                  <a:lnTo>
                    <a:pt x="1316" y="266"/>
                  </a:lnTo>
                  <a:lnTo>
                    <a:pt x="1315" y="272"/>
                  </a:lnTo>
                  <a:lnTo>
                    <a:pt x="1315" y="278"/>
                  </a:lnTo>
                  <a:lnTo>
                    <a:pt x="1314" y="282"/>
                  </a:lnTo>
                  <a:lnTo>
                    <a:pt x="1314" y="286"/>
                  </a:lnTo>
                  <a:lnTo>
                    <a:pt x="1314" y="292"/>
                  </a:lnTo>
                  <a:lnTo>
                    <a:pt x="1313" y="295"/>
                  </a:lnTo>
                  <a:lnTo>
                    <a:pt x="1311" y="297"/>
                  </a:lnTo>
                  <a:lnTo>
                    <a:pt x="1308" y="300"/>
                  </a:lnTo>
                  <a:lnTo>
                    <a:pt x="1305" y="301"/>
                  </a:lnTo>
                  <a:lnTo>
                    <a:pt x="1300" y="304"/>
                  </a:lnTo>
                  <a:lnTo>
                    <a:pt x="1298" y="308"/>
                  </a:lnTo>
                  <a:lnTo>
                    <a:pt x="1296" y="310"/>
                  </a:lnTo>
                  <a:lnTo>
                    <a:pt x="1292" y="313"/>
                  </a:lnTo>
                  <a:lnTo>
                    <a:pt x="1290" y="316"/>
                  </a:lnTo>
                  <a:lnTo>
                    <a:pt x="1288" y="317"/>
                  </a:lnTo>
                  <a:lnTo>
                    <a:pt x="1286" y="317"/>
                  </a:lnTo>
                  <a:lnTo>
                    <a:pt x="1283" y="312"/>
                  </a:lnTo>
                  <a:lnTo>
                    <a:pt x="1281" y="309"/>
                  </a:lnTo>
                  <a:lnTo>
                    <a:pt x="1279" y="306"/>
                  </a:lnTo>
                  <a:lnTo>
                    <a:pt x="1275" y="304"/>
                  </a:lnTo>
                  <a:lnTo>
                    <a:pt x="1271" y="301"/>
                  </a:lnTo>
                  <a:lnTo>
                    <a:pt x="1270" y="297"/>
                  </a:lnTo>
                  <a:lnTo>
                    <a:pt x="1270" y="294"/>
                  </a:lnTo>
                  <a:lnTo>
                    <a:pt x="1270" y="290"/>
                  </a:lnTo>
                  <a:lnTo>
                    <a:pt x="1268" y="288"/>
                  </a:lnTo>
                  <a:lnTo>
                    <a:pt x="1267" y="286"/>
                  </a:lnTo>
                  <a:lnTo>
                    <a:pt x="1265" y="284"/>
                  </a:lnTo>
                  <a:lnTo>
                    <a:pt x="1262" y="281"/>
                  </a:lnTo>
                  <a:lnTo>
                    <a:pt x="1259" y="279"/>
                  </a:lnTo>
                  <a:lnTo>
                    <a:pt x="1256" y="282"/>
                  </a:lnTo>
                  <a:lnTo>
                    <a:pt x="1252" y="285"/>
                  </a:lnTo>
                  <a:lnTo>
                    <a:pt x="1249" y="287"/>
                  </a:lnTo>
                  <a:lnTo>
                    <a:pt x="1246" y="288"/>
                  </a:lnTo>
                  <a:lnTo>
                    <a:pt x="1241" y="288"/>
                  </a:lnTo>
                  <a:lnTo>
                    <a:pt x="1238" y="288"/>
                  </a:lnTo>
                  <a:lnTo>
                    <a:pt x="1234" y="287"/>
                  </a:lnTo>
                  <a:lnTo>
                    <a:pt x="1231" y="286"/>
                  </a:lnTo>
                  <a:lnTo>
                    <a:pt x="1228" y="286"/>
                  </a:lnTo>
                  <a:lnTo>
                    <a:pt x="1227" y="289"/>
                  </a:lnTo>
                  <a:lnTo>
                    <a:pt x="1227" y="292"/>
                  </a:lnTo>
                  <a:lnTo>
                    <a:pt x="1226" y="295"/>
                  </a:lnTo>
                  <a:lnTo>
                    <a:pt x="1226" y="298"/>
                  </a:lnTo>
                  <a:lnTo>
                    <a:pt x="1225" y="302"/>
                  </a:lnTo>
                  <a:lnTo>
                    <a:pt x="1223" y="303"/>
                  </a:lnTo>
                  <a:lnTo>
                    <a:pt x="1218" y="303"/>
                  </a:lnTo>
                  <a:lnTo>
                    <a:pt x="1216" y="303"/>
                  </a:lnTo>
                  <a:lnTo>
                    <a:pt x="1212" y="302"/>
                  </a:lnTo>
                  <a:lnTo>
                    <a:pt x="1209" y="298"/>
                  </a:lnTo>
                  <a:lnTo>
                    <a:pt x="1206" y="297"/>
                  </a:lnTo>
                  <a:lnTo>
                    <a:pt x="1201" y="298"/>
                  </a:lnTo>
                  <a:lnTo>
                    <a:pt x="1198" y="302"/>
                  </a:lnTo>
                  <a:lnTo>
                    <a:pt x="1193" y="305"/>
                  </a:lnTo>
                  <a:lnTo>
                    <a:pt x="1188" y="306"/>
                  </a:lnTo>
                  <a:lnTo>
                    <a:pt x="1185" y="308"/>
                  </a:lnTo>
                  <a:lnTo>
                    <a:pt x="1180" y="308"/>
                  </a:lnTo>
                  <a:lnTo>
                    <a:pt x="1174" y="306"/>
                  </a:lnTo>
                  <a:lnTo>
                    <a:pt x="1168" y="305"/>
                  </a:lnTo>
                  <a:lnTo>
                    <a:pt x="1159" y="301"/>
                  </a:lnTo>
                  <a:lnTo>
                    <a:pt x="1150" y="296"/>
                  </a:lnTo>
                  <a:lnTo>
                    <a:pt x="1144" y="295"/>
                  </a:lnTo>
                  <a:lnTo>
                    <a:pt x="1137" y="295"/>
                  </a:lnTo>
                  <a:lnTo>
                    <a:pt x="1130" y="296"/>
                  </a:lnTo>
                  <a:lnTo>
                    <a:pt x="1124" y="298"/>
                  </a:lnTo>
                  <a:lnTo>
                    <a:pt x="1118" y="302"/>
                  </a:lnTo>
                  <a:lnTo>
                    <a:pt x="1112" y="305"/>
                  </a:lnTo>
                  <a:lnTo>
                    <a:pt x="1110" y="309"/>
                  </a:lnTo>
                  <a:lnTo>
                    <a:pt x="1107" y="313"/>
                  </a:lnTo>
                  <a:lnTo>
                    <a:pt x="1104" y="316"/>
                  </a:lnTo>
                  <a:lnTo>
                    <a:pt x="1103" y="317"/>
                  </a:lnTo>
                  <a:lnTo>
                    <a:pt x="1098" y="317"/>
                  </a:lnTo>
                  <a:lnTo>
                    <a:pt x="1095" y="317"/>
                  </a:lnTo>
                  <a:lnTo>
                    <a:pt x="1092" y="314"/>
                  </a:lnTo>
                  <a:lnTo>
                    <a:pt x="1090" y="312"/>
                  </a:lnTo>
                  <a:lnTo>
                    <a:pt x="1088" y="309"/>
                  </a:lnTo>
                  <a:lnTo>
                    <a:pt x="1083" y="306"/>
                  </a:lnTo>
                  <a:lnTo>
                    <a:pt x="1079" y="304"/>
                  </a:lnTo>
                  <a:lnTo>
                    <a:pt x="1073" y="305"/>
                  </a:lnTo>
                  <a:lnTo>
                    <a:pt x="1066" y="306"/>
                  </a:lnTo>
                  <a:lnTo>
                    <a:pt x="1058" y="305"/>
                  </a:lnTo>
                  <a:lnTo>
                    <a:pt x="1054" y="303"/>
                  </a:lnTo>
                  <a:lnTo>
                    <a:pt x="1048" y="297"/>
                  </a:lnTo>
                  <a:lnTo>
                    <a:pt x="1044" y="292"/>
                  </a:lnTo>
                  <a:lnTo>
                    <a:pt x="1040" y="285"/>
                  </a:lnTo>
                  <a:lnTo>
                    <a:pt x="1038" y="280"/>
                  </a:lnTo>
                  <a:lnTo>
                    <a:pt x="1036" y="273"/>
                  </a:lnTo>
                  <a:lnTo>
                    <a:pt x="1035" y="266"/>
                  </a:lnTo>
                  <a:lnTo>
                    <a:pt x="1035" y="260"/>
                  </a:lnTo>
                  <a:lnTo>
                    <a:pt x="1035" y="256"/>
                  </a:lnTo>
                  <a:lnTo>
                    <a:pt x="1033" y="254"/>
                  </a:lnTo>
                  <a:lnTo>
                    <a:pt x="1031" y="253"/>
                  </a:lnTo>
                  <a:lnTo>
                    <a:pt x="1027" y="254"/>
                  </a:lnTo>
                  <a:lnTo>
                    <a:pt x="1025" y="255"/>
                  </a:lnTo>
                  <a:lnTo>
                    <a:pt x="1024" y="258"/>
                  </a:lnTo>
                  <a:lnTo>
                    <a:pt x="1023" y="263"/>
                  </a:lnTo>
                  <a:lnTo>
                    <a:pt x="1023" y="265"/>
                  </a:lnTo>
                  <a:lnTo>
                    <a:pt x="1020" y="268"/>
                  </a:lnTo>
                  <a:lnTo>
                    <a:pt x="1014" y="269"/>
                  </a:lnTo>
                  <a:lnTo>
                    <a:pt x="1009" y="271"/>
                  </a:lnTo>
                  <a:lnTo>
                    <a:pt x="1004" y="273"/>
                  </a:lnTo>
                  <a:lnTo>
                    <a:pt x="999" y="276"/>
                  </a:lnTo>
                  <a:lnTo>
                    <a:pt x="995" y="278"/>
                  </a:lnTo>
                  <a:lnTo>
                    <a:pt x="992" y="280"/>
                  </a:lnTo>
                  <a:lnTo>
                    <a:pt x="990" y="282"/>
                  </a:lnTo>
                  <a:lnTo>
                    <a:pt x="985" y="286"/>
                  </a:lnTo>
                  <a:lnTo>
                    <a:pt x="983" y="287"/>
                  </a:lnTo>
                  <a:lnTo>
                    <a:pt x="978" y="289"/>
                  </a:lnTo>
                  <a:lnTo>
                    <a:pt x="974" y="292"/>
                  </a:lnTo>
                  <a:lnTo>
                    <a:pt x="967" y="294"/>
                  </a:lnTo>
                  <a:lnTo>
                    <a:pt x="958" y="295"/>
                  </a:lnTo>
                  <a:lnTo>
                    <a:pt x="951" y="297"/>
                  </a:lnTo>
                  <a:lnTo>
                    <a:pt x="946" y="297"/>
                  </a:lnTo>
                  <a:lnTo>
                    <a:pt x="942" y="300"/>
                  </a:lnTo>
                  <a:lnTo>
                    <a:pt x="938" y="301"/>
                  </a:lnTo>
                  <a:lnTo>
                    <a:pt x="934" y="300"/>
                  </a:lnTo>
                  <a:lnTo>
                    <a:pt x="929" y="298"/>
                  </a:lnTo>
                  <a:lnTo>
                    <a:pt x="919" y="293"/>
                  </a:lnTo>
                  <a:lnTo>
                    <a:pt x="900" y="284"/>
                  </a:lnTo>
                  <a:lnTo>
                    <a:pt x="894" y="278"/>
                  </a:lnTo>
                  <a:lnTo>
                    <a:pt x="889" y="276"/>
                  </a:lnTo>
                  <a:lnTo>
                    <a:pt x="882" y="271"/>
                  </a:lnTo>
                  <a:lnTo>
                    <a:pt x="876" y="269"/>
                  </a:lnTo>
                  <a:lnTo>
                    <a:pt x="871" y="268"/>
                  </a:lnTo>
                  <a:lnTo>
                    <a:pt x="867" y="266"/>
                  </a:lnTo>
                  <a:lnTo>
                    <a:pt x="863" y="264"/>
                  </a:lnTo>
                  <a:lnTo>
                    <a:pt x="859" y="263"/>
                  </a:lnTo>
                  <a:lnTo>
                    <a:pt x="856" y="262"/>
                  </a:lnTo>
                  <a:lnTo>
                    <a:pt x="854" y="260"/>
                  </a:lnTo>
                  <a:lnTo>
                    <a:pt x="851" y="256"/>
                  </a:lnTo>
                  <a:lnTo>
                    <a:pt x="846" y="254"/>
                  </a:lnTo>
                  <a:lnTo>
                    <a:pt x="841" y="252"/>
                  </a:lnTo>
                  <a:lnTo>
                    <a:pt x="836" y="250"/>
                  </a:lnTo>
                  <a:lnTo>
                    <a:pt x="830" y="249"/>
                  </a:lnTo>
                  <a:lnTo>
                    <a:pt x="822" y="250"/>
                  </a:lnTo>
                  <a:lnTo>
                    <a:pt x="803" y="253"/>
                  </a:lnTo>
                  <a:lnTo>
                    <a:pt x="792" y="254"/>
                  </a:lnTo>
                  <a:lnTo>
                    <a:pt x="786" y="254"/>
                  </a:lnTo>
                  <a:lnTo>
                    <a:pt x="780" y="253"/>
                  </a:lnTo>
                  <a:lnTo>
                    <a:pt x="775" y="252"/>
                  </a:lnTo>
                  <a:lnTo>
                    <a:pt x="770" y="249"/>
                  </a:lnTo>
                  <a:lnTo>
                    <a:pt x="766" y="246"/>
                  </a:lnTo>
                  <a:lnTo>
                    <a:pt x="756" y="241"/>
                  </a:lnTo>
                  <a:lnTo>
                    <a:pt x="752" y="239"/>
                  </a:lnTo>
                  <a:lnTo>
                    <a:pt x="747" y="238"/>
                  </a:lnTo>
                  <a:lnTo>
                    <a:pt x="740" y="239"/>
                  </a:lnTo>
                  <a:lnTo>
                    <a:pt x="732" y="241"/>
                  </a:lnTo>
                  <a:lnTo>
                    <a:pt x="718" y="247"/>
                  </a:lnTo>
                  <a:lnTo>
                    <a:pt x="710" y="253"/>
                  </a:lnTo>
                  <a:lnTo>
                    <a:pt x="702" y="258"/>
                  </a:lnTo>
                  <a:lnTo>
                    <a:pt x="697" y="260"/>
                  </a:lnTo>
                  <a:lnTo>
                    <a:pt x="694" y="261"/>
                  </a:lnTo>
                  <a:lnTo>
                    <a:pt x="690" y="260"/>
                  </a:lnTo>
                  <a:lnTo>
                    <a:pt x="689" y="258"/>
                  </a:lnTo>
                  <a:lnTo>
                    <a:pt x="688" y="256"/>
                  </a:lnTo>
                  <a:lnTo>
                    <a:pt x="687" y="255"/>
                  </a:lnTo>
                  <a:lnTo>
                    <a:pt x="683" y="254"/>
                  </a:lnTo>
                  <a:lnTo>
                    <a:pt x="679" y="254"/>
                  </a:lnTo>
                  <a:lnTo>
                    <a:pt x="673" y="253"/>
                  </a:lnTo>
                  <a:lnTo>
                    <a:pt x="670" y="250"/>
                  </a:lnTo>
                  <a:lnTo>
                    <a:pt x="664" y="245"/>
                  </a:lnTo>
                  <a:lnTo>
                    <a:pt x="660" y="238"/>
                  </a:lnTo>
                  <a:lnTo>
                    <a:pt x="658" y="233"/>
                  </a:lnTo>
                  <a:lnTo>
                    <a:pt x="656" y="229"/>
                  </a:lnTo>
                  <a:lnTo>
                    <a:pt x="657" y="222"/>
                  </a:lnTo>
                  <a:lnTo>
                    <a:pt x="659" y="213"/>
                  </a:lnTo>
                  <a:lnTo>
                    <a:pt x="659" y="202"/>
                  </a:lnTo>
                  <a:lnTo>
                    <a:pt x="659" y="199"/>
                  </a:lnTo>
                  <a:lnTo>
                    <a:pt x="658" y="194"/>
                  </a:lnTo>
                  <a:lnTo>
                    <a:pt x="656" y="192"/>
                  </a:lnTo>
                  <a:lnTo>
                    <a:pt x="646" y="186"/>
                  </a:lnTo>
                  <a:lnTo>
                    <a:pt x="639" y="182"/>
                  </a:lnTo>
                  <a:lnTo>
                    <a:pt x="633" y="180"/>
                  </a:lnTo>
                  <a:lnTo>
                    <a:pt x="626" y="178"/>
                  </a:lnTo>
                  <a:lnTo>
                    <a:pt x="620" y="178"/>
                  </a:lnTo>
                  <a:lnTo>
                    <a:pt x="618" y="178"/>
                  </a:lnTo>
                  <a:lnTo>
                    <a:pt x="615" y="178"/>
                  </a:lnTo>
                  <a:lnTo>
                    <a:pt x="611" y="181"/>
                  </a:lnTo>
                  <a:lnTo>
                    <a:pt x="604" y="186"/>
                  </a:lnTo>
                  <a:lnTo>
                    <a:pt x="599" y="191"/>
                  </a:lnTo>
                  <a:lnTo>
                    <a:pt x="593" y="193"/>
                  </a:lnTo>
                  <a:lnTo>
                    <a:pt x="586" y="196"/>
                  </a:lnTo>
                  <a:lnTo>
                    <a:pt x="580" y="196"/>
                  </a:lnTo>
                  <a:lnTo>
                    <a:pt x="575" y="197"/>
                  </a:lnTo>
                  <a:lnTo>
                    <a:pt x="570" y="198"/>
                  </a:lnTo>
                  <a:lnTo>
                    <a:pt x="563" y="200"/>
                  </a:lnTo>
                  <a:lnTo>
                    <a:pt x="556" y="202"/>
                  </a:lnTo>
                  <a:lnTo>
                    <a:pt x="551" y="205"/>
                  </a:lnTo>
                  <a:lnTo>
                    <a:pt x="545" y="207"/>
                  </a:lnTo>
                  <a:lnTo>
                    <a:pt x="538" y="207"/>
                  </a:lnTo>
                  <a:lnTo>
                    <a:pt x="532" y="207"/>
                  </a:lnTo>
                  <a:lnTo>
                    <a:pt x="528" y="206"/>
                  </a:lnTo>
                  <a:lnTo>
                    <a:pt x="523" y="204"/>
                  </a:lnTo>
                  <a:lnTo>
                    <a:pt x="519" y="201"/>
                  </a:lnTo>
                  <a:lnTo>
                    <a:pt x="514" y="197"/>
                  </a:lnTo>
                  <a:lnTo>
                    <a:pt x="512" y="189"/>
                  </a:lnTo>
                  <a:lnTo>
                    <a:pt x="508" y="183"/>
                  </a:lnTo>
                  <a:lnTo>
                    <a:pt x="505" y="178"/>
                  </a:lnTo>
                  <a:lnTo>
                    <a:pt x="502" y="175"/>
                  </a:lnTo>
                  <a:lnTo>
                    <a:pt x="497" y="173"/>
                  </a:lnTo>
                  <a:lnTo>
                    <a:pt x="492" y="173"/>
                  </a:lnTo>
                  <a:lnTo>
                    <a:pt x="489" y="173"/>
                  </a:lnTo>
                  <a:lnTo>
                    <a:pt x="484" y="174"/>
                  </a:lnTo>
                  <a:lnTo>
                    <a:pt x="481" y="176"/>
                  </a:lnTo>
                  <a:lnTo>
                    <a:pt x="474" y="176"/>
                  </a:lnTo>
                  <a:lnTo>
                    <a:pt x="468" y="174"/>
                  </a:lnTo>
                  <a:lnTo>
                    <a:pt x="465" y="172"/>
                  </a:lnTo>
                  <a:lnTo>
                    <a:pt x="462" y="168"/>
                  </a:lnTo>
                  <a:lnTo>
                    <a:pt x="458" y="165"/>
                  </a:lnTo>
                  <a:lnTo>
                    <a:pt x="455" y="162"/>
                  </a:lnTo>
                  <a:lnTo>
                    <a:pt x="450" y="158"/>
                  </a:lnTo>
                  <a:lnTo>
                    <a:pt x="440" y="152"/>
                  </a:lnTo>
                  <a:lnTo>
                    <a:pt x="434" y="148"/>
                  </a:lnTo>
                  <a:lnTo>
                    <a:pt x="428" y="144"/>
                  </a:lnTo>
                  <a:lnTo>
                    <a:pt x="424" y="141"/>
                  </a:lnTo>
                  <a:lnTo>
                    <a:pt x="419" y="140"/>
                  </a:lnTo>
                  <a:lnTo>
                    <a:pt x="414" y="138"/>
                  </a:lnTo>
                  <a:lnTo>
                    <a:pt x="407" y="137"/>
                  </a:lnTo>
                  <a:lnTo>
                    <a:pt x="380" y="137"/>
                  </a:lnTo>
                  <a:lnTo>
                    <a:pt x="375" y="136"/>
                  </a:lnTo>
                  <a:lnTo>
                    <a:pt x="370" y="135"/>
                  </a:lnTo>
                  <a:lnTo>
                    <a:pt x="367" y="133"/>
                  </a:lnTo>
                  <a:lnTo>
                    <a:pt x="366" y="129"/>
                  </a:lnTo>
                  <a:lnTo>
                    <a:pt x="364" y="124"/>
                  </a:lnTo>
                  <a:lnTo>
                    <a:pt x="366" y="108"/>
                  </a:lnTo>
                  <a:lnTo>
                    <a:pt x="368" y="98"/>
                  </a:lnTo>
                  <a:lnTo>
                    <a:pt x="371" y="89"/>
                  </a:lnTo>
                  <a:lnTo>
                    <a:pt x="372" y="84"/>
                  </a:lnTo>
                  <a:lnTo>
                    <a:pt x="372" y="77"/>
                  </a:lnTo>
                  <a:lnTo>
                    <a:pt x="372" y="72"/>
                  </a:lnTo>
                  <a:lnTo>
                    <a:pt x="371" y="68"/>
                  </a:lnTo>
                  <a:lnTo>
                    <a:pt x="370" y="64"/>
                  </a:lnTo>
                  <a:lnTo>
                    <a:pt x="367" y="60"/>
                  </a:lnTo>
                  <a:lnTo>
                    <a:pt x="363" y="56"/>
                  </a:lnTo>
                  <a:lnTo>
                    <a:pt x="358" y="53"/>
                  </a:lnTo>
                  <a:lnTo>
                    <a:pt x="342" y="50"/>
                  </a:lnTo>
                  <a:lnTo>
                    <a:pt x="323" y="46"/>
                  </a:lnTo>
                  <a:lnTo>
                    <a:pt x="296" y="41"/>
                  </a:lnTo>
                  <a:lnTo>
                    <a:pt x="282" y="39"/>
                  </a:lnTo>
                  <a:lnTo>
                    <a:pt x="276" y="38"/>
                  </a:lnTo>
                  <a:lnTo>
                    <a:pt x="271" y="36"/>
                  </a:lnTo>
                  <a:lnTo>
                    <a:pt x="267" y="36"/>
                  </a:lnTo>
                  <a:lnTo>
                    <a:pt x="265" y="33"/>
                  </a:lnTo>
                  <a:lnTo>
                    <a:pt x="264" y="30"/>
                  </a:lnTo>
                  <a:lnTo>
                    <a:pt x="263" y="26"/>
                  </a:lnTo>
                  <a:lnTo>
                    <a:pt x="260" y="23"/>
                  </a:lnTo>
                  <a:lnTo>
                    <a:pt x="260" y="21"/>
                  </a:lnTo>
                  <a:lnTo>
                    <a:pt x="257" y="18"/>
                  </a:lnTo>
                  <a:lnTo>
                    <a:pt x="252" y="18"/>
                  </a:lnTo>
                  <a:lnTo>
                    <a:pt x="243" y="20"/>
                  </a:lnTo>
                  <a:lnTo>
                    <a:pt x="239" y="18"/>
                  </a:lnTo>
                  <a:lnTo>
                    <a:pt x="235" y="17"/>
                  </a:lnTo>
                  <a:lnTo>
                    <a:pt x="232" y="13"/>
                  </a:lnTo>
                  <a:lnTo>
                    <a:pt x="230" y="9"/>
                  </a:lnTo>
                  <a:lnTo>
                    <a:pt x="226" y="2"/>
                  </a:lnTo>
                  <a:lnTo>
                    <a:pt x="224" y="1"/>
                  </a:lnTo>
                  <a:lnTo>
                    <a:pt x="222" y="0"/>
                  </a:lnTo>
                  <a:lnTo>
                    <a:pt x="218" y="0"/>
                  </a:lnTo>
                  <a:lnTo>
                    <a:pt x="214" y="1"/>
                  </a:lnTo>
                  <a:lnTo>
                    <a:pt x="211" y="4"/>
                  </a:lnTo>
                  <a:lnTo>
                    <a:pt x="209" y="6"/>
                  </a:lnTo>
                  <a:lnTo>
                    <a:pt x="207" y="12"/>
                  </a:lnTo>
                  <a:lnTo>
                    <a:pt x="202" y="17"/>
                  </a:lnTo>
                  <a:lnTo>
                    <a:pt x="195" y="20"/>
                  </a:lnTo>
                  <a:lnTo>
                    <a:pt x="182" y="18"/>
                  </a:lnTo>
                  <a:lnTo>
                    <a:pt x="168" y="17"/>
                  </a:lnTo>
                  <a:lnTo>
                    <a:pt x="160" y="16"/>
                  </a:lnTo>
                  <a:lnTo>
                    <a:pt x="153" y="10"/>
                  </a:lnTo>
                  <a:lnTo>
                    <a:pt x="148" y="8"/>
                  </a:lnTo>
                  <a:lnTo>
                    <a:pt x="144" y="8"/>
                  </a:lnTo>
                  <a:lnTo>
                    <a:pt x="139" y="10"/>
                  </a:lnTo>
                  <a:lnTo>
                    <a:pt x="136" y="13"/>
                  </a:lnTo>
                  <a:lnTo>
                    <a:pt x="136" y="17"/>
                  </a:lnTo>
                  <a:lnTo>
                    <a:pt x="138" y="21"/>
                  </a:lnTo>
                  <a:lnTo>
                    <a:pt x="148" y="30"/>
                  </a:lnTo>
                  <a:lnTo>
                    <a:pt x="153" y="34"/>
                  </a:lnTo>
                  <a:lnTo>
                    <a:pt x="155" y="38"/>
                  </a:lnTo>
                  <a:lnTo>
                    <a:pt x="155" y="39"/>
                  </a:lnTo>
                  <a:lnTo>
                    <a:pt x="163" y="45"/>
                  </a:lnTo>
                  <a:lnTo>
                    <a:pt x="164" y="46"/>
                  </a:lnTo>
                  <a:lnTo>
                    <a:pt x="167" y="48"/>
                  </a:lnTo>
                  <a:lnTo>
                    <a:pt x="168" y="49"/>
                  </a:lnTo>
                  <a:lnTo>
                    <a:pt x="168" y="52"/>
                  </a:lnTo>
                  <a:lnTo>
                    <a:pt x="168" y="53"/>
                  </a:lnTo>
                  <a:lnTo>
                    <a:pt x="167" y="55"/>
                  </a:lnTo>
                  <a:lnTo>
                    <a:pt x="164" y="57"/>
                  </a:lnTo>
                  <a:lnTo>
                    <a:pt x="161" y="61"/>
                  </a:lnTo>
                  <a:lnTo>
                    <a:pt x="160" y="63"/>
                  </a:lnTo>
                  <a:lnTo>
                    <a:pt x="160" y="64"/>
                  </a:lnTo>
                  <a:lnTo>
                    <a:pt x="160" y="66"/>
                  </a:lnTo>
                  <a:lnTo>
                    <a:pt x="160" y="68"/>
                  </a:lnTo>
                  <a:lnTo>
                    <a:pt x="161" y="69"/>
                  </a:lnTo>
                  <a:lnTo>
                    <a:pt x="162" y="70"/>
                  </a:lnTo>
                  <a:lnTo>
                    <a:pt x="164" y="71"/>
                  </a:lnTo>
                  <a:lnTo>
                    <a:pt x="168" y="71"/>
                  </a:lnTo>
                  <a:lnTo>
                    <a:pt x="174" y="71"/>
                  </a:lnTo>
                  <a:lnTo>
                    <a:pt x="177" y="71"/>
                  </a:lnTo>
                  <a:lnTo>
                    <a:pt x="178" y="71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3" y="74"/>
                  </a:lnTo>
                  <a:lnTo>
                    <a:pt x="183" y="77"/>
                  </a:lnTo>
                  <a:lnTo>
                    <a:pt x="183" y="79"/>
                  </a:lnTo>
                  <a:lnTo>
                    <a:pt x="179" y="81"/>
                  </a:lnTo>
                  <a:lnTo>
                    <a:pt x="177" y="84"/>
                  </a:lnTo>
                  <a:lnTo>
                    <a:pt x="174" y="86"/>
                  </a:lnTo>
                  <a:lnTo>
                    <a:pt x="170" y="87"/>
                  </a:lnTo>
                  <a:lnTo>
                    <a:pt x="168" y="89"/>
                  </a:lnTo>
                  <a:lnTo>
                    <a:pt x="168" y="90"/>
                  </a:lnTo>
                  <a:lnTo>
                    <a:pt x="168" y="94"/>
                  </a:lnTo>
                  <a:lnTo>
                    <a:pt x="169" y="96"/>
                  </a:lnTo>
                  <a:lnTo>
                    <a:pt x="171" y="97"/>
                  </a:lnTo>
                  <a:lnTo>
                    <a:pt x="172" y="98"/>
                  </a:lnTo>
                  <a:lnTo>
                    <a:pt x="172" y="101"/>
                  </a:lnTo>
                  <a:lnTo>
                    <a:pt x="172" y="103"/>
                  </a:lnTo>
                  <a:lnTo>
                    <a:pt x="172" y="104"/>
                  </a:lnTo>
                  <a:lnTo>
                    <a:pt x="172" y="105"/>
                  </a:lnTo>
                  <a:lnTo>
                    <a:pt x="175" y="108"/>
                  </a:lnTo>
                  <a:lnTo>
                    <a:pt x="178" y="109"/>
                  </a:lnTo>
                  <a:lnTo>
                    <a:pt x="180" y="109"/>
                  </a:lnTo>
                  <a:lnTo>
                    <a:pt x="184" y="108"/>
                  </a:lnTo>
                  <a:lnTo>
                    <a:pt x="186" y="108"/>
                  </a:lnTo>
                  <a:lnTo>
                    <a:pt x="188" y="109"/>
                  </a:lnTo>
                  <a:lnTo>
                    <a:pt x="191" y="109"/>
                  </a:lnTo>
                  <a:lnTo>
                    <a:pt x="193" y="110"/>
                  </a:lnTo>
                  <a:lnTo>
                    <a:pt x="194" y="112"/>
                  </a:lnTo>
                  <a:lnTo>
                    <a:pt x="195" y="114"/>
                  </a:lnTo>
                  <a:lnTo>
                    <a:pt x="198" y="116"/>
                  </a:lnTo>
                  <a:lnTo>
                    <a:pt x="199" y="118"/>
                  </a:lnTo>
                  <a:lnTo>
                    <a:pt x="201" y="119"/>
                  </a:lnTo>
                  <a:lnTo>
                    <a:pt x="203" y="120"/>
                  </a:lnTo>
                  <a:lnTo>
                    <a:pt x="206" y="122"/>
                  </a:lnTo>
                  <a:lnTo>
                    <a:pt x="207" y="124"/>
                  </a:lnTo>
                  <a:lnTo>
                    <a:pt x="207" y="126"/>
                  </a:lnTo>
                  <a:lnTo>
                    <a:pt x="206" y="128"/>
                  </a:lnTo>
                  <a:lnTo>
                    <a:pt x="202" y="133"/>
                  </a:lnTo>
                  <a:lnTo>
                    <a:pt x="199" y="135"/>
                  </a:lnTo>
                  <a:lnTo>
                    <a:pt x="196" y="137"/>
                  </a:lnTo>
                  <a:lnTo>
                    <a:pt x="195" y="141"/>
                  </a:lnTo>
                  <a:lnTo>
                    <a:pt x="194" y="143"/>
                  </a:lnTo>
                  <a:lnTo>
                    <a:pt x="193" y="146"/>
                  </a:lnTo>
                  <a:lnTo>
                    <a:pt x="192" y="149"/>
                  </a:lnTo>
                  <a:lnTo>
                    <a:pt x="192" y="151"/>
                  </a:lnTo>
                  <a:lnTo>
                    <a:pt x="198" y="153"/>
                  </a:lnTo>
                  <a:lnTo>
                    <a:pt x="201" y="153"/>
                  </a:lnTo>
                  <a:lnTo>
                    <a:pt x="204" y="156"/>
                  </a:lnTo>
                  <a:lnTo>
                    <a:pt x="206" y="158"/>
                  </a:lnTo>
                  <a:lnTo>
                    <a:pt x="208" y="161"/>
                  </a:lnTo>
                  <a:lnTo>
                    <a:pt x="210" y="162"/>
                  </a:lnTo>
                  <a:lnTo>
                    <a:pt x="214" y="165"/>
                  </a:lnTo>
                  <a:lnTo>
                    <a:pt x="216" y="167"/>
                  </a:lnTo>
                  <a:lnTo>
                    <a:pt x="219" y="172"/>
                  </a:lnTo>
                  <a:lnTo>
                    <a:pt x="220" y="174"/>
                  </a:lnTo>
                  <a:lnTo>
                    <a:pt x="222" y="178"/>
                  </a:lnTo>
                  <a:lnTo>
                    <a:pt x="224" y="180"/>
                  </a:lnTo>
                  <a:lnTo>
                    <a:pt x="225" y="181"/>
                  </a:lnTo>
                  <a:lnTo>
                    <a:pt x="228" y="182"/>
                  </a:lnTo>
                  <a:lnTo>
                    <a:pt x="232" y="182"/>
                  </a:lnTo>
                  <a:lnTo>
                    <a:pt x="234" y="181"/>
                  </a:lnTo>
                  <a:lnTo>
                    <a:pt x="236" y="180"/>
                  </a:lnTo>
                  <a:lnTo>
                    <a:pt x="239" y="177"/>
                  </a:lnTo>
                  <a:lnTo>
                    <a:pt x="242" y="175"/>
                  </a:lnTo>
                  <a:lnTo>
                    <a:pt x="246" y="173"/>
                  </a:lnTo>
                  <a:lnTo>
                    <a:pt x="248" y="173"/>
                  </a:lnTo>
                  <a:lnTo>
                    <a:pt x="250" y="173"/>
                  </a:lnTo>
                  <a:lnTo>
                    <a:pt x="254" y="174"/>
                  </a:lnTo>
                  <a:lnTo>
                    <a:pt x="255" y="176"/>
                  </a:lnTo>
                  <a:lnTo>
                    <a:pt x="256" y="177"/>
                  </a:lnTo>
                  <a:lnTo>
                    <a:pt x="256" y="181"/>
                  </a:lnTo>
                  <a:lnTo>
                    <a:pt x="257" y="194"/>
                  </a:lnTo>
                  <a:lnTo>
                    <a:pt x="256" y="200"/>
                  </a:lnTo>
                  <a:lnTo>
                    <a:pt x="255" y="204"/>
                  </a:lnTo>
                  <a:lnTo>
                    <a:pt x="255" y="206"/>
                  </a:lnTo>
                  <a:lnTo>
                    <a:pt x="255" y="208"/>
                  </a:lnTo>
                  <a:lnTo>
                    <a:pt x="256" y="209"/>
                  </a:lnTo>
                  <a:lnTo>
                    <a:pt x="257" y="210"/>
                  </a:lnTo>
                  <a:lnTo>
                    <a:pt x="260" y="210"/>
                  </a:lnTo>
                  <a:lnTo>
                    <a:pt x="265" y="209"/>
                  </a:lnTo>
                  <a:lnTo>
                    <a:pt x="267" y="208"/>
                  </a:lnTo>
                  <a:lnTo>
                    <a:pt x="271" y="207"/>
                  </a:lnTo>
                  <a:lnTo>
                    <a:pt x="274" y="208"/>
                  </a:lnTo>
                  <a:lnTo>
                    <a:pt x="276" y="212"/>
                  </a:lnTo>
                  <a:lnTo>
                    <a:pt x="278" y="214"/>
                  </a:lnTo>
                  <a:lnTo>
                    <a:pt x="279" y="217"/>
                  </a:lnTo>
                  <a:lnTo>
                    <a:pt x="279" y="218"/>
                  </a:lnTo>
                  <a:lnTo>
                    <a:pt x="280" y="221"/>
                  </a:lnTo>
                  <a:lnTo>
                    <a:pt x="281" y="222"/>
                  </a:lnTo>
                  <a:lnTo>
                    <a:pt x="282" y="223"/>
                  </a:lnTo>
                  <a:lnTo>
                    <a:pt x="284" y="224"/>
                  </a:lnTo>
                  <a:lnTo>
                    <a:pt x="289" y="225"/>
                  </a:lnTo>
                  <a:lnTo>
                    <a:pt x="294" y="226"/>
                  </a:lnTo>
                  <a:lnTo>
                    <a:pt x="297" y="226"/>
                  </a:lnTo>
                  <a:lnTo>
                    <a:pt x="299" y="229"/>
                  </a:lnTo>
                  <a:lnTo>
                    <a:pt x="299" y="231"/>
                  </a:lnTo>
                  <a:lnTo>
                    <a:pt x="299" y="236"/>
                  </a:lnTo>
                  <a:lnTo>
                    <a:pt x="298" y="238"/>
                  </a:lnTo>
                  <a:lnTo>
                    <a:pt x="295" y="239"/>
                  </a:lnTo>
                  <a:lnTo>
                    <a:pt x="287" y="240"/>
                  </a:lnTo>
                  <a:close/>
                </a:path>
              </a:pathLst>
            </a:custGeom>
            <a:solidFill>
              <a:srgbClr val="C00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34" name="MP"/>
            <p:cNvSpPr>
              <a:spLocks/>
            </p:cNvSpPr>
            <p:nvPr/>
          </p:nvSpPr>
          <p:spPr bwMode="auto">
            <a:xfrm>
              <a:off x="5973400" y="3015134"/>
              <a:ext cx="974486" cy="622984"/>
            </a:xfrm>
            <a:custGeom>
              <a:avLst/>
              <a:gdLst>
                <a:gd name="T0" fmla="*/ 861 w 2428"/>
                <a:gd name="T1" fmla="*/ 189 h 1608"/>
                <a:gd name="T2" fmla="*/ 685 w 2428"/>
                <a:gd name="T3" fmla="*/ 331 h 1608"/>
                <a:gd name="T4" fmla="*/ 799 w 2428"/>
                <a:gd name="T5" fmla="*/ 432 h 1608"/>
                <a:gd name="T6" fmla="*/ 912 w 2428"/>
                <a:gd name="T7" fmla="*/ 408 h 1608"/>
                <a:gd name="T8" fmla="*/ 925 w 2428"/>
                <a:gd name="T9" fmla="*/ 494 h 1608"/>
                <a:gd name="T10" fmla="*/ 790 w 2428"/>
                <a:gd name="T11" fmla="*/ 541 h 1608"/>
                <a:gd name="T12" fmla="*/ 823 w 2428"/>
                <a:gd name="T13" fmla="*/ 602 h 1608"/>
                <a:gd name="T14" fmla="*/ 794 w 2428"/>
                <a:gd name="T15" fmla="*/ 652 h 1608"/>
                <a:gd name="T16" fmla="*/ 786 w 2428"/>
                <a:gd name="T17" fmla="*/ 755 h 1608"/>
                <a:gd name="T18" fmla="*/ 677 w 2428"/>
                <a:gd name="T19" fmla="*/ 734 h 1608"/>
                <a:gd name="T20" fmla="*/ 568 w 2428"/>
                <a:gd name="T21" fmla="*/ 772 h 1608"/>
                <a:gd name="T22" fmla="*/ 445 w 2428"/>
                <a:gd name="T23" fmla="*/ 849 h 1608"/>
                <a:gd name="T24" fmla="*/ 504 w 2428"/>
                <a:gd name="T25" fmla="*/ 773 h 1608"/>
                <a:gd name="T26" fmla="*/ 501 w 2428"/>
                <a:gd name="T27" fmla="*/ 675 h 1608"/>
                <a:gd name="T28" fmla="*/ 455 w 2428"/>
                <a:gd name="T29" fmla="*/ 600 h 1608"/>
                <a:gd name="T30" fmla="*/ 344 w 2428"/>
                <a:gd name="T31" fmla="*/ 556 h 1608"/>
                <a:gd name="T32" fmla="*/ 358 w 2428"/>
                <a:gd name="T33" fmla="*/ 533 h 1608"/>
                <a:gd name="T34" fmla="*/ 256 w 2428"/>
                <a:gd name="T35" fmla="*/ 549 h 1608"/>
                <a:gd name="T36" fmla="*/ 207 w 2428"/>
                <a:gd name="T37" fmla="*/ 640 h 1608"/>
                <a:gd name="T38" fmla="*/ 254 w 2428"/>
                <a:gd name="T39" fmla="*/ 761 h 1608"/>
                <a:gd name="T40" fmla="*/ 214 w 2428"/>
                <a:gd name="T41" fmla="*/ 917 h 1608"/>
                <a:gd name="T42" fmla="*/ 192 w 2428"/>
                <a:gd name="T43" fmla="*/ 1003 h 1608"/>
                <a:gd name="T44" fmla="*/ 100 w 2428"/>
                <a:gd name="T45" fmla="*/ 1091 h 1608"/>
                <a:gd name="T46" fmla="*/ 47 w 2428"/>
                <a:gd name="T47" fmla="*/ 1198 h 1608"/>
                <a:gd name="T48" fmla="*/ 69 w 2428"/>
                <a:gd name="T49" fmla="*/ 1238 h 1608"/>
                <a:gd name="T50" fmla="*/ 24 w 2428"/>
                <a:gd name="T51" fmla="*/ 1338 h 1608"/>
                <a:gd name="T52" fmla="*/ 140 w 2428"/>
                <a:gd name="T53" fmla="*/ 1393 h 1608"/>
                <a:gd name="T54" fmla="*/ 326 w 2428"/>
                <a:gd name="T55" fmla="*/ 1506 h 1608"/>
                <a:gd name="T56" fmla="*/ 580 w 2428"/>
                <a:gd name="T57" fmla="*/ 1528 h 1608"/>
                <a:gd name="T58" fmla="*/ 727 w 2428"/>
                <a:gd name="T59" fmla="*/ 1570 h 1608"/>
                <a:gd name="T60" fmla="*/ 870 w 2428"/>
                <a:gd name="T61" fmla="*/ 1432 h 1608"/>
                <a:gd name="T62" fmla="*/ 956 w 2428"/>
                <a:gd name="T63" fmla="*/ 1510 h 1608"/>
                <a:gd name="T64" fmla="*/ 1154 w 2428"/>
                <a:gd name="T65" fmla="*/ 1480 h 1608"/>
                <a:gd name="T66" fmla="*/ 1352 w 2428"/>
                <a:gd name="T67" fmla="*/ 1473 h 1608"/>
                <a:gd name="T68" fmla="*/ 1547 w 2428"/>
                <a:gd name="T69" fmla="*/ 1477 h 1608"/>
                <a:gd name="T70" fmla="*/ 1840 w 2428"/>
                <a:gd name="T71" fmla="*/ 1537 h 1608"/>
                <a:gd name="T72" fmla="*/ 1890 w 2428"/>
                <a:gd name="T73" fmla="*/ 1396 h 1608"/>
                <a:gd name="T74" fmla="*/ 1957 w 2428"/>
                <a:gd name="T75" fmla="*/ 1252 h 1608"/>
                <a:gd name="T76" fmla="*/ 2053 w 2428"/>
                <a:gd name="T77" fmla="*/ 1214 h 1608"/>
                <a:gd name="T78" fmla="*/ 2140 w 2428"/>
                <a:gd name="T79" fmla="*/ 1108 h 1608"/>
                <a:gd name="T80" fmla="*/ 2243 w 2428"/>
                <a:gd name="T81" fmla="*/ 1016 h 1608"/>
                <a:gd name="T82" fmla="*/ 2135 w 2428"/>
                <a:gd name="T83" fmla="*/ 922 h 1608"/>
                <a:gd name="T84" fmla="*/ 2115 w 2428"/>
                <a:gd name="T85" fmla="*/ 876 h 1608"/>
                <a:gd name="T86" fmla="*/ 2204 w 2428"/>
                <a:gd name="T87" fmla="*/ 840 h 1608"/>
                <a:gd name="T88" fmla="*/ 2384 w 2428"/>
                <a:gd name="T89" fmla="*/ 825 h 1608"/>
                <a:gd name="T90" fmla="*/ 2404 w 2428"/>
                <a:gd name="T91" fmla="*/ 681 h 1608"/>
                <a:gd name="T92" fmla="*/ 2280 w 2428"/>
                <a:gd name="T93" fmla="*/ 603 h 1608"/>
                <a:gd name="T94" fmla="*/ 2124 w 2428"/>
                <a:gd name="T95" fmla="*/ 500 h 1608"/>
                <a:gd name="T96" fmla="*/ 2047 w 2428"/>
                <a:gd name="T97" fmla="*/ 473 h 1608"/>
                <a:gd name="T98" fmla="*/ 1910 w 2428"/>
                <a:gd name="T99" fmla="*/ 537 h 1608"/>
                <a:gd name="T100" fmla="*/ 1823 w 2428"/>
                <a:gd name="T101" fmla="*/ 478 h 1608"/>
                <a:gd name="T102" fmla="*/ 1736 w 2428"/>
                <a:gd name="T103" fmla="*/ 514 h 1608"/>
                <a:gd name="T104" fmla="*/ 1623 w 2428"/>
                <a:gd name="T105" fmla="*/ 452 h 1608"/>
                <a:gd name="T106" fmla="*/ 1510 w 2428"/>
                <a:gd name="T107" fmla="*/ 438 h 1608"/>
                <a:gd name="T108" fmla="*/ 1395 w 2428"/>
                <a:gd name="T109" fmla="*/ 483 h 1608"/>
                <a:gd name="T110" fmla="*/ 1344 w 2428"/>
                <a:gd name="T111" fmla="*/ 417 h 1608"/>
                <a:gd name="T112" fmla="*/ 1261 w 2428"/>
                <a:gd name="T113" fmla="*/ 412 h 1608"/>
                <a:gd name="T114" fmla="*/ 1312 w 2428"/>
                <a:gd name="T115" fmla="*/ 620 h 1608"/>
                <a:gd name="T116" fmla="*/ 1247 w 2428"/>
                <a:gd name="T117" fmla="*/ 685 h 1608"/>
                <a:gd name="T118" fmla="*/ 1162 w 2428"/>
                <a:gd name="T119" fmla="*/ 547 h 1608"/>
                <a:gd name="T120" fmla="*/ 1256 w 2428"/>
                <a:gd name="T121" fmla="*/ 365 h 1608"/>
                <a:gd name="T122" fmla="*/ 1367 w 2428"/>
                <a:gd name="T123" fmla="*/ 212 h 1608"/>
                <a:gd name="T124" fmla="*/ 1342 w 2428"/>
                <a:gd name="T125" fmla="*/ 44 h 1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28" h="1608">
                  <a:moveTo>
                    <a:pt x="1149" y="21"/>
                  </a:moveTo>
                  <a:lnTo>
                    <a:pt x="1146" y="26"/>
                  </a:lnTo>
                  <a:lnTo>
                    <a:pt x="1135" y="40"/>
                  </a:lnTo>
                  <a:lnTo>
                    <a:pt x="1134" y="45"/>
                  </a:lnTo>
                  <a:lnTo>
                    <a:pt x="1131" y="46"/>
                  </a:lnTo>
                  <a:lnTo>
                    <a:pt x="1126" y="46"/>
                  </a:lnTo>
                  <a:lnTo>
                    <a:pt x="1122" y="45"/>
                  </a:lnTo>
                  <a:lnTo>
                    <a:pt x="1115" y="44"/>
                  </a:lnTo>
                  <a:lnTo>
                    <a:pt x="1110" y="43"/>
                  </a:lnTo>
                  <a:lnTo>
                    <a:pt x="1104" y="45"/>
                  </a:lnTo>
                  <a:lnTo>
                    <a:pt x="1100" y="48"/>
                  </a:lnTo>
                  <a:lnTo>
                    <a:pt x="1093" y="48"/>
                  </a:lnTo>
                  <a:lnTo>
                    <a:pt x="1090" y="53"/>
                  </a:lnTo>
                  <a:lnTo>
                    <a:pt x="1086" y="58"/>
                  </a:lnTo>
                  <a:lnTo>
                    <a:pt x="1077" y="66"/>
                  </a:lnTo>
                  <a:lnTo>
                    <a:pt x="1072" y="72"/>
                  </a:lnTo>
                  <a:lnTo>
                    <a:pt x="1067" y="73"/>
                  </a:lnTo>
                  <a:lnTo>
                    <a:pt x="1062" y="73"/>
                  </a:lnTo>
                  <a:lnTo>
                    <a:pt x="1058" y="73"/>
                  </a:lnTo>
                  <a:lnTo>
                    <a:pt x="1053" y="74"/>
                  </a:lnTo>
                  <a:lnTo>
                    <a:pt x="1047" y="80"/>
                  </a:lnTo>
                  <a:lnTo>
                    <a:pt x="1043" y="84"/>
                  </a:lnTo>
                  <a:lnTo>
                    <a:pt x="1038" y="91"/>
                  </a:lnTo>
                  <a:lnTo>
                    <a:pt x="1030" y="97"/>
                  </a:lnTo>
                  <a:lnTo>
                    <a:pt x="1026" y="99"/>
                  </a:lnTo>
                  <a:lnTo>
                    <a:pt x="1018" y="101"/>
                  </a:lnTo>
                  <a:lnTo>
                    <a:pt x="1012" y="101"/>
                  </a:lnTo>
                  <a:lnTo>
                    <a:pt x="1006" y="101"/>
                  </a:lnTo>
                  <a:lnTo>
                    <a:pt x="996" y="105"/>
                  </a:lnTo>
                  <a:lnTo>
                    <a:pt x="991" y="109"/>
                  </a:lnTo>
                  <a:lnTo>
                    <a:pt x="990" y="115"/>
                  </a:lnTo>
                  <a:lnTo>
                    <a:pt x="988" y="118"/>
                  </a:lnTo>
                  <a:lnTo>
                    <a:pt x="983" y="124"/>
                  </a:lnTo>
                  <a:lnTo>
                    <a:pt x="979" y="126"/>
                  </a:lnTo>
                  <a:lnTo>
                    <a:pt x="971" y="126"/>
                  </a:lnTo>
                  <a:lnTo>
                    <a:pt x="964" y="124"/>
                  </a:lnTo>
                  <a:lnTo>
                    <a:pt x="958" y="123"/>
                  </a:lnTo>
                  <a:lnTo>
                    <a:pt x="954" y="124"/>
                  </a:lnTo>
                  <a:lnTo>
                    <a:pt x="951" y="126"/>
                  </a:lnTo>
                  <a:lnTo>
                    <a:pt x="948" y="129"/>
                  </a:lnTo>
                  <a:lnTo>
                    <a:pt x="942" y="134"/>
                  </a:lnTo>
                  <a:lnTo>
                    <a:pt x="935" y="138"/>
                  </a:lnTo>
                  <a:lnTo>
                    <a:pt x="931" y="142"/>
                  </a:lnTo>
                  <a:lnTo>
                    <a:pt x="927" y="149"/>
                  </a:lnTo>
                  <a:lnTo>
                    <a:pt x="923" y="150"/>
                  </a:lnTo>
                  <a:lnTo>
                    <a:pt x="919" y="157"/>
                  </a:lnTo>
                  <a:lnTo>
                    <a:pt x="914" y="161"/>
                  </a:lnTo>
                  <a:lnTo>
                    <a:pt x="910" y="163"/>
                  </a:lnTo>
                  <a:lnTo>
                    <a:pt x="906" y="169"/>
                  </a:lnTo>
                  <a:lnTo>
                    <a:pt x="901" y="173"/>
                  </a:lnTo>
                  <a:lnTo>
                    <a:pt x="895" y="177"/>
                  </a:lnTo>
                  <a:lnTo>
                    <a:pt x="887" y="180"/>
                  </a:lnTo>
                  <a:lnTo>
                    <a:pt x="878" y="184"/>
                  </a:lnTo>
                  <a:lnTo>
                    <a:pt x="871" y="185"/>
                  </a:lnTo>
                  <a:lnTo>
                    <a:pt x="866" y="187"/>
                  </a:lnTo>
                  <a:lnTo>
                    <a:pt x="861" y="189"/>
                  </a:lnTo>
                  <a:lnTo>
                    <a:pt x="858" y="194"/>
                  </a:lnTo>
                  <a:lnTo>
                    <a:pt x="851" y="197"/>
                  </a:lnTo>
                  <a:lnTo>
                    <a:pt x="844" y="198"/>
                  </a:lnTo>
                  <a:lnTo>
                    <a:pt x="839" y="200"/>
                  </a:lnTo>
                  <a:lnTo>
                    <a:pt x="836" y="202"/>
                  </a:lnTo>
                  <a:lnTo>
                    <a:pt x="831" y="205"/>
                  </a:lnTo>
                  <a:lnTo>
                    <a:pt x="827" y="211"/>
                  </a:lnTo>
                  <a:lnTo>
                    <a:pt x="823" y="212"/>
                  </a:lnTo>
                  <a:lnTo>
                    <a:pt x="819" y="218"/>
                  </a:lnTo>
                  <a:lnTo>
                    <a:pt x="808" y="220"/>
                  </a:lnTo>
                  <a:lnTo>
                    <a:pt x="805" y="222"/>
                  </a:lnTo>
                  <a:lnTo>
                    <a:pt x="802" y="225"/>
                  </a:lnTo>
                  <a:lnTo>
                    <a:pt x="798" y="227"/>
                  </a:lnTo>
                  <a:lnTo>
                    <a:pt x="796" y="229"/>
                  </a:lnTo>
                  <a:lnTo>
                    <a:pt x="792" y="233"/>
                  </a:lnTo>
                  <a:lnTo>
                    <a:pt x="789" y="236"/>
                  </a:lnTo>
                  <a:lnTo>
                    <a:pt x="784" y="242"/>
                  </a:lnTo>
                  <a:lnTo>
                    <a:pt x="774" y="254"/>
                  </a:lnTo>
                  <a:lnTo>
                    <a:pt x="765" y="265"/>
                  </a:lnTo>
                  <a:lnTo>
                    <a:pt x="758" y="267"/>
                  </a:lnTo>
                  <a:lnTo>
                    <a:pt x="755" y="268"/>
                  </a:lnTo>
                  <a:lnTo>
                    <a:pt x="752" y="267"/>
                  </a:lnTo>
                  <a:lnTo>
                    <a:pt x="748" y="266"/>
                  </a:lnTo>
                  <a:lnTo>
                    <a:pt x="747" y="266"/>
                  </a:lnTo>
                  <a:lnTo>
                    <a:pt x="744" y="264"/>
                  </a:lnTo>
                  <a:lnTo>
                    <a:pt x="741" y="264"/>
                  </a:lnTo>
                  <a:lnTo>
                    <a:pt x="738" y="262"/>
                  </a:lnTo>
                  <a:lnTo>
                    <a:pt x="735" y="261"/>
                  </a:lnTo>
                  <a:lnTo>
                    <a:pt x="734" y="260"/>
                  </a:lnTo>
                  <a:lnTo>
                    <a:pt x="732" y="260"/>
                  </a:lnTo>
                  <a:lnTo>
                    <a:pt x="730" y="260"/>
                  </a:lnTo>
                  <a:lnTo>
                    <a:pt x="727" y="261"/>
                  </a:lnTo>
                  <a:lnTo>
                    <a:pt x="723" y="266"/>
                  </a:lnTo>
                  <a:lnTo>
                    <a:pt x="722" y="268"/>
                  </a:lnTo>
                  <a:lnTo>
                    <a:pt x="719" y="273"/>
                  </a:lnTo>
                  <a:lnTo>
                    <a:pt x="716" y="275"/>
                  </a:lnTo>
                  <a:lnTo>
                    <a:pt x="715" y="278"/>
                  </a:lnTo>
                  <a:lnTo>
                    <a:pt x="714" y="282"/>
                  </a:lnTo>
                  <a:lnTo>
                    <a:pt x="712" y="285"/>
                  </a:lnTo>
                  <a:lnTo>
                    <a:pt x="710" y="290"/>
                  </a:lnTo>
                  <a:lnTo>
                    <a:pt x="708" y="292"/>
                  </a:lnTo>
                  <a:lnTo>
                    <a:pt x="706" y="296"/>
                  </a:lnTo>
                  <a:lnTo>
                    <a:pt x="704" y="297"/>
                  </a:lnTo>
                  <a:lnTo>
                    <a:pt x="702" y="301"/>
                  </a:lnTo>
                  <a:lnTo>
                    <a:pt x="700" y="304"/>
                  </a:lnTo>
                  <a:lnTo>
                    <a:pt x="696" y="306"/>
                  </a:lnTo>
                  <a:lnTo>
                    <a:pt x="693" y="309"/>
                  </a:lnTo>
                  <a:lnTo>
                    <a:pt x="690" y="312"/>
                  </a:lnTo>
                  <a:lnTo>
                    <a:pt x="687" y="313"/>
                  </a:lnTo>
                  <a:lnTo>
                    <a:pt x="686" y="314"/>
                  </a:lnTo>
                  <a:lnTo>
                    <a:pt x="682" y="316"/>
                  </a:lnTo>
                  <a:lnTo>
                    <a:pt x="679" y="321"/>
                  </a:lnTo>
                  <a:lnTo>
                    <a:pt x="679" y="325"/>
                  </a:lnTo>
                  <a:lnTo>
                    <a:pt x="680" y="328"/>
                  </a:lnTo>
                  <a:lnTo>
                    <a:pt x="682" y="329"/>
                  </a:lnTo>
                  <a:lnTo>
                    <a:pt x="685" y="331"/>
                  </a:lnTo>
                  <a:lnTo>
                    <a:pt x="687" y="332"/>
                  </a:lnTo>
                  <a:lnTo>
                    <a:pt x="692" y="334"/>
                  </a:lnTo>
                  <a:lnTo>
                    <a:pt x="696" y="339"/>
                  </a:lnTo>
                  <a:lnTo>
                    <a:pt x="698" y="340"/>
                  </a:lnTo>
                  <a:lnTo>
                    <a:pt x="700" y="345"/>
                  </a:lnTo>
                  <a:lnTo>
                    <a:pt x="701" y="347"/>
                  </a:lnTo>
                  <a:lnTo>
                    <a:pt x="701" y="353"/>
                  </a:lnTo>
                  <a:lnTo>
                    <a:pt x="700" y="356"/>
                  </a:lnTo>
                  <a:lnTo>
                    <a:pt x="699" y="361"/>
                  </a:lnTo>
                  <a:lnTo>
                    <a:pt x="696" y="365"/>
                  </a:lnTo>
                  <a:lnTo>
                    <a:pt x="694" y="369"/>
                  </a:lnTo>
                  <a:lnTo>
                    <a:pt x="693" y="372"/>
                  </a:lnTo>
                  <a:lnTo>
                    <a:pt x="693" y="374"/>
                  </a:lnTo>
                  <a:lnTo>
                    <a:pt x="693" y="377"/>
                  </a:lnTo>
                  <a:lnTo>
                    <a:pt x="693" y="381"/>
                  </a:lnTo>
                  <a:lnTo>
                    <a:pt x="694" y="386"/>
                  </a:lnTo>
                  <a:lnTo>
                    <a:pt x="698" y="388"/>
                  </a:lnTo>
                  <a:lnTo>
                    <a:pt x="701" y="390"/>
                  </a:lnTo>
                  <a:lnTo>
                    <a:pt x="703" y="390"/>
                  </a:lnTo>
                  <a:lnTo>
                    <a:pt x="708" y="392"/>
                  </a:lnTo>
                  <a:lnTo>
                    <a:pt x="711" y="394"/>
                  </a:lnTo>
                  <a:lnTo>
                    <a:pt x="715" y="396"/>
                  </a:lnTo>
                  <a:lnTo>
                    <a:pt x="716" y="398"/>
                  </a:lnTo>
                  <a:lnTo>
                    <a:pt x="718" y="404"/>
                  </a:lnTo>
                  <a:lnTo>
                    <a:pt x="720" y="406"/>
                  </a:lnTo>
                  <a:lnTo>
                    <a:pt x="724" y="406"/>
                  </a:lnTo>
                  <a:lnTo>
                    <a:pt x="727" y="408"/>
                  </a:lnTo>
                  <a:lnTo>
                    <a:pt x="730" y="410"/>
                  </a:lnTo>
                  <a:lnTo>
                    <a:pt x="732" y="412"/>
                  </a:lnTo>
                  <a:lnTo>
                    <a:pt x="736" y="417"/>
                  </a:lnTo>
                  <a:lnTo>
                    <a:pt x="739" y="418"/>
                  </a:lnTo>
                  <a:lnTo>
                    <a:pt x="743" y="419"/>
                  </a:lnTo>
                  <a:lnTo>
                    <a:pt x="746" y="420"/>
                  </a:lnTo>
                  <a:lnTo>
                    <a:pt x="749" y="420"/>
                  </a:lnTo>
                  <a:lnTo>
                    <a:pt x="751" y="419"/>
                  </a:lnTo>
                  <a:lnTo>
                    <a:pt x="755" y="418"/>
                  </a:lnTo>
                  <a:lnTo>
                    <a:pt x="758" y="419"/>
                  </a:lnTo>
                  <a:lnTo>
                    <a:pt x="759" y="420"/>
                  </a:lnTo>
                  <a:lnTo>
                    <a:pt x="760" y="422"/>
                  </a:lnTo>
                  <a:lnTo>
                    <a:pt x="760" y="425"/>
                  </a:lnTo>
                  <a:lnTo>
                    <a:pt x="767" y="426"/>
                  </a:lnTo>
                  <a:lnTo>
                    <a:pt x="770" y="426"/>
                  </a:lnTo>
                  <a:lnTo>
                    <a:pt x="773" y="425"/>
                  </a:lnTo>
                  <a:lnTo>
                    <a:pt x="778" y="425"/>
                  </a:lnTo>
                  <a:lnTo>
                    <a:pt x="781" y="427"/>
                  </a:lnTo>
                  <a:lnTo>
                    <a:pt x="783" y="428"/>
                  </a:lnTo>
                  <a:lnTo>
                    <a:pt x="787" y="429"/>
                  </a:lnTo>
                  <a:lnTo>
                    <a:pt x="788" y="428"/>
                  </a:lnTo>
                  <a:lnTo>
                    <a:pt x="789" y="428"/>
                  </a:lnTo>
                  <a:lnTo>
                    <a:pt x="790" y="428"/>
                  </a:lnTo>
                  <a:lnTo>
                    <a:pt x="791" y="428"/>
                  </a:lnTo>
                  <a:lnTo>
                    <a:pt x="794" y="428"/>
                  </a:lnTo>
                  <a:lnTo>
                    <a:pt x="795" y="429"/>
                  </a:lnTo>
                  <a:lnTo>
                    <a:pt x="797" y="430"/>
                  </a:lnTo>
                  <a:lnTo>
                    <a:pt x="798" y="430"/>
                  </a:lnTo>
                  <a:lnTo>
                    <a:pt x="799" y="432"/>
                  </a:lnTo>
                  <a:lnTo>
                    <a:pt x="802" y="433"/>
                  </a:lnTo>
                  <a:lnTo>
                    <a:pt x="802" y="438"/>
                  </a:lnTo>
                  <a:lnTo>
                    <a:pt x="803" y="441"/>
                  </a:lnTo>
                  <a:lnTo>
                    <a:pt x="804" y="442"/>
                  </a:lnTo>
                  <a:lnTo>
                    <a:pt x="805" y="443"/>
                  </a:lnTo>
                  <a:lnTo>
                    <a:pt x="807" y="443"/>
                  </a:lnTo>
                  <a:lnTo>
                    <a:pt x="808" y="443"/>
                  </a:lnTo>
                  <a:lnTo>
                    <a:pt x="812" y="443"/>
                  </a:lnTo>
                  <a:lnTo>
                    <a:pt x="815" y="443"/>
                  </a:lnTo>
                  <a:lnTo>
                    <a:pt x="818" y="442"/>
                  </a:lnTo>
                  <a:lnTo>
                    <a:pt x="819" y="441"/>
                  </a:lnTo>
                  <a:lnTo>
                    <a:pt x="821" y="441"/>
                  </a:lnTo>
                  <a:lnTo>
                    <a:pt x="824" y="441"/>
                  </a:lnTo>
                  <a:lnTo>
                    <a:pt x="828" y="440"/>
                  </a:lnTo>
                  <a:lnTo>
                    <a:pt x="829" y="438"/>
                  </a:lnTo>
                  <a:lnTo>
                    <a:pt x="831" y="437"/>
                  </a:lnTo>
                  <a:lnTo>
                    <a:pt x="832" y="437"/>
                  </a:lnTo>
                  <a:lnTo>
                    <a:pt x="836" y="435"/>
                  </a:lnTo>
                  <a:lnTo>
                    <a:pt x="838" y="435"/>
                  </a:lnTo>
                  <a:lnTo>
                    <a:pt x="842" y="435"/>
                  </a:lnTo>
                  <a:lnTo>
                    <a:pt x="844" y="434"/>
                  </a:lnTo>
                  <a:lnTo>
                    <a:pt x="845" y="433"/>
                  </a:lnTo>
                  <a:lnTo>
                    <a:pt x="847" y="432"/>
                  </a:lnTo>
                  <a:lnTo>
                    <a:pt x="848" y="430"/>
                  </a:lnTo>
                  <a:lnTo>
                    <a:pt x="852" y="430"/>
                  </a:lnTo>
                  <a:lnTo>
                    <a:pt x="854" y="430"/>
                  </a:lnTo>
                  <a:lnTo>
                    <a:pt x="856" y="432"/>
                  </a:lnTo>
                  <a:lnTo>
                    <a:pt x="863" y="433"/>
                  </a:lnTo>
                  <a:lnTo>
                    <a:pt x="867" y="434"/>
                  </a:lnTo>
                  <a:lnTo>
                    <a:pt x="869" y="435"/>
                  </a:lnTo>
                  <a:lnTo>
                    <a:pt x="872" y="434"/>
                  </a:lnTo>
                  <a:lnTo>
                    <a:pt x="875" y="434"/>
                  </a:lnTo>
                  <a:lnTo>
                    <a:pt x="877" y="433"/>
                  </a:lnTo>
                  <a:lnTo>
                    <a:pt x="879" y="432"/>
                  </a:lnTo>
                  <a:lnTo>
                    <a:pt x="882" y="430"/>
                  </a:lnTo>
                  <a:lnTo>
                    <a:pt x="883" y="428"/>
                  </a:lnTo>
                  <a:lnTo>
                    <a:pt x="884" y="426"/>
                  </a:lnTo>
                  <a:lnTo>
                    <a:pt x="885" y="424"/>
                  </a:lnTo>
                  <a:lnTo>
                    <a:pt x="886" y="421"/>
                  </a:lnTo>
                  <a:lnTo>
                    <a:pt x="886" y="420"/>
                  </a:lnTo>
                  <a:lnTo>
                    <a:pt x="888" y="419"/>
                  </a:lnTo>
                  <a:lnTo>
                    <a:pt x="891" y="418"/>
                  </a:lnTo>
                  <a:lnTo>
                    <a:pt x="893" y="417"/>
                  </a:lnTo>
                  <a:lnTo>
                    <a:pt x="894" y="416"/>
                  </a:lnTo>
                  <a:lnTo>
                    <a:pt x="895" y="414"/>
                  </a:lnTo>
                  <a:lnTo>
                    <a:pt x="898" y="413"/>
                  </a:lnTo>
                  <a:lnTo>
                    <a:pt x="899" y="412"/>
                  </a:lnTo>
                  <a:lnTo>
                    <a:pt x="900" y="410"/>
                  </a:lnTo>
                  <a:lnTo>
                    <a:pt x="901" y="408"/>
                  </a:lnTo>
                  <a:lnTo>
                    <a:pt x="901" y="406"/>
                  </a:lnTo>
                  <a:lnTo>
                    <a:pt x="903" y="406"/>
                  </a:lnTo>
                  <a:lnTo>
                    <a:pt x="904" y="406"/>
                  </a:lnTo>
                  <a:lnTo>
                    <a:pt x="907" y="406"/>
                  </a:lnTo>
                  <a:lnTo>
                    <a:pt x="909" y="408"/>
                  </a:lnTo>
                  <a:lnTo>
                    <a:pt x="910" y="408"/>
                  </a:lnTo>
                  <a:lnTo>
                    <a:pt x="912" y="408"/>
                  </a:lnTo>
                  <a:lnTo>
                    <a:pt x="914" y="409"/>
                  </a:lnTo>
                  <a:lnTo>
                    <a:pt x="918" y="408"/>
                  </a:lnTo>
                  <a:lnTo>
                    <a:pt x="918" y="405"/>
                  </a:lnTo>
                  <a:lnTo>
                    <a:pt x="918" y="404"/>
                  </a:lnTo>
                  <a:lnTo>
                    <a:pt x="919" y="403"/>
                  </a:lnTo>
                  <a:lnTo>
                    <a:pt x="920" y="403"/>
                  </a:lnTo>
                  <a:lnTo>
                    <a:pt x="922" y="404"/>
                  </a:lnTo>
                  <a:lnTo>
                    <a:pt x="923" y="408"/>
                  </a:lnTo>
                  <a:lnTo>
                    <a:pt x="923" y="409"/>
                  </a:lnTo>
                  <a:lnTo>
                    <a:pt x="924" y="410"/>
                  </a:lnTo>
                  <a:lnTo>
                    <a:pt x="924" y="411"/>
                  </a:lnTo>
                  <a:lnTo>
                    <a:pt x="923" y="412"/>
                  </a:lnTo>
                  <a:lnTo>
                    <a:pt x="923" y="413"/>
                  </a:lnTo>
                  <a:lnTo>
                    <a:pt x="920" y="418"/>
                  </a:lnTo>
                  <a:lnTo>
                    <a:pt x="920" y="420"/>
                  </a:lnTo>
                  <a:lnTo>
                    <a:pt x="920" y="421"/>
                  </a:lnTo>
                  <a:lnTo>
                    <a:pt x="923" y="424"/>
                  </a:lnTo>
                  <a:lnTo>
                    <a:pt x="924" y="424"/>
                  </a:lnTo>
                  <a:lnTo>
                    <a:pt x="925" y="426"/>
                  </a:lnTo>
                  <a:lnTo>
                    <a:pt x="925" y="427"/>
                  </a:lnTo>
                  <a:lnTo>
                    <a:pt x="924" y="429"/>
                  </a:lnTo>
                  <a:lnTo>
                    <a:pt x="924" y="430"/>
                  </a:lnTo>
                  <a:lnTo>
                    <a:pt x="924" y="433"/>
                  </a:lnTo>
                  <a:lnTo>
                    <a:pt x="925" y="434"/>
                  </a:lnTo>
                  <a:lnTo>
                    <a:pt x="927" y="435"/>
                  </a:lnTo>
                  <a:lnTo>
                    <a:pt x="928" y="436"/>
                  </a:lnTo>
                  <a:lnTo>
                    <a:pt x="927" y="437"/>
                  </a:lnTo>
                  <a:lnTo>
                    <a:pt x="925" y="438"/>
                  </a:lnTo>
                  <a:lnTo>
                    <a:pt x="923" y="442"/>
                  </a:lnTo>
                  <a:lnTo>
                    <a:pt x="922" y="443"/>
                  </a:lnTo>
                  <a:lnTo>
                    <a:pt x="922" y="444"/>
                  </a:lnTo>
                  <a:lnTo>
                    <a:pt x="922" y="446"/>
                  </a:lnTo>
                  <a:lnTo>
                    <a:pt x="922" y="448"/>
                  </a:lnTo>
                  <a:lnTo>
                    <a:pt x="922" y="450"/>
                  </a:lnTo>
                  <a:lnTo>
                    <a:pt x="924" y="451"/>
                  </a:lnTo>
                  <a:lnTo>
                    <a:pt x="927" y="452"/>
                  </a:lnTo>
                  <a:lnTo>
                    <a:pt x="928" y="452"/>
                  </a:lnTo>
                  <a:lnTo>
                    <a:pt x="931" y="454"/>
                  </a:lnTo>
                  <a:lnTo>
                    <a:pt x="933" y="456"/>
                  </a:lnTo>
                  <a:lnTo>
                    <a:pt x="934" y="458"/>
                  </a:lnTo>
                  <a:lnTo>
                    <a:pt x="936" y="458"/>
                  </a:lnTo>
                  <a:lnTo>
                    <a:pt x="938" y="459"/>
                  </a:lnTo>
                  <a:lnTo>
                    <a:pt x="939" y="461"/>
                  </a:lnTo>
                  <a:lnTo>
                    <a:pt x="941" y="465"/>
                  </a:lnTo>
                  <a:lnTo>
                    <a:pt x="941" y="468"/>
                  </a:lnTo>
                  <a:lnTo>
                    <a:pt x="941" y="470"/>
                  </a:lnTo>
                  <a:lnTo>
                    <a:pt x="940" y="473"/>
                  </a:lnTo>
                  <a:lnTo>
                    <a:pt x="938" y="474"/>
                  </a:lnTo>
                  <a:lnTo>
                    <a:pt x="936" y="475"/>
                  </a:lnTo>
                  <a:lnTo>
                    <a:pt x="935" y="478"/>
                  </a:lnTo>
                  <a:lnTo>
                    <a:pt x="934" y="482"/>
                  </a:lnTo>
                  <a:lnTo>
                    <a:pt x="932" y="484"/>
                  </a:lnTo>
                  <a:lnTo>
                    <a:pt x="931" y="488"/>
                  </a:lnTo>
                  <a:lnTo>
                    <a:pt x="930" y="490"/>
                  </a:lnTo>
                  <a:lnTo>
                    <a:pt x="927" y="493"/>
                  </a:lnTo>
                  <a:lnTo>
                    <a:pt x="925" y="494"/>
                  </a:lnTo>
                  <a:lnTo>
                    <a:pt x="922" y="497"/>
                  </a:lnTo>
                  <a:lnTo>
                    <a:pt x="919" y="498"/>
                  </a:lnTo>
                  <a:lnTo>
                    <a:pt x="915" y="499"/>
                  </a:lnTo>
                  <a:lnTo>
                    <a:pt x="911" y="499"/>
                  </a:lnTo>
                  <a:lnTo>
                    <a:pt x="909" y="498"/>
                  </a:lnTo>
                  <a:lnTo>
                    <a:pt x="908" y="496"/>
                  </a:lnTo>
                  <a:lnTo>
                    <a:pt x="908" y="493"/>
                  </a:lnTo>
                  <a:lnTo>
                    <a:pt x="908" y="490"/>
                  </a:lnTo>
                  <a:lnTo>
                    <a:pt x="907" y="488"/>
                  </a:lnTo>
                  <a:lnTo>
                    <a:pt x="904" y="485"/>
                  </a:lnTo>
                  <a:lnTo>
                    <a:pt x="901" y="486"/>
                  </a:lnTo>
                  <a:lnTo>
                    <a:pt x="900" y="489"/>
                  </a:lnTo>
                  <a:lnTo>
                    <a:pt x="899" y="490"/>
                  </a:lnTo>
                  <a:lnTo>
                    <a:pt x="898" y="491"/>
                  </a:lnTo>
                  <a:lnTo>
                    <a:pt x="895" y="493"/>
                  </a:lnTo>
                  <a:lnTo>
                    <a:pt x="892" y="494"/>
                  </a:lnTo>
                  <a:lnTo>
                    <a:pt x="890" y="496"/>
                  </a:lnTo>
                  <a:lnTo>
                    <a:pt x="887" y="497"/>
                  </a:lnTo>
                  <a:lnTo>
                    <a:pt x="884" y="497"/>
                  </a:lnTo>
                  <a:lnTo>
                    <a:pt x="880" y="496"/>
                  </a:lnTo>
                  <a:lnTo>
                    <a:pt x="877" y="496"/>
                  </a:lnTo>
                  <a:lnTo>
                    <a:pt x="874" y="496"/>
                  </a:lnTo>
                  <a:lnTo>
                    <a:pt x="871" y="497"/>
                  </a:lnTo>
                  <a:lnTo>
                    <a:pt x="868" y="499"/>
                  </a:lnTo>
                  <a:lnTo>
                    <a:pt x="866" y="500"/>
                  </a:lnTo>
                  <a:lnTo>
                    <a:pt x="862" y="502"/>
                  </a:lnTo>
                  <a:lnTo>
                    <a:pt x="859" y="505"/>
                  </a:lnTo>
                  <a:lnTo>
                    <a:pt x="855" y="507"/>
                  </a:lnTo>
                  <a:lnTo>
                    <a:pt x="852" y="507"/>
                  </a:lnTo>
                  <a:lnTo>
                    <a:pt x="848" y="508"/>
                  </a:lnTo>
                  <a:lnTo>
                    <a:pt x="843" y="507"/>
                  </a:lnTo>
                  <a:lnTo>
                    <a:pt x="839" y="506"/>
                  </a:lnTo>
                  <a:lnTo>
                    <a:pt x="834" y="506"/>
                  </a:lnTo>
                  <a:lnTo>
                    <a:pt x="828" y="505"/>
                  </a:lnTo>
                  <a:lnTo>
                    <a:pt x="823" y="505"/>
                  </a:lnTo>
                  <a:lnTo>
                    <a:pt x="819" y="507"/>
                  </a:lnTo>
                  <a:lnTo>
                    <a:pt x="814" y="508"/>
                  </a:lnTo>
                  <a:lnTo>
                    <a:pt x="808" y="509"/>
                  </a:lnTo>
                  <a:lnTo>
                    <a:pt x="799" y="513"/>
                  </a:lnTo>
                  <a:lnTo>
                    <a:pt x="795" y="512"/>
                  </a:lnTo>
                  <a:lnTo>
                    <a:pt x="792" y="513"/>
                  </a:lnTo>
                  <a:lnTo>
                    <a:pt x="790" y="515"/>
                  </a:lnTo>
                  <a:lnTo>
                    <a:pt x="789" y="520"/>
                  </a:lnTo>
                  <a:lnTo>
                    <a:pt x="788" y="522"/>
                  </a:lnTo>
                  <a:lnTo>
                    <a:pt x="788" y="523"/>
                  </a:lnTo>
                  <a:lnTo>
                    <a:pt x="788" y="525"/>
                  </a:lnTo>
                  <a:lnTo>
                    <a:pt x="787" y="526"/>
                  </a:lnTo>
                  <a:lnTo>
                    <a:pt x="787" y="528"/>
                  </a:lnTo>
                  <a:lnTo>
                    <a:pt x="787" y="529"/>
                  </a:lnTo>
                  <a:lnTo>
                    <a:pt x="787" y="531"/>
                  </a:lnTo>
                  <a:lnTo>
                    <a:pt x="787" y="532"/>
                  </a:lnTo>
                  <a:lnTo>
                    <a:pt x="787" y="534"/>
                  </a:lnTo>
                  <a:lnTo>
                    <a:pt x="788" y="537"/>
                  </a:lnTo>
                  <a:lnTo>
                    <a:pt x="788" y="538"/>
                  </a:lnTo>
                  <a:lnTo>
                    <a:pt x="789" y="539"/>
                  </a:lnTo>
                  <a:lnTo>
                    <a:pt x="790" y="541"/>
                  </a:lnTo>
                  <a:lnTo>
                    <a:pt x="792" y="544"/>
                  </a:lnTo>
                  <a:lnTo>
                    <a:pt x="794" y="545"/>
                  </a:lnTo>
                  <a:lnTo>
                    <a:pt x="795" y="546"/>
                  </a:lnTo>
                  <a:lnTo>
                    <a:pt x="797" y="547"/>
                  </a:lnTo>
                  <a:lnTo>
                    <a:pt x="799" y="548"/>
                  </a:lnTo>
                  <a:lnTo>
                    <a:pt x="800" y="549"/>
                  </a:lnTo>
                  <a:lnTo>
                    <a:pt x="804" y="553"/>
                  </a:lnTo>
                  <a:lnTo>
                    <a:pt x="805" y="554"/>
                  </a:lnTo>
                  <a:lnTo>
                    <a:pt x="806" y="555"/>
                  </a:lnTo>
                  <a:lnTo>
                    <a:pt x="807" y="555"/>
                  </a:lnTo>
                  <a:lnTo>
                    <a:pt x="807" y="556"/>
                  </a:lnTo>
                  <a:lnTo>
                    <a:pt x="807" y="558"/>
                  </a:lnTo>
                  <a:lnTo>
                    <a:pt x="806" y="560"/>
                  </a:lnTo>
                  <a:lnTo>
                    <a:pt x="804" y="562"/>
                  </a:lnTo>
                  <a:lnTo>
                    <a:pt x="803" y="563"/>
                  </a:lnTo>
                  <a:lnTo>
                    <a:pt x="800" y="563"/>
                  </a:lnTo>
                  <a:lnTo>
                    <a:pt x="797" y="564"/>
                  </a:lnTo>
                  <a:lnTo>
                    <a:pt x="795" y="565"/>
                  </a:lnTo>
                  <a:lnTo>
                    <a:pt x="791" y="566"/>
                  </a:lnTo>
                  <a:lnTo>
                    <a:pt x="790" y="566"/>
                  </a:lnTo>
                  <a:lnTo>
                    <a:pt x="788" y="568"/>
                  </a:lnTo>
                  <a:lnTo>
                    <a:pt x="784" y="566"/>
                  </a:lnTo>
                  <a:lnTo>
                    <a:pt x="783" y="566"/>
                  </a:lnTo>
                  <a:lnTo>
                    <a:pt x="781" y="566"/>
                  </a:lnTo>
                  <a:lnTo>
                    <a:pt x="780" y="566"/>
                  </a:lnTo>
                  <a:lnTo>
                    <a:pt x="776" y="568"/>
                  </a:lnTo>
                  <a:lnTo>
                    <a:pt x="775" y="568"/>
                  </a:lnTo>
                  <a:lnTo>
                    <a:pt x="775" y="569"/>
                  </a:lnTo>
                  <a:lnTo>
                    <a:pt x="774" y="570"/>
                  </a:lnTo>
                  <a:lnTo>
                    <a:pt x="773" y="570"/>
                  </a:lnTo>
                  <a:lnTo>
                    <a:pt x="773" y="571"/>
                  </a:lnTo>
                  <a:lnTo>
                    <a:pt x="773" y="573"/>
                  </a:lnTo>
                  <a:lnTo>
                    <a:pt x="773" y="576"/>
                  </a:lnTo>
                  <a:lnTo>
                    <a:pt x="774" y="577"/>
                  </a:lnTo>
                  <a:lnTo>
                    <a:pt x="775" y="578"/>
                  </a:lnTo>
                  <a:lnTo>
                    <a:pt x="776" y="580"/>
                  </a:lnTo>
                  <a:lnTo>
                    <a:pt x="779" y="581"/>
                  </a:lnTo>
                  <a:lnTo>
                    <a:pt x="782" y="582"/>
                  </a:lnTo>
                  <a:lnTo>
                    <a:pt x="787" y="584"/>
                  </a:lnTo>
                  <a:lnTo>
                    <a:pt x="789" y="585"/>
                  </a:lnTo>
                  <a:lnTo>
                    <a:pt x="790" y="586"/>
                  </a:lnTo>
                  <a:lnTo>
                    <a:pt x="792" y="587"/>
                  </a:lnTo>
                  <a:lnTo>
                    <a:pt x="794" y="587"/>
                  </a:lnTo>
                  <a:lnTo>
                    <a:pt x="796" y="587"/>
                  </a:lnTo>
                  <a:lnTo>
                    <a:pt x="799" y="587"/>
                  </a:lnTo>
                  <a:lnTo>
                    <a:pt x="802" y="587"/>
                  </a:lnTo>
                  <a:lnTo>
                    <a:pt x="806" y="588"/>
                  </a:lnTo>
                  <a:lnTo>
                    <a:pt x="808" y="589"/>
                  </a:lnTo>
                  <a:lnTo>
                    <a:pt x="810" y="590"/>
                  </a:lnTo>
                  <a:lnTo>
                    <a:pt x="812" y="592"/>
                  </a:lnTo>
                  <a:lnTo>
                    <a:pt x="813" y="593"/>
                  </a:lnTo>
                  <a:lnTo>
                    <a:pt x="814" y="595"/>
                  </a:lnTo>
                  <a:lnTo>
                    <a:pt x="816" y="596"/>
                  </a:lnTo>
                  <a:lnTo>
                    <a:pt x="818" y="598"/>
                  </a:lnTo>
                  <a:lnTo>
                    <a:pt x="821" y="600"/>
                  </a:lnTo>
                  <a:lnTo>
                    <a:pt x="823" y="602"/>
                  </a:lnTo>
                  <a:lnTo>
                    <a:pt x="827" y="603"/>
                  </a:lnTo>
                  <a:lnTo>
                    <a:pt x="829" y="604"/>
                  </a:lnTo>
                  <a:lnTo>
                    <a:pt x="832" y="605"/>
                  </a:lnTo>
                  <a:lnTo>
                    <a:pt x="835" y="605"/>
                  </a:lnTo>
                  <a:lnTo>
                    <a:pt x="837" y="606"/>
                  </a:lnTo>
                  <a:lnTo>
                    <a:pt x="838" y="606"/>
                  </a:lnTo>
                  <a:lnTo>
                    <a:pt x="839" y="605"/>
                  </a:lnTo>
                  <a:lnTo>
                    <a:pt x="843" y="606"/>
                  </a:lnTo>
                  <a:lnTo>
                    <a:pt x="845" y="605"/>
                  </a:lnTo>
                  <a:lnTo>
                    <a:pt x="848" y="605"/>
                  </a:lnTo>
                  <a:lnTo>
                    <a:pt x="851" y="608"/>
                  </a:lnTo>
                  <a:lnTo>
                    <a:pt x="852" y="609"/>
                  </a:lnTo>
                  <a:lnTo>
                    <a:pt x="853" y="612"/>
                  </a:lnTo>
                  <a:lnTo>
                    <a:pt x="854" y="616"/>
                  </a:lnTo>
                  <a:lnTo>
                    <a:pt x="855" y="619"/>
                  </a:lnTo>
                  <a:lnTo>
                    <a:pt x="856" y="621"/>
                  </a:lnTo>
                  <a:lnTo>
                    <a:pt x="858" y="624"/>
                  </a:lnTo>
                  <a:lnTo>
                    <a:pt x="856" y="627"/>
                  </a:lnTo>
                  <a:lnTo>
                    <a:pt x="856" y="628"/>
                  </a:lnTo>
                  <a:lnTo>
                    <a:pt x="854" y="632"/>
                  </a:lnTo>
                  <a:lnTo>
                    <a:pt x="852" y="633"/>
                  </a:lnTo>
                  <a:lnTo>
                    <a:pt x="848" y="633"/>
                  </a:lnTo>
                  <a:lnTo>
                    <a:pt x="845" y="633"/>
                  </a:lnTo>
                  <a:lnTo>
                    <a:pt x="844" y="634"/>
                  </a:lnTo>
                  <a:lnTo>
                    <a:pt x="844" y="636"/>
                  </a:lnTo>
                  <a:lnTo>
                    <a:pt x="844" y="640"/>
                  </a:lnTo>
                  <a:lnTo>
                    <a:pt x="844" y="643"/>
                  </a:lnTo>
                  <a:lnTo>
                    <a:pt x="844" y="645"/>
                  </a:lnTo>
                  <a:lnTo>
                    <a:pt x="845" y="648"/>
                  </a:lnTo>
                  <a:lnTo>
                    <a:pt x="845" y="650"/>
                  </a:lnTo>
                  <a:lnTo>
                    <a:pt x="845" y="651"/>
                  </a:lnTo>
                  <a:lnTo>
                    <a:pt x="845" y="653"/>
                  </a:lnTo>
                  <a:lnTo>
                    <a:pt x="844" y="656"/>
                  </a:lnTo>
                  <a:lnTo>
                    <a:pt x="843" y="656"/>
                  </a:lnTo>
                  <a:lnTo>
                    <a:pt x="839" y="657"/>
                  </a:lnTo>
                  <a:lnTo>
                    <a:pt x="837" y="661"/>
                  </a:lnTo>
                  <a:lnTo>
                    <a:pt x="836" y="664"/>
                  </a:lnTo>
                  <a:lnTo>
                    <a:pt x="834" y="668"/>
                  </a:lnTo>
                  <a:lnTo>
                    <a:pt x="831" y="668"/>
                  </a:lnTo>
                  <a:lnTo>
                    <a:pt x="829" y="669"/>
                  </a:lnTo>
                  <a:lnTo>
                    <a:pt x="826" y="670"/>
                  </a:lnTo>
                  <a:lnTo>
                    <a:pt x="821" y="670"/>
                  </a:lnTo>
                  <a:lnTo>
                    <a:pt x="818" y="670"/>
                  </a:lnTo>
                  <a:lnTo>
                    <a:pt x="814" y="669"/>
                  </a:lnTo>
                  <a:lnTo>
                    <a:pt x="811" y="668"/>
                  </a:lnTo>
                  <a:lnTo>
                    <a:pt x="808" y="667"/>
                  </a:lnTo>
                  <a:lnTo>
                    <a:pt x="807" y="665"/>
                  </a:lnTo>
                  <a:lnTo>
                    <a:pt x="806" y="661"/>
                  </a:lnTo>
                  <a:lnTo>
                    <a:pt x="805" y="658"/>
                  </a:lnTo>
                  <a:lnTo>
                    <a:pt x="804" y="656"/>
                  </a:lnTo>
                  <a:lnTo>
                    <a:pt x="803" y="653"/>
                  </a:lnTo>
                  <a:lnTo>
                    <a:pt x="803" y="651"/>
                  </a:lnTo>
                  <a:lnTo>
                    <a:pt x="802" y="649"/>
                  </a:lnTo>
                  <a:lnTo>
                    <a:pt x="797" y="649"/>
                  </a:lnTo>
                  <a:lnTo>
                    <a:pt x="796" y="650"/>
                  </a:lnTo>
                  <a:lnTo>
                    <a:pt x="794" y="652"/>
                  </a:lnTo>
                  <a:lnTo>
                    <a:pt x="789" y="652"/>
                  </a:lnTo>
                  <a:lnTo>
                    <a:pt x="786" y="650"/>
                  </a:lnTo>
                  <a:lnTo>
                    <a:pt x="779" y="648"/>
                  </a:lnTo>
                  <a:lnTo>
                    <a:pt x="773" y="651"/>
                  </a:lnTo>
                  <a:lnTo>
                    <a:pt x="772" y="653"/>
                  </a:lnTo>
                  <a:lnTo>
                    <a:pt x="772" y="657"/>
                  </a:lnTo>
                  <a:lnTo>
                    <a:pt x="773" y="659"/>
                  </a:lnTo>
                  <a:lnTo>
                    <a:pt x="774" y="660"/>
                  </a:lnTo>
                  <a:lnTo>
                    <a:pt x="775" y="662"/>
                  </a:lnTo>
                  <a:lnTo>
                    <a:pt x="776" y="664"/>
                  </a:lnTo>
                  <a:lnTo>
                    <a:pt x="779" y="665"/>
                  </a:lnTo>
                  <a:lnTo>
                    <a:pt x="782" y="667"/>
                  </a:lnTo>
                  <a:lnTo>
                    <a:pt x="786" y="668"/>
                  </a:lnTo>
                  <a:lnTo>
                    <a:pt x="787" y="670"/>
                  </a:lnTo>
                  <a:lnTo>
                    <a:pt x="787" y="672"/>
                  </a:lnTo>
                  <a:lnTo>
                    <a:pt x="788" y="674"/>
                  </a:lnTo>
                  <a:lnTo>
                    <a:pt x="788" y="676"/>
                  </a:lnTo>
                  <a:lnTo>
                    <a:pt x="788" y="681"/>
                  </a:lnTo>
                  <a:lnTo>
                    <a:pt x="787" y="684"/>
                  </a:lnTo>
                  <a:lnTo>
                    <a:pt x="786" y="690"/>
                  </a:lnTo>
                  <a:lnTo>
                    <a:pt x="783" y="700"/>
                  </a:lnTo>
                  <a:lnTo>
                    <a:pt x="782" y="707"/>
                  </a:lnTo>
                  <a:lnTo>
                    <a:pt x="782" y="712"/>
                  </a:lnTo>
                  <a:lnTo>
                    <a:pt x="784" y="716"/>
                  </a:lnTo>
                  <a:lnTo>
                    <a:pt x="786" y="720"/>
                  </a:lnTo>
                  <a:lnTo>
                    <a:pt x="788" y="721"/>
                  </a:lnTo>
                  <a:lnTo>
                    <a:pt x="790" y="721"/>
                  </a:lnTo>
                  <a:lnTo>
                    <a:pt x="791" y="723"/>
                  </a:lnTo>
                  <a:lnTo>
                    <a:pt x="794" y="726"/>
                  </a:lnTo>
                  <a:lnTo>
                    <a:pt x="796" y="730"/>
                  </a:lnTo>
                  <a:lnTo>
                    <a:pt x="798" y="731"/>
                  </a:lnTo>
                  <a:lnTo>
                    <a:pt x="802" y="733"/>
                  </a:lnTo>
                  <a:lnTo>
                    <a:pt x="804" y="736"/>
                  </a:lnTo>
                  <a:lnTo>
                    <a:pt x="807" y="738"/>
                  </a:lnTo>
                  <a:lnTo>
                    <a:pt x="810" y="740"/>
                  </a:lnTo>
                  <a:lnTo>
                    <a:pt x="813" y="742"/>
                  </a:lnTo>
                  <a:lnTo>
                    <a:pt x="813" y="745"/>
                  </a:lnTo>
                  <a:lnTo>
                    <a:pt x="811" y="745"/>
                  </a:lnTo>
                  <a:lnTo>
                    <a:pt x="810" y="747"/>
                  </a:lnTo>
                  <a:lnTo>
                    <a:pt x="807" y="748"/>
                  </a:lnTo>
                  <a:lnTo>
                    <a:pt x="805" y="747"/>
                  </a:lnTo>
                  <a:lnTo>
                    <a:pt x="803" y="746"/>
                  </a:lnTo>
                  <a:lnTo>
                    <a:pt x="800" y="746"/>
                  </a:lnTo>
                  <a:lnTo>
                    <a:pt x="800" y="747"/>
                  </a:lnTo>
                  <a:lnTo>
                    <a:pt x="803" y="749"/>
                  </a:lnTo>
                  <a:lnTo>
                    <a:pt x="804" y="754"/>
                  </a:lnTo>
                  <a:lnTo>
                    <a:pt x="803" y="757"/>
                  </a:lnTo>
                  <a:lnTo>
                    <a:pt x="803" y="758"/>
                  </a:lnTo>
                  <a:lnTo>
                    <a:pt x="800" y="761"/>
                  </a:lnTo>
                  <a:lnTo>
                    <a:pt x="799" y="762"/>
                  </a:lnTo>
                  <a:lnTo>
                    <a:pt x="797" y="763"/>
                  </a:lnTo>
                  <a:lnTo>
                    <a:pt x="795" y="762"/>
                  </a:lnTo>
                  <a:lnTo>
                    <a:pt x="794" y="760"/>
                  </a:lnTo>
                  <a:lnTo>
                    <a:pt x="791" y="755"/>
                  </a:lnTo>
                  <a:lnTo>
                    <a:pt x="789" y="755"/>
                  </a:lnTo>
                  <a:lnTo>
                    <a:pt x="786" y="755"/>
                  </a:lnTo>
                  <a:lnTo>
                    <a:pt x="783" y="756"/>
                  </a:lnTo>
                  <a:lnTo>
                    <a:pt x="780" y="757"/>
                  </a:lnTo>
                  <a:lnTo>
                    <a:pt x="776" y="756"/>
                  </a:lnTo>
                  <a:lnTo>
                    <a:pt x="772" y="756"/>
                  </a:lnTo>
                  <a:lnTo>
                    <a:pt x="770" y="755"/>
                  </a:lnTo>
                  <a:lnTo>
                    <a:pt x="767" y="753"/>
                  </a:lnTo>
                  <a:lnTo>
                    <a:pt x="765" y="750"/>
                  </a:lnTo>
                  <a:lnTo>
                    <a:pt x="762" y="747"/>
                  </a:lnTo>
                  <a:lnTo>
                    <a:pt x="757" y="746"/>
                  </a:lnTo>
                  <a:lnTo>
                    <a:pt x="752" y="745"/>
                  </a:lnTo>
                  <a:lnTo>
                    <a:pt x="749" y="744"/>
                  </a:lnTo>
                  <a:lnTo>
                    <a:pt x="744" y="741"/>
                  </a:lnTo>
                  <a:lnTo>
                    <a:pt x="742" y="740"/>
                  </a:lnTo>
                  <a:lnTo>
                    <a:pt x="740" y="738"/>
                  </a:lnTo>
                  <a:lnTo>
                    <a:pt x="739" y="738"/>
                  </a:lnTo>
                  <a:lnTo>
                    <a:pt x="736" y="737"/>
                  </a:lnTo>
                  <a:lnTo>
                    <a:pt x="735" y="734"/>
                  </a:lnTo>
                  <a:lnTo>
                    <a:pt x="736" y="732"/>
                  </a:lnTo>
                  <a:lnTo>
                    <a:pt x="739" y="729"/>
                  </a:lnTo>
                  <a:lnTo>
                    <a:pt x="742" y="728"/>
                  </a:lnTo>
                  <a:lnTo>
                    <a:pt x="746" y="724"/>
                  </a:lnTo>
                  <a:lnTo>
                    <a:pt x="746" y="721"/>
                  </a:lnTo>
                  <a:lnTo>
                    <a:pt x="746" y="718"/>
                  </a:lnTo>
                  <a:lnTo>
                    <a:pt x="744" y="716"/>
                  </a:lnTo>
                  <a:lnTo>
                    <a:pt x="743" y="715"/>
                  </a:lnTo>
                  <a:lnTo>
                    <a:pt x="742" y="714"/>
                  </a:lnTo>
                  <a:lnTo>
                    <a:pt x="740" y="718"/>
                  </a:lnTo>
                  <a:lnTo>
                    <a:pt x="733" y="721"/>
                  </a:lnTo>
                  <a:lnTo>
                    <a:pt x="731" y="721"/>
                  </a:lnTo>
                  <a:lnTo>
                    <a:pt x="726" y="721"/>
                  </a:lnTo>
                  <a:lnTo>
                    <a:pt x="724" y="723"/>
                  </a:lnTo>
                  <a:lnTo>
                    <a:pt x="720" y="722"/>
                  </a:lnTo>
                  <a:lnTo>
                    <a:pt x="716" y="723"/>
                  </a:lnTo>
                  <a:lnTo>
                    <a:pt x="715" y="725"/>
                  </a:lnTo>
                  <a:lnTo>
                    <a:pt x="715" y="729"/>
                  </a:lnTo>
                  <a:lnTo>
                    <a:pt x="714" y="732"/>
                  </a:lnTo>
                  <a:lnTo>
                    <a:pt x="711" y="734"/>
                  </a:lnTo>
                  <a:lnTo>
                    <a:pt x="708" y="739"/>
                  </a:lnTo>
                  <a:lnTo>
                    <a:pt x="708" y="742"/>
                  </a:lnTo>
                  <a:lnTo>
                    <a:pt x="706" y="746"/>
                  </a:lnTo>
                  <a:lnTo>
                    <a:pt x="701" y="749"/>
                  </a:lnTo>
                  <a:lnTo>
                    <a:pt x="699" y="749"/>
                  </a:lnTo>
                  <a:lnTo>
                    <a:pt x="695" y="748"/>
                  </a:lnTo>
                  <a:lnTo>
                    <a:pt x="695" y="746"/>
                  </a:lnTo>
                  <a:lnTo>
                    <a:pt x="695" y="744"/>
                  </a:lnTo>
                  <a:lnTo>
                    <a:pt x="695" y="741"/>
                  </a:lnTo>
                  <a:lnTo>
                    <a:pt x="695" y="739"/>
                  </a:lnTo>
                  <a:lnTo>
                    <a:pt x="693" y="738"/>
                  </a:lnTo>
                  <a:lnTo>
                    <a:pt x="691" y="736"/>
                  </a:lnTo>
                  <a:lnTo>
                    <a:pt x="688" y="734"/>
                  </a:lnTo>
                  <a:lnTo>
                    <a:pt x="684" y="732"/>
                  </a:lnTo>
                  <a:lnTo>
                    <a:pt x="683" y="730"/>
                  </a:lnTo>
                  <a:lnTo>
                    <a:pt x="680" y="729"/>
                  </a:lnTo>
                  <a:lnTo>
                    <a:pt x="678" y="730"/>
                  </a:lnTo>
                  <a:lnTo>
                    <a:pt x="678" y="732"/>
                  </a:lnTo>
                  <a:lnTo>
                    <a:pt x="677" y="734"/>
                  </a:lnTo>
                  <a:lnTo>
                    <a:pt x="672" y="733"/>
                  </a:lnTo>
                  <a:lnTo>
                    <a:pt x="670" y="733"/>
                  </a:lnTo>
                  <a:lnTo>
                    <a:pt x="667" y="731"/>
                  </a:lnTo>
                  <a:lnTo>
                    <a:pt x="662" y="731"/>
                  </a:lnTo>
                  <a:lnTo>
                    <a:pt x="660" y="730"/>
                  </a:lnTo>
                  <a:lnTo>
                    <a:pt x="656" y="728"/>
                  </a:lnTo>
                  <a:lnTo>
                    <a:pt x="653" y="726"/>
                  </a:lnTo>
                  <a:lnTo>
                    <a:pt x="650" y="725"/>
                  </a:lnTo>
                  <a:lnTo>
                    <a:pt x="645" y="724"/>
                  </a:lnTo>
                  <a:lnTo>
                    <a:pt x="642" y="724"/>
                  </a:lnTo>
                  <a:lnTo>
                    <a:pt x="635" y="724"/>
                  </a:lnTo>
                  <a:lnTo>
                    <a:pt x="631" y="726"/>
                  </a:lnTo>
                  <a:lnTo>
                    <a:pt x="627" y="729"/>
                  </a:lnTo>
                  <a:lnTo>
                    <a:pt x="622" y="729"/>
                  </a:lnTo>
                  <a:lnTo>
                    <a:pt x="619" y="731"/>
                  </a:lnTo>
                  <a:lnTo>
                    <a:pt x="614" y="731"/>
                  </a:lnTo>
                  <a:lnTo>
                    <a:pt x="610" y="731"/>
                  </a:lnTo>
                  <a:lnTo>
                    <a:pt x="605" y="731"/>
                  </a:lnTo>
                  <a:lnTo>
                    <a:pt x="604" y="728"/>
                  </a:lnTo>
                  <a:lnTo>
                    <a:pt x="604" y="726"/>
                  </a:lnTo>
                  <a:lnTo>
                    <a:pt x="604" y="723"/>
                  </a:lnTo>
                  <a:lnTo>
                    <a:pt x="604" y="718"/>
                  </a:lnTo>
                  <a:lnTo>
                    <a:pt x="608" y="710"/>
                  </a:lnTo>
                  <a:lnTo>
                    <a:pt x="610" y="706"/>
                  </a:lnTo>
                  <a:lnTo>
                    <a:pt x="610" y="702"/>
                  </a:lnTo>
                  <a:lnTo>
                    <a:pt x="608" y="700"/>
                  </a:lnTo>
                  <a:lnTo>
                    <a:pt x="606" y="699"/>
                  </a:lnTo>
                  <a:lnTo>
                    <a:pt x="603" y="699"/>
                  </a:lnTo>
                  <a:lnTo>
                    <a:pt x="602" y="701"/>
                  </a:lnTo>
                  <a:lnTo>
                    <a:pt x="599" y="704"/>
                  </a:lnTo>
                  <a:lnTo>
                    <a:pt x="598" y="707"/>
                  </a:lnTo>
                  <a:lnTo>
                    <a:pt x="596" y="710"/>
                  </a:lnTo>
                  <a:lnTo>
                    <a:pt x="592" y="714"/>
                  </a:lnTo>
                  <a:lnTo>
                    <a:pt x="590" y="716"/>
                  </a:lnTo>
                  <a:lnTo>
                    <a:pt x="589" y="720"/>
                  </a:lnTo>
                  <a:lnTo>
                    <a:pt x="589" y="722"/>
                  </a:lnTo>
                  <a:lnTo>
                    <a:pt x="589" y="725"/>
                  </a:lnTo>
                  <a:lnTo>
                    <a:pt x="589" y="729"/>
                  </a:lnTo>
                  <a:lnTo>
                    <a:pt x="589" y="731"/>
                  </a:lnTo>
                  <a:lnTo>
                    <a:pt x="588" y="734"/>
                  </a:lnTo>
                  <a:lnTo>
                    <a:pt x="586" y="738"/>
                  </a:lnTo>
                  <a:lnTo>
                    <a:pt x="583" y="739"/>
                  </a:lnTo>
                  <a:lnTo>
                    <a:pt x="582" y="741"/>
                  </a:lnTo>
                  <a:lnTo>
                    <a:pt x="582" y="745"/>
                  </a:lnTo>
                  <a:lnTo>
                    <a:pt x="584" y="746"/>
                  </a:lnTo>
                  <a:lnTo>
                    <a:pt x="586" y="747"/>
                  </a:lnTo>
                  <a:lnTo>
                    <a:pt x="589" y="750"/>
                  </a:lnTo>
                  <a:lnTo>
                    <a:pt x="590" y="754"/>
                  </a:lnTo>
                  <a:lnTo>
                    <a:pt x="589" y="757"/>
                  </a:lnTo>
                  <a:lnTo>
                    <a:pt x="586" y="761"/>
                  </a:lnTo>
                  <a:lnTo>
                    <a:pt x="586" y="764"/>
                  </a:lnTo>
                  <a:lnTo>
                    <a:pt x="583" y="768"/>
                  </a:lnTo>
                  <a:lnTo>
                    <a:pt x="581" y="769"/>
                  </a:lnTo>
                  <a:lnTo>
                    <a:pt x="576" y="770"/>
                  </a:lnTo>
                  <a:lnTo>
                    <a:pt x="573" y="771"/>
                  </a:lnTo>
                  <a:lnTo>
                    <a:pt x="568" y="772"/>
                  </a:lnTo>
                  <a:lnTo>
                    <a:pt x="563" y="774"/>
                  </a:lnTo>
                  <a:lnTo>
                    <a:pt x="560" y="777"/>
                  </a:lnTo>
                  <a:lnTo>
                    <a:pt x="557" y="781"/>
                  </a:lnTo>
                  <a:lnTo>
                    <a:pt x="554" y="784"/>
                  </a:lnTo>
                  <a:lnTo>
                    <a:pt x="552" y="786"/>
                  </a:lnTo>
                  <a:lnTo>
                    <a:pt x="549" y="787"/>
                  </a:lnTo>
                  <a:lnTo>
                    <a:pt x="548" y="787"/>
                  </a:lnTo>
                  <a:lnTo>
                    <a:pt x="544" y="787"/>
                  </a:lnTo>
                  <a:lnTo>
                    <a:pt x="541" y="788"/>
                  </a:lnTo>
                  <a:lnTo>
                    <a:pt x="541" y="790"/>
                  </a:lnTo>
                  <a:lnTo>
                    <a:pt x="541" y="794"/>
                  </a:lnTo>
                  <a:lnTo>
                    <a:pt x="543" y="796"/>
                  </a:lnTo>
                  <a:lnTo>
                    <a:pt x="546" y="798"/>
                  </a:lnTo>
                  <a:lnTo>
                    <a:pt x="550" y="801"/>
                  </a:lnTo>
                  <a:lnTo>
                    <a:pt x="551" y="804"/>
                  </a:lnTo>
                  <a:lnTo>
                    <a:pt x="551" y="806"/>
                  </a:lnTo>
                  <a:lnTo>
                    <a:pt x="551" y="810"/>
                  </a:lnTo>
                  <a:lnTo>
                    <a:pt x="551" y="811"/>
                  </a:lnTo>
                  <a:lnTo>
                    <a:pt x="550" y="813"/>
                  </a:lnTo>
                  <a:lnTo>
                    <a:pt x="539" y="819"/>
                  </a:lnTo>
                  <a:lnTo>
                    <a:pt x="530" y="824"/>
                  </a:lnTo>
                  <a:lnTo>
                    <a:pt x="525" y="825"/>
                  </a:lnTo>
                  <a:lnTo>
                    <a:pt x="522" y="826"/>
                  </a:lnTo>
                  <a:lnTo>
                    <a:pt x="517" y="826"/>
                  </a:lnTo>
                  <a:lnTo>
                    <a:pt x="514" y="826"/>
                  </a:lnTo>
                  <a:lnTo>
                    <a:pt x="510" y="827"/>
                  </a:lnTo>
                  <a:lnTo>
                    <a:pt x="501" y="830"/>
                  </a:lnTo>
                  <a:lnTo>
                    <a:pt x="499" y="832"/>
                  </a:lnTo>
                  <a:lnTo>
                    <a:pt x="498" y="834"/>
                  </a:lnTo>
                  <a:lnTo>
                    <a:pt x="494" y="835"/>
                  </a:lnTo>
                  <a:lnTo>
                    <a:pt x="492" y="834"/>
                  </a:lnTo>
                  <a:lnTo>
                    <a:pt x="490" y="832"/>
                  </a:lnTo>
                  <a:lnTo>
                    <a:pt x="488" y="830"/>
                  </a:lnTo>
                  <a:lnTo>
                    <a:pt x="485" y="827"/>
                  </a:lnTo>
                  <a:lnTo>
                    <a:pt x="484" y="825"/>
                  </a:lnTo>
                  <a:lnTo>
                    <a:pt x="483" y="824"/>
                  </a:lnTo>
                  <a:lnTo>
                    <a:pt x="479" y="822"/>
                  </a:lnTo>
                  <a:lnTo>
                    <a:pt x="477" y="822"/>
                  </a:lnTo>
                  <a:lnTo>
                    <a:pt x="474" y="824"/>
                  </a:lnTo>
                  <a:lnTo>
                    <a:pt x="472" y="825"/>
                  </a:lnTo>
                  <a:lnTo>
                    <a:pt x="471" y="828"/>
                  </a:lnTo>
                  <a:lnTo>
                    <a:pt x="472" y="829"/>
                  </a:lnTo>
                  <a:lnTo>
                    <a:pt x="474" y="833"/>
                  </a:lnTo>
                  <a:lnTo>
                    <a:pt x="477" y="836"/>
                  </a:lnTo>
                  <a:lnTo>
                    <a:pt x="478" y="838"/>
                  </a:lnTo>
                  <a:lnTo>
                    <a:pt x="477" y="843"/>
                  </a:lnTo>
                  <a:lnTo>
                    <a:pt x="475" y="845"/>
                  </a:lnTo>
                  <a:lnTo>
                    <a:pt x="472" y="846"/>
                  </a:lnTo>
                  <a:lnTo>
                    <a:pt x="470" y="849"/>
                  </a:lnTo>
                  <a:lnTo>
                    <a:pt x="467" y="850"/>
                  </a:lnTo>
                  <a:lnTo>
                    <a:pt x="463" y="851"/>
                  </a:lnTo>
                  <a:lnTo>
                    <a:pt x="460" y="850"/>
                  </a:lnTo>
                  <a:lnTo>
                    <a:pt x="455" y="850"/>
                  </a:lnTo>
                  <a:lnTo>
                    <a:pt x="451" y="850"/>
                  </a:lnTo>
                  <a:lnTo>
                    <a:pt x="447" y="849"/>
                  </a:lnTo>
                  <a:lnTo>
                    <a:pt x="445" y="849"/>
                  </a:lnTo>
                  <a:lnTo>
                    <a:pt x="444" y="848"/>
                  </a:lnTo>
                  <a:lnTo>
                    <a:pt x="442" y="844"/>
                  </a:lnTo>
                  <a:lnTo>
                    <a:pt x="440" y="840"/>
                  </a:lnTo>
                  <a:lnTo>
                    <a:pt x="438" y="834"/>
                  </a:lnTo>
                  <a:lnTo>
                    <a:pt x="434" y="829"/>
                  </a:lnTo>
                  <a:lnTo>
                    <a:pt x="430" y="828"/>
                  </a:lnTo>
                  <a:lnTo>
                    <a:pt x="428" y="828"/>
                  </a:lnTo>
                  <a:lnTo>
                    <a:pt x="424" y="827"/>
                  </a:lnTo>
                  <a:lnTo>
                    <a:pt x="422" y="825"/>
                  </a:lnTo>
                  <a:lnTo>
                    <a:pt x="418" y="821"/>
                  </a:lnTo>
                  <a:lnTo>
                    <a:pt x="413" y="818"/>
                  </a:lnTo>
                  <a:lnTo>
                    <a:pt x="410" y="816"/>
                  </a:lnTo>
                  <a:lnTo>
                    <a:pt x="407" y="814"/>
                  </a:lnTo>
                  <a:lnTo>
                    <a:pt x="405" y="812"/>
                  </a:lnTo>
                  <a:lnTo>
                    <a:pt x="402" y="809"/>
                  </a:lnTo>
                  <a:lnTo>
                    <a:pt x="400" y="805"/>
                  </a:lnTo>
                  <a:lnTo>
                    <a:pt x="402" y="803"/>
                  </a:lnTo>
                  <a:lnTo>
                    <a:pt x="402" y="801"/>
                  </a:lnTo>
                  <a:lnTo>
                    <a:pt x="405" y="797"/>
                  </a:lnTo>
                  <a:lnTo>
                    <a:pt x="406" y="795"/>
                  </a:lnTo>
                  <a:lnTo>
                    <a:pt x="408" y="792"/>
                  </a:lnTo>
                  <a:lnTo>
                    <a:pt x="411" y="789"/>
                  </a:lnTo>
                  <a:lnTo>
                    <a:pt x="412" y="787"/>
                  </a:lnTo>
                  <a:lnTo>
                    <a:pt x="415" y="787"/>
                  </a:lnTo>
                  <a:lnTo>
                    <a:pt x="418" y="788"/>
                  </a:lnTo>
                  <a:lnTo>
                    <a:pt x="419" y="790"/>
                  </a:lnTo>
                  <a:lnTo>
                    <a:pt x="420" y="793"/>
                  </a:lnTo>
                  <a:lnTo>
                    <a:pt x="422" y="797"/>
                  </a:lnTo>
                  <a:lnTo>
                    <a:pt x="426" y="802"/>
                  </a:lnTo>
                  <a:lnTo>
                    <a:pt x="428" y="802"/>
                  </a:lnTo>
                  <a:lnTo>
                    <a:pt x="435" y="802"/>
                  </a:lnTo>
                  <a:lnTo>
                    <a:pt x="438" y="803"/>
                  </a:lnTo>
                  <a:lnTo>
                    <a:pt x="440" y="802"/>
                  </a:lnTo>
                  <a:lnTo>
                    <a:pt x="443" y="798"/>
                  </a:lnTo>
                  <a:lnTo>
                    <a:pt x="448" y="794"/>
                  </a:lnTo>
                  <a:lnTo>
                    <a:pt x="454" y="792"/>
                  </a:lnTo>
                  <a:lnTo>
                    <a:pt x="455" y="792"/>
                  </a:lnTo>
                  <a:lnTo>
                    <a:pt x="459" y="792"/>
                  </a:lnTo>
                  <a:lnTo>
                    <a:pt x="462" y="793"/>
                  </a:lnTo>
                  <a:lnTo>
                    <a:pt x="464" y="794"/>
                  </a:lnTo>
                  <a:lnTo>
                    <a:pt x="468" y="798"/>
                  </a:lnTo>
                  <a:lnTo>
                    <a:pt x="469" y="802"/>
                  </a:lnTo>
                  <a:lnTo>
                    <a:pt x="470" y="804"/>
                  </a:lnTo>
                  <a:lnTo>
                    <a:pt x="472" y="805"/>
                  </a:lnTo>
                  <a:lnTo>
                    <a:pt x="475" y="805"/>
                  </a:lnTo>
                  <a:lnTo>
                    <a:pt x="476" y="804"/>
                  </a:lnTo>
                  <a:lnTo>
                    <a:pt x="479" y="802"/>
                  </a:lnTo>
                  <a:lnTo>
                    <a:pt x="484" y="800"/>
                  </a:lnTo>
                  <a:lnTo>
                    <a:pt x="487" y="793"/>
                  </a:lnTo>
                  <a:lnTo>
                    <a:pt x="491" y="788"/>
                  </a:lnTo>
                  <a:lnTo>
                    <a:pt x="492" y="785"/>
                  </a:lnTo>
                  <a:lnTo>
                    <a:pt x="495" y="781"/>
                  </a:lnTo>
                  <a:lnTo>
                    <a:pt x="500" y="780"/>
                  </a:lnTo>
                  <a:lnTo>
                    <a:pt x="502" y="779"/>
                  </a:lnTo>
                  <a:lnTo>
                    <a:pt x="504" y="777"/>
                  </a:lnTo>
                  <a:lnTo>
                    <a:pt x="504" y="773"/>
                  </a:lnTo>
                  <a:lnTo>
                    <a:pt x="502" y="771"/>
                  </a:lnTo>
                  <a:lnTo>
                    <a:pt x="501" y="770"/>
                  </a:lnTo>
                  <a:lnTo>
                    <a:pt x="499" y="766"/>
                  </a:lnTo>
                  <a:lnTo>
                    <a:pt x="495" y="766"/>
                  </a:lnTo>
                  <a:lnTo>
                    <a:pt x="491" y="765"/>
                  </a:lnTo>
                  <a:lnTo>
                    <a:pt x="487" y="764"/>
                  </a:lnTo>
                  <a:lnTo>
                    <a:pt x="486" y="761"/>
                  </a:lnTo>
                  <a:lnTo>
                    <a:pt x="485" y="758"/>
                  </a:lnTo>
                  <a:lnTo>
                    <a:pt x="486" y="754"/>
                  </a:lnTo>
                  <a:lnTo>
                    <a:pt x="487" y="749"/>
                  </a:lnTo>
                  <a:lnTo>
                    <a:pt x="490" y="742"/>
                  </a:lnTo>
                  <a:lnTo>
                    <a:pt x="493" y="738"/>
                  </a:lnTo>
                  <a:lnTo>
                    <a:pt x="496" y="736"/>
                  </a:lnTo>
                  <a:lnTo>
                    <a:pt x="500" y="732"/>
                  </a:lnTo>
                  <a:lnTo>
                    <a:pt x="501" y="730"/>
                  </a:lnTo>
                  <a:lnTo>
                    <a:pt x="501" y="725"/>
                  </a:lnTo>
                  <a:lnTo>
                    <a:pt x="499" y="722"/>
                  </a:lnTo>
                  <a:lnTo>
                    <a:pt x="500" y="721"/>
                  </a:lnTo>
                  <a:lnTo>
                    <a:pt x="500" y="718"/>
                  </a:lnTo>
                  <a:lnTo>
                    <a:pt x="500" y="715"/>
                  </a:lnTo>
                  <a:lnTo>
                    <a:pt x="498" y="712"/>
                  </a:lnTo>
                  <a:lnTo>
                    <a:pt x="495" y="710"/>
                  </a:lnTo>
                  <a:lnTo>
                    <a:pt x="492" y="709"/>
                  </a:lnTo>
                  <a:lnTo>
                    <a:pt x="485" y="709"/>
                  </a:lnTo>
                  <a:lnTo>
                    <a:pt x="483" y="708"/>
                  </a:lnTo>
                  <a:lnTo>
                    <a:pt x="480" y="707"/>
                  </a:lnTo>
                  <a:lnTo>
                    <a:pt x="480" y="705"/>
                  </a:lnTo>
                  <a:lnTo>
                    <a:pt x="482" y="702"/>
                  </a:lnTo>
                  <a:lnTo>
                    <a:pt x="483" y="698"/>
                  </a:lnTo>
                  <a:lnTo>
                    <a:pt x="479" y="693"/>
                  </a:lnTo>
                  <a:lnTo>
                    <a:pt x="478" y="690"/>
                  </a:lnTo>
                  <a:lnTo>
                    <a:pt x="477" y="688"/>
                  </a:lnTo>
                  <a:lnTo>
                    <a:pt x="477" y="686"/>
                  </a:lnTo>
                  <a:lnTo>
                    <a:pt x="478" y="683"/>
                  </a:lnTo>
                  <a:lnTo>
                    <a:pt x="480" y="682"/>
                  </a:lnTo>
                  <a:lnTo>
                    <a:pt x="483" y="680"/>
                  </a:lnTo>
                  <a:lnTo>
                    <a:pt x="484" y="676"/>
                  </a:lnTo>
                  <a:lnTo>
                    <a:pt x="484" y="674"/>
                  </a:lnTo>
                  <a:lnTo>
                    <a:pt x="483" y="670"/>
                  </a:lnTo>
                  <a:lnTo>
                    <a:pt x="485" y="667"/>
                  </a:lnTo>
                  <a:lnTo>
                    <a:pt x="486" y="666"/>
                  </a:lnTo>
                  <a:lnTo>
                    <a:pt x="488" y="666"/>
                  </a:lnTo>
                  <a:lnTo>
                    <a:pt x="491" y="666"/>
                  </a:lnTo>
                  <a:lnTo>
                    <a:pt x="492" y="665"/>
                  </a:lnTo>
                  <a:lnTo>
                    <a:pt x="493" y="662"/>
                  </a:lnTo>
                  <a:lnTo>
                    <a:pt x="495" y="662"/>
                  </a:lnTo>
                  <a:lnTo>
                    <a:pt x="496" y="662"/>
                  </a:lnTo>
                  <a:lnTo>
                    <a:pt x="498" y="665"/>
                  </a:lnTo>
                  <a:lnTo>
                    <a:pt x="498" y="666"/>
                  </a:lnTo>
                  <a:lnTo>
                    <a:pt x="496" y="668"/>
                  </a:lnTo>
                  <a:lnTo>
                    <a:pt x="495" y="669"/>
                  </a:lnTo>
                  <a:lnTo>
                    <a:pt x="495" y="670"/>
                  </a:lnTo>
                  <a:lnTo>
                    <a:pt x="496" y="673"/>
                  </a:lnTo>
                  <a:lnTo>
                    <a:pt x="498" y="673"/>
                  </a:lnTo>
                  <a:lnTo>
                    <a:pt x="500" y="673"/>
                  </a:lnTo>
                  <a:lnTo>
                    <a:pt x="501" y="675"/>
                  </a:lnTo>
                  <a:lnTo>
                    <a:pt x="502" y="676"/>
                  </a:lnTo>
                  <a:lnTo>
                    <a:pt x="503" y="678"/>
                  </a:lnTo>
                  <a:lnTo>
                    <a:pt x="506" y="678"/>
                  </a:lnTo>
                  <a:lnTo>
                    <a:pt x="508" y="676"/>
                  </a:lnTo>
                  <a:lnTo>
                    <a:pt x="509" y="676"/>
                  </a:lnTo>
                  <a:lnTo>
                    <a:pt x="510" y="675"/>
                  </a:lnTo>
                  <a:lnTo>
                    <a:pt x="511" y="675"/>
                  </a:lnTo>
                  <a:lnTo>
                    <a:pt x="518" y="672"/>
                  </a:lnTo>
                  <a:lnTo>
                    <a:pt x="522" y="669"/>
                  </a:lnTo>
                  <a:lnTo>
                    <a:pt x="525" y="668"/>
                  </a:lnTo>
                  <a:lnTo>
                    <a:pt x="524" y="666"/>
                  </a:lnTo>
                  <a:lnTo>
                    <a:pt x="524" y="662"/>
                  </a:lnTo>
                  <a:lnTo>
                    <a:pt x="520" y="659"/>
                  </a:lnTo>
                  <a:lnTo>
                    <a:pt x="518" y="654"/>
                  </a:lnTo>
                  <a:lnTo>
                    <a:pt x="520" y="652"/>
                  </a:lnTo>
                  <a:lnTo>
                    <a:pt x="525" y="651"/>
                  </a:lnTo>
                  <a:lnTo>
                    <a:pt x="527" y="649"/>
                  </a:lnTo>
                  <a:lnTo>
                    <a:pt x="526" y="644"/>
                  </a:lnTo>
                  <a:lnTo>
                    <a:pt x="524" y="643"/>
                  </a:lnTo>
                  <a:lnTo>
                    <a:pt x="519" y="638"/>
                  </a:lnTo>
                  <a:lnTo>
                    <a:pt x="517" y="635"/>
                  </a:lnTo>
                  <a:lnTo>
                    <a:pt x="516" y="632"/>
                  </a:lnTo>
                  <a:lnTo>
                    <a:pt x="515" y="628"/>
                  </a:lnTo>
                  <a:lnTo>
                    <a:pt x="511" y="628"/>
                  </a:lnTo>
                  <a:lnTo>
                    <a:pt x="509" y="629"/>
                  </a:lnTo>
                  <a:lnTo>
                    <a:pt x="507" y="629"/>
                  </a:lnTo>
                  <a:lnTo>
                    <a:pt x="504" y="626"/>
                  </a:lnTo>
                  <a:lnTo>
                    <a:pt x="502" y="626"/>
                  </a:lnTo>
                  <a:lnTo>
                    <a:pt x="500" y="625"/>
                  </a:lnTo>
                  <a:lnTo>
                    <a:pt x="498" y="625"/>
                  </a:lnTo>
                  <a:lnTo>
                    <a:pt x="496" y="621"/>
                  </a:lnTo>
                  <a:lnTo>
                    <a:pt x="500" y="621"/>
                  </a:lnTo>
                  <a:lnTo>
                    <a:pt x="503" y="621"/>
                  </a:lnTo>
                  <a:lnTo>
                    <a:pt x="507" y="621"/>
                  </a:lnTo>
                  <a:lnTo>
                    <a:pt x="508" y="618"/>
                  </a:lnTo>
                  <a:lnTo>
                    <a:pt x="507" y="614"/>
                  </a:lnTo>
                  <a:lnTo>
                    <a:pt x="506" y="611"/>
                  </a:lnTo>
                  <a:lnTo>
                    <a:pt x="502" y="609"/>
                  </a:lnTo>
                  <a:lnTo>
                    <a:pt x="501" y="604"/>
                  </a:lnTo>
                  <a:lnTo>
                    <a:pt x="502" y="603"/>
                  </a:lnTo>
                  <a:lnTo>
                    <a:pt x="504" y="598"/>
                  </a:lnTo>
                  <a:lnTo>
                    <a:pt x="504" y="595"/>
                  </a:lnTo>
                  <a:lnTo>
                    <a:pt x="500" y="594"/>
                  </a:lnTo>
                  <a:lnTo>
                    <a:pt x="498" y="592"/>
                  </a:lnTo>
                  <a:lnTo>
                    <a:pt x="495" y="589"/>
                  </a:lnTo>
                  <a:lnTo>
                    <a:pt x="492" y="589"/>
                  </a:lnTo>
                  <a:lnTo>
                    <a:pt x="490" y="587"/>
                  </a:lnTo>
                  <a:lnTo>
                    <a:pt x="487" y="585"/>
                  </a:lnTo>
                  <a:lnTo>
                    <a:pt x="485" y="584"/>
                  </a:lnTo>
                  <a:lnTo>
                    <a:pt x="480" y="582"/>
                  </a:lnTo>
                  <a:lnTo>
                    <a:pt x="477" y="584"/>
                  </a:lnTo>
                  <a:lnTo>
                    <a:pt x="472" y="586"/>
                  </a:lnTo>
                  <a:lnTo>
                    <a:pt x="469" y="588"/>
                  </a:lnTo>
                  <a:lnTo>
                    <a:pt x="463" y="593"/>
                  </a:lnTo>
                  <a:lnTo>
                    <a:pt x="459" y="596"/>
                  </a:lnTo>
                  <a:lnTo>
                    <a:pt x="455" y="600"/>
                  </a:lnTo>
                  <a:lnTo>
                    <a:pt x="453" y="602"/>
                  </a:lnTo>
                  <a:lnTo>
                    <a:pt x="452" y="604"/>
                  </a:lnTo>
                  <a:lnTo>
                    <a:pt x="447" y="606"/>
                  </a:lnTo>
                  <a:lnTo>
                    <a:pt x="445" y="606"/>
                  </a:lnTo>
                  <a:lnTo>
                    <a:pt x="442" y="606"/>
                  </a:lnTo>
                  <a:lnTo>
                    <a:pt x="438" y="606"/>
                  </a:lnTo>
                  <a:lnTo>
                    <a:pt x="437" y="604"/>
                  </a:lnTo>
                  <a:lnTo>
                    <a:pt x="435" y="603"/>
                  </a:lnTo>
                  <a:lnTo>
                    <a:pt x="431" y="598"/>
                  </a:lnTo>
                  <a:lnTo>
                    <a:pt x="428" y="596"/>
                  </a:lnTo>
                  <a:lnTo>
                    <a:pt x="423" y="595"/>
                  </a:lnTo>
                  <a:lnTo>
                    <a:pt x="419" y="596"/>
                  </a:lnTo>
                  <a:lnTo>
                    <a:pt x="416" y="598"/>
                  </a:lnTo>
                  <a:lnTo>
                    <a:pt x="411" y="602"/>
                  </a:lnTo>
                  <a:lnTo>
                    <a:pt x="412" y="603"/>
                  </a:lnTo>
                  <a:lnTo>
                    <a:pt x="408" y="604"/>
                  </a:lnTo>
                  <a:lnTo>
                    <a:pt x="406" y="605"/>
                  </a:lnTo>
                  <a:lnTo>
                    <a:pt x="404" y="606"/>
                  </a:lnTo>
                  <a:lnTo>
                    <a:pt x="400" y="606"/>
                  </a:lnTo>
                  <a:lnTo>
                    <a:pt x="397" y="605"/>
                  </a:lnTo>
                  <a:lnTo>
                    <a:pt x="388" y="603"/>
                  </a:lnTo>
                  <a:lnTo>
                    <a:pt x="383" y="601"/>
                  </a:lnTo>
                  <a:lnTo>
                    <a:pt x="368" y="601"/>
                  </a:lnTo>
                  <a:lnTo>
                    <a:pt x="354" y="596"/>
                  </a:lnTo>
                  <a:lnTo>
                    <a:pt x="352" y="596"/>
                  </a:lnTo>
                  <a:lnTo>
                    <a:pt x="348" y="594"/>
                  </a:lnTo>
                  <a:lnTo>
                    <a:pt x="344" y="595"/>
                  </a:lnTo>
                  <a:lnTo>
                    <a:pt x="342" y="597"/>
                  </a:lnTo>
                  <a:lnTo>
                    <a:pt x="340" y="601"/>
                  </a:lnTo>
                  <a:lnTo>
                    <a:pt x="339" y="601"/>
                  </a:lnTo>
                  <a:lnTo>
                    <a:pt x="335" y="598"/>
                  </a:lnTo>
                  <a:lnTo>
                    <a:pt x="334" y="595"/>
                  </a:lnTo>
                  <a:lnTo>
                    <a:pt x="332" y="593"/>
                  </a:lnTo>
                  <a:lnTo>
                    <a:pt x="328" y="589"/>
                  </a:lnTo>
                  <a:lnTo>
                    <a:pt x="328" y="587"/>
                  </a:lnTo>
                  <a:lnTo>
                    <a:pt x="328" y="582"/>
                  </a:lnTo>
                  <a:lnTo>
                    <a:pt x="330" y="580"/>
                  </a:lnTo>
                  <a:lnTo>
                    <a:pt x="333" y="577"/>
                  </a:lnTo>
                  <a:lnTo>
                    <a:pt x="335" y="574"/>
                  </a:lnTo>
                  <a:lnTo>
                    <a:pt x="339" y="572"/>
                  </a:lnTo>
                  <a:lnTo>
                    <a:pt x="340" y="572"/>
                  </a:lnTo>
                  <a:lnTo>
                    <a:pt x="341" y="569"/>
                  </a:lnTo>
                  <a:lnTo>
                    <a:pt x="339" y="566"/>
                  </a:lnTo>
                  <a:lnTo>
                    <a:pt x="336" y="565"/>
                  </a:lnTo>
                  <a:lnTo>
                    <a:pt x="333" y="558"/>
                  </a:lnTo>
                  <a:lnTo>
                    <a:pt x="330" y="556"/>
                  </a:lnTo>
                  <a:lnTo>
                    <a:pt x="328" y="554"/>
                  </a:lnTo>
                  <a:lnTo>
                    <a:pt x="327" y="549"/>
                  </a:lnTo>
                  <a:lnTo>
                    <a:pt x="330" y="548"/>
                  </a:lnTo>
                  <a:lnTo>
                    <a:pt x="331" y="548"/>
                  </a:lnTo>
                  <a:lnTo>
                    <a:pt x="333" y="548"/>
                  </a:lnTo>
                  <a:lnTo>
                    <a:pt x="334" y="549"/>
                  </a:lnTo>
                  <a:lnTo>
                    <a:pt x="336" y="550"/>
                  </a:lnTo>
                  <a:lnTo>
                    <a:pt x="341" y="553"/>
                  </a:lnTo>
                  <a:lnTo>
                    <a:pt x="342" y="554"/>
                  </a:lnTo>
                  <a:lnTo>
                    <a:pt x="344" y="556"/>
                  </a:lnTo>
                  <a:lnTo>
                    <a:pt x="347" y="557"/>
                  </a:lnTo>
                  <a:lnTo>
                    <a:pt x="348" y="560"/>
                  </a:lnTo>
                  <a:lnTo>
                    <a:pt x="349" y="561"/>
                  </a:lnTo>
                  <a:lnTo>
                    <a:pt x="355" y="564"/>
                  </a:lnTo>
                  <a:lnTo>
                    <a:pt x="356" y="564"/>
                  </a:lnTo>
                  <a:lnTo>
                    <a:pt x="358" y="568"/>
                  </a:lnTo>
                  <a:lnTo>
                    <a:pt x="359" y="570"/>
                  </a:lnTo>
                  <a:lnTo>
                    <a:pt x="360" y="571"/>
                  </a:lnTo>
                  <a:lnTo>
                    <a:pt x="360" y="572"/>
                  </a:lnTo>
                  <a:lnTo>
                    <a:pt x="362" y="572"/>
                  </a:lnTo>
                  <a:lnTo>
                    <a:pt x="364" y="571"/>
                  </a:lnTo>
                  <a:lnTo>
                    <a:pt x="366" y="569"/>
                  </a:lnTo>
                  <a:lnTo>
                    <a:pt x="371" y="566"/>
                  </a:lnTo>
                  <a:lnTo>
                    <a:pt x="374" y="565"/>
                  </a:lnTo>
                  <a:lnTo>
                    <a:pt x="378" y="565"/>
                  </a:lnTo>
                  <a:lnTo>
                    <a:pt x="379" y="564"/>
                  </a:lnTo>
                  <a:lnTo>
                    <a:pt x="382" y="563"/>
                  </a:lnTo>
                  <a:lnTo>
                    <a:pt x="384" y="561"/>
                  </a:lnTo>
                  <a:lnTo>
                    <a:pt x="386" y="558"/>
                  </a:lnTo>
                  <a:lnTo>
                    <a:pt x="388" y="556"/>
                  </a:lnTo>
                  <a:lnTo>
                    <a:pt x="390" y="555"/>
                  </a:lnTo>
                  <a:lnTo>
                    <a:pt x="391" y="553"/>
                  </a:lnTo>
                  <a:lnTo>
                    <a:pt x="392" y="552"/>
                  </a:lnTo>
                  <a:lnTo>
                    <a:pt x="392" y="549"/>
                  </a:lnTo>
                  <a:lnTo>
                    <a:pt x="391" y="548"/>
                  </a:lnTo>
                  <a:lnTo>
                    <a:pt x="389" y="547"/>
                  </a:lnTo>
                  <a:lnTo>
                    <a:pt x="388" y="548"/>
                  </a:lnTo>
                  <a:lnTo>
                    <a:pt x="387" y="549"/>
                  </a:lnTo>
                  <a:lnTo>
                    <a:pt x="384" y="550"/>
                  </a:lnTo>
                  <a:lnTo>
                    <a:pt x="381" y="552"/>
                  </a:lnTo>
                  <a:lnTo>
                    <a:pt x="380" y="553"/>
                  </a:lnTo>
                  <a:lnTo>
                    <a:pt x="376" y="554"/>
                  </a:lnTo>
                  <a:lnTo>
                    <a:pt x="373" y="553"/>
                  </a:lnTo>
                  <a:lnTo>
                    <a:pt x="372" y="553"/>
                  </a:lnTo>
                  <a:lnTo>
                    <a:pt x="370" y="553"/>
                  </a:lnTo>
                  <a:lnTo>
                    <a:pt x="365" y="552"/>
                  </a:lnTo>
                  <a:lnTo>
                    <a:pt x="363" y="552"/>
                  </a:lnTo>
                  <a:lnTo>
                    <a:pt x="362" y="554"/>
                  </a:lnTo>
                  <a:lnTo>
                    <a:pt x="362" y="555"/>
                  </a:lnTo>
                  <a:lnTo>
                    <a:pt x="360" y="557"/>
                  </a:lnTo>
                  <a:lnTo>
                    <a:pt x="358" y="557"/>
                  </a:lnTo>
                  <a:lnTo>
                    <a:pt x="356" y="555"/>
                  </a:lnTo>
                  <a:lnTo>
                    <a:pt x="355" y="553"/>
                  </a:lnTo>
                  <a:lnTo>
                    <a:pt x="355" y="552"/>
                  </a:lnTo>
                  <a:lnTo>
                    <a:pt x="354" y="550"/>
                  </a:lnTo>
                  <a:lnTo>
                    <a:pt x="351" y="549"/>
                  </a:lnTo>
                  <a:lnTo>
                    <a:pt x="350" y="547"/>
                  </a:lnTo>
                  <a:lnTo>
                    <a:pt x="351" y="546"/>
                  </a:lnTo>
                  <a:lnTo>
                    <a:pt x="350" y="542"/>
                  </a:lnTo>
                  <a:lnTo>
                    <a:pt x="350" y="541"/>
                  </a:lnTo>
                  <a:lnTo>
                    <a:pt x="350" y="534"/>
                  </a:lnTo>
                  <a:lnTo>
                    <a:pt x="348" y="531"/>
                  </a:lnTo>
                  <a:lnTo>
                    <a:pt x="349" y="529"/>
                  </a:lnTo>
                  <a:lnTo>
                    <a:pt x="351" y="528"/>
                  </a:lnTo>
                  <a:lnTo>
                    <a:pt x="355" y="529"/>
                  </a:lnTo>
                  <a:lnTo>
                    <a:pt x="358" y="533"/>
                  </a:lnTo>
                  <a:lnTo>
                    <a:pt x="358" y="537"/>
                  </a:lnTo>
                  <a:lnTo>
                    <a:pt x="360" y="541"/>
                  </a:lnTo>
                  <a:lnTo>
                    <a:pt x="363" y="542"/>
                  </a:lnTo>
                  <a:lnTo>
                    <a:pt x="365" y="542"/>
                  </a:lnTo>
                  <a:lnTo>
                    <a:pt x="366" y="540"/>
                  </a:lnTo>
                  <a:lnTo>
                    <a:pt x="367" y="537"/>
                  </a:lnTo>
                  <a:lnTo>
                    <a:pt x="367" y="532"/>
                  </a:lnTo>
                  <a:lnTo>
                    <a:pt x="367" y="529"/>
                  </a:lnTo>
                  <a:lnTo>
                    <a:pt x="368" y="526"/>
                  </a:lnTo>
                  <a:lnTo>
                    <a:pt x="370" y="524"/>
                  </a:lnTo>
                  <a:lnTo>
                    <a:pt x="368" y="521"/>
                  </a:lnTo>
                  <a:lnTo>
                    <a:pt x="367" y="517"/>
                  </a:lnTo>
                  <a:lnTo>
                    <a:pt x="367" y="515"/>
                  </a:lnTo>
                  <a:lnTo>
                    <a:pt x="367" y="513"/>
                  </a:lnTo>
                  <a:lnTo>
                    <a:pt x="368" y="510"/>
                  </a:lnTo>
                  <a:lnTo>
                    <a:pt x="368" y="508"/>
                  </a:lnTo>
                  <a:lnTo>
                    <a:pt x="365" y="506"/>
                  </a:lnTo>
                  <a:lnTo>
                    <a:pt x="363" y="505"/>
                  </a:lnTo>
                  <a:lnTo>
                    <a:pt x="357" y="505"/>
                  </a:lnTo>
                  <a:lnTo>
                    <a:pt x="354" y="505"/>
                  </a:lnTo>
                  <a:lnTo>
                    <a:pt x="349" y="505"/>
                  </a:lnTo>
                  <a:lnTo>
                    <a:pt x="346" y="506"/>
                  </a:lnTo>
                  <a:lnTo>
                    <a:pt x="339" y="506"/>
                  </a:lnTo>
                  <a:lnTo>
                    <a:pt x="333" y="506"/>
                  </a:lnTo>
                  <a:lnTo>
                    <a:pt x="327" y="506"/>
                  </a:lnTo>
                  <a:lnTo>
                    <a:pt x="325" y="505"/>
                  </a:lnTo>
                  <a:lnTo>
                    <a:pt x="323" y="506"/>
                  </a:lnTo>
                  <a:lnTo>
                    <a:pt x="320" y="508"/>
                  </a:lnTo>
                  <a:lnTo>
                    <a:pt x="320" y="509"/>
                  </a:lnTo>
                  <a:lnTo>
                    <a:pt x="319" y="514"/>
                  </a:lnTo>
                  <a:lnTo>
                    <a:pt x="319" y="517"/>
                  </a:lnTo>
                  <a:lnTo>
                    <a:pt x="319" y="522"/>
                  </a:lnTo>
                  <a:lnTo>
                    <a:pt x="319" y="524"/>
                  </a:lnTo>
                  <a:lnTo>
                    <a:pt x="318" y="528"/>
                  </a:lnTo>
                  <a:lnTo>
                    <a:pt x="316" y="531"/>
                  </a:lnTo>
                  <a:lnTo>
                    <a:pt x="317" y="534"/>
                  </a:lnTo>
                  <a:lnTo>
                    <a:pt x="316" y="539"/>
                  </a:lnTo>
                  <a:lnTo>
                    <a:pt x="311" y="542"/>
                  </a:lnTo>
                  <a:lnTo>
                    <a:pt x="310" y="545"/>
                  </a:lnTo>
                  <a:lnTo>
                    <a:pt x="309" y="548"/>
                  </a:lnTo>
                  <a:lnTo>
                    <a:pt x="308" y="552"/>
                  </a:lnTo>
                  <a:lnTo>
                    <a:pt x="307" y="555"/>
                  </a:lnTo>
                  <a:lnTo>
                    <a:pt x="304" y="557"/>
                  </a:lnTo>
                  <a:lnTo>
                    <a:pt x="302" y="558"/>
                  </a:lnTo>
                  <a:lnTo>
                    <a:pt x="295" y="561"/>
                  </a:lnTo>
                  <a:lnTo>
                    <a:pt x="290" y="562"/>
                  </a:lnTo>
                  <a:lnTo>
                    <a:pt x="284" y="562"/>
                  </a:lnTo>
                  <a:lnTo>
                    <a:pt x="280" y="562"/>
                  </a:lnTo>
                  <a:lnTo>
                    <a:pt x="275" y="561"/>
                  </a:lnTo>
                  <a:lnTo>
                    <a:pt x="274" y="558"/>
                  </a:lnTo>
                  <a:lnTo>
                    <a:pt x="272" y="556"/>
                  </a:lnTo>
                  <a:lnTo>
                    <a:pt x="267" y="553"/>
                  </a:lnTo>
                  <a:lnTo>
                    <a:pt x="264" y="552"/>
                  </a:lnTo>
                  <a:lnTo>
                    <a:pt x="262" y="552"/>
                  </a:lnTo>
                  <a:lnTo>
                    <a:pt x="259" y="550"/>
                  </a:lnTo>
                  <a:lnTo>
                    <a:pt x="256" y="549"/>
                  </a:lnTo>
                  <a:lnTo>
                    <a:pt x="254" y="548"/>
                  </a:lnTo>
                  <a:lnTo>
                    <a:pt x="251" y="542"/>
                  </a:lnTo>
                  <a:lnTo>
                    <a:pt x="247" y="540"/>
                  </a:lnTo>
                  <a:lnTo>
                    <a:pt x="244" y="538"/>
                  </a:lnTo>
                  <a:lnTo>
                    <a:pt x="242" y="537"/>
                  </a:lnTo>
                  <a:lnTo>
                    <a:pt x="237" y="532"/>
                  </a:lnTo>
                  <a:lnTo>
                    <a:pt x="235" y="531"/>
                  </a:lnTo>
                  <a:lnTo>
                    <a:pt x="231" y="531"/>
                  </a:lnTo>
                  <a:lnTo>
                    <a:pt x="228" y="532"/>
                  </a:lnTo>
                  <a:lnTo>
                    <a:pt x="227" y="536"/>
                  </a:lnTo>
                  <a:lnTo>
                    <a:pt x="228" y="539"/>
                  </a:lnTo>
                  <a:lnTo>
                    <a:pt x="229" y="542"/>
                  </a:lnTo>
                  <a:lnTo>
                    <a:pt x="232" y="546"/>
                  </a:lnTo>
                  <a:lnTo>
                    <a:pt x="232" y="549"/>
                  </a:lnTo>
                  <a:lnTo>
                    <a:pt x="236" y="553"/>
                  </a:lnTo>
                  <a:lnTo>
                    <a:pt x="237" y="557"/>
                  </a:lnTo>
                  <a:lnTo>
                    <a:pt x="235" y="558"/>
                  </a:lnTo>
                  <a:lnTo>
                    <a:pt x="232" y="558"/>
                  </a:lnTo>
                  <a:lnTo>
                    <a:pt x="230" y="556"/>
                  </a:lnTo>
                  <a:lnTo>
                    <a:pt x="227" y="554"/>
                  </a:lnTo>
                  <a:lnTo>
                    <a:pt x="226" y="553"/>
                  </a:lnTo>
                  <a:lnTo>
                    <a:pt x="223" y="553"/>
                  </a:lnTo>
                  <a:lnTo>
                    <a:pt x="220" y="553"/>
                  </a:lnTo>
                  <a:lnTo>
                    <a:pt x="219" y="556"/>
                  </a:lnTo>
                  <a:lnTo>
                    <a:pt x="218" y="560"/>
                  </a:lnTo>
                  <a:lnTo>
                    <a:pt x="218" y="563"/>
                  </a:lnTo>
                  <a:lnTo>
                    <a:pt x="218" y="565"/>
                  </a:lnTo>
                  <a:lnTo>
                    <a:pt x="220" y="565"/>
                  </a:lnTo>
                  <a:lnTo>
                    <a:pt x="221" y="564"/>
                  </a:lnTo>
                  <a:lnTo>
                    <a:pt x="226" y="563"/>
                  </a:lnTo>
                  <a:lnTo>
                    <a:pt x="228" y="564"/>
                  </a:lnTo>
                  <a:lnTo>
                    <a:pt x="228" y="566"/>
                  </a:lnTo>
                  <a:lnTo>
                    <a:pt x="229" y="570"/>
                  </a:lnTo>
                  <a:lnTo>
                    <a:pt x="227" y="573"/>
                  </a:lnTo>
                  <a:lnTo>
                    <a:pt x="223" y="577"/>
                  </a:lnTo>
                  <a:lnTo>
                    <a:pt x="220" y="578"/>
                  </a:lnTo>
                  <a:lnTo>
                    <a:pt x="219" y="582"/>
                  </a:lnTo>
                  <a:lnTo>
                    <a:pt x="219" y="587"/>
                  </a:lnTo>
                  <a:lnTo>
                    <a:pt x="219" y="592"/>
                  </a:lnTo>
                  <a:lnTo>
                    <a:pt x="219" y="595"/>
                  </a:lnTo>
                  <a:lnTo>
                    <a:pt x="216" y="598"/>
                  </a:lnTo>
                  <a:lnTo>
                    <a:pt x="214" y="602"/>
                  </a:lnTo>
                  <a:lnTo>
                    <a:pt x="214" y="605"/>
                  </a:lnTo>
                  <a:lnTo>
                    <a:pt x="215" y="608"/>
                  </a:lnTo>
                  <a:lnTo>
                    <a:pt x="219" y="609"/>
                  </a:lnTo>
                  <a:lnTo>
                    <a:pt x="221" y="609"/>
                  </a:lnTo>
                  <a:lnTo>
                    <a:pt x="224" y="609"/>
                  </a:lnTo>
                  <a:lnTo>
                    <a:pt x="226" y="611"/>
                  </a:lnTo>
                  <a:lnTo>
                    <a:pt x="224" y="614"/>
                  </a:lnTo>
                  <a:lnTo>
                    <a:pt x="223" y="617"/>
                  </a:lnTo>
                  <a:lnTo>
                    <a:pt x="220" y="620"/>
                  </a:lnTo>
                  <a:lnTo>
                    <a:pt x="219" y="622"/>
                  </a:lnTo>
                  <a:lnTo>
                    <a:pt x="215" y="627"/>
                  </a:lnTo>
                  <a:lnTo>
                    <a:pt x="211" y="633"/>
                  </a:lnTo>
                  <a:lnTo>
                    <a:pt x="208" y="636"/>
                  </a:lnTo>
                  <a:lnTo>
                    <a:pt x="207" y="640"/>
                  </a:lnTo>
                  <a:lnTo>
                    <a:pt x="206" y="644"/>
                  </a:lnTo>
                  <a:lnTo>
                    <a:pt x="206" y="648"/>
                  </a:lnTo>
                  <a:lnTo>
                    <a:pt x="206" y="650"/>
                  </a:lnTo>
                  <a:lnTo>
                    <a:pt x="204" y="651"/>
                  </a:lnTo>
                  <a:lnTo>
                    <a:pt x="202" y="652"/>
                  </a:lnTo>
                  <a:lnTo>
                    <a:pt x="198" y="653"/>
                  </a:lnTo>
                  <a:lnTo>
                    <a:pt x="198" y="656"/>
                  </a:lnTo>
                  <a:lnTo>
                    <a:pt x="198" y="657"/>
                  </a:lnTo>
                  <a:lnTo>
                    <a:pt x="199" y="658"/>
                  </a:lnTo>
                  <a:lnTo>
                    <a:pt x="202" y="660"/>
                  </a:lnTo>
                  <a:lnTo>
                    <a:pt x="206" y="664"/>
                  </a:lnTo>
                  <a:lnTo>
                    <a:pt x="208" y="666"/>
                  </a:lnTo>
                  <a:lnTo>
                    <a:pt x="211" y="667"/>
                  </a:lnTo>
                  <a:lnTo>
                    <a:pt x="212" y="666"/>
                  </a:lnTo>
                  <a:lnTo>
                    <a:pt x="214" y="666"/>
                  </a:lnTo>
                  <a:lnTo>
                    <a:pt x="219" y="664"/>
                  </a:lnTo>
                  <a:lnTo>
                    <a:pt x="223" y="667"/>
                  </a:lnTo>
                  <a:lnTo>
                    <a:pt x="226" y="669"/>
                  </a:lnTo>
                  <a:lnTo>
                    <a:pt x="230" y="672"/>
                  </a:lnTo>
                  <a:lnTo>
                    <a:pt x="234" y="673"/>
                  </a:lnTo>
                  <a:lnTo>
                    <a:pt x="235" y="675"/>
                  </a:lnTo>
                  <a:lnTo>
                    <a:pt x="232" y="678"/>
                  </a:lnTo>
                  <a:lnTo>
                    <a:pt x="229" y="681"/>
                  </a:lnTo>
                  <a:lnTo>
                    <a:pt x="226" y="683"/>
                  </a:lnTo>
                  <a:lnTo>
                    <a:pt x="223" y="685"/>
                  </a:lnTo>
                  <a:lnTo>
                    <a:pt x="218" y="692"/>
                  </a:lnTo>
                  <a:lnTo>
                    <a:pt x="216" y="697"/>
                  </a:lnTo>
                  <a:lnTo>
                    <a:pt x="216" y="700"/>
                  </a:lnTo>
                  <a:lnTo>
                    <a:pt x="214" y="705"/>
                  </a:lnTo>
                  <a:lnTo>
                    <a:pt x="212" y="708"/>
                  </a:lnTo>
                  <a:lnTo>
                    <a:pt x="212" y="713"/>
                  </a:lnTo>
                  <a:lnTo>
                    <a:pt x="211" y="716"/>
                  </a:lnTo>
                  <a:lnTo>
                    <a:pt x="210" y="718"/>
                  </a:lnTo>
                  <a:lnTo>
                    <a:pt x="208" y="722"/>
                  </a:lnTo>
                  <a:lnTo>
                    <a:pt x="210" y="723"/>
                  </a:lnTo>
                  <a:lnTo>
                    <a:pt x="213" y="725"/>
                  </a:lnTo>
                  <a:lnTo>
                    <a:pt x="216" y="726"/>
                  </a:lnTo>
                  <a:lnTo>
                    <a:pt x="222" y="728"/>
                  </a:lnTo>
                  <a:lnTo>
                    <a:pt x="224" y="728"/>
                  </a:lnTo>
                  <a:lnTo>
                    <a:pt x="228" y="726"/>
                  </a:lnTo>
                  <a:lnTo>
                    <a:pt x="232" y="728"/>
                  </a:lnTo>
                  <a:lnTo>
                    <a:pt x="237" y="728"/>
                  </a:lnTo>
                  <a:lnTo>
                    <a:pt x="240" y="728"/>
                  </a:lnTo>
                  <a:lnTo>
                    <a:pt x="245" y="726"/>
                  </a:lnTo>
                  <a:lnTo>
                    <a:pt x="248" y="726"/>
                  </a:lnTo>
                  <a:lnTo>
                    <a:pt x="251" y="728"/>
                  </a:lnTo>
                  <a:lnTo>
                    <a:pt x="252" y="729"/>
                  </a:lnTo>
                  <a:lnTo>
                    <a:pt x="253" y="732"/>
                  </a:lnTo>
                  <a:lnTo>
                    <a:pt x="254" y="736"/>
                  </a:lnTo>
                  <a:lnTo>
                    <a:pt x="254" y="738"/>
                  </a:lnTo>
                  <a:lnTo>
                    <a:pt x="254" y="741"/>
                  </a:lnTo>
                  <a:lnTo>
                    <a:pt x="253" y="745"/>
                  </a:lnTo>
                  <a:lnTo>
                    <a:pt x="252" y="748"/>
                  </a:lnTo>
                  <a:lnTo>
                    <a:pt x="252" y="753"/>
                  </a:lnTo>
                  <a:lnTo>
                    <a:pt x="253" y="757"/>
                  </a:lnTo>
                  <a:lnTo>
                    <a:pt x="254" y="761"/>
                  </a:lnTo>
                  <a:lnTo>
                    <a:pt x="261" y="772"/>
                  </a:lnTo>
                  <a:lnTo>
                    <a:pt x="264" y="776"/>
                  </a:lnTo>
                  <a:lnTo>
                    <a:pt x="264" y="778"/>
                  </a:lnTo>
                  <a:lnTo>
                    <a:pt x="266" y="781"/>
                  </a:lnTo>
                  <a:lnTo>
                    <a:pt x="266" y="785"/>
                  </a:lnTo>
                  <a:lnTo>
                    <a:pt x="264" y="787"/>
                  </a:lnTo>
                  <a:lnTo>
                    <a:pt x="263" y="793"/>
                  </a:lnTo>
                  <a:lnTo>
                    <a:pt x="262" y="797"/>
                  </a:lnTo>
                  <a:lnTo>
                    <a:pt x="262" y="801"/>
                  </a:lnTo>
                  <a:lnTo>
                    <a:pt x="262" y="805"/>
                  </a:lnTo>
                  <a:lnTo>
                    <a:pt x="262" y="810"/>
                  </a:lnTo>
                  <a:lnTo>
                    <a:pt x="260" y="814"/>
                  </a:lnTo>
                  <a:lnTo>
                    <a:pt x="258" y="818"/>
                  </a:lnTo>
                  <a:lnTo>
                    <a:pt x="255" y="820"/>
                  </a:lnTo>
                  <a:lnTo>
                    <a:pt x="252" y="825"/>
                  </a:lnTo>
                  <a:lnTo>
                    <a:pt x="251" y="828"/>
                  </a:lnTo>
                  <a:lnTo>
                    <a:pt x="251" y="833"/>
                  </a:lnTo>
                  <a:lnTo>
                    <a:pt x="251" y="837"/>
                  </a:lnTo>
                  <a:lnTo>
                    <a:pt x="253" y="841"/>
                  </a:lnTo>
                  <a:lnTo>
                    <a:pt x="254" y="843"/>
                  </a:lnTo>
                  <a:lnTo>
                    <a:pt x="255" y="846"/>
                  </a:lnTo>
                  <a:lnTo>
                    <a:pt x="258" y="849"/>
                  </a:lnTo>
                  <a:lnTo>
                    <a:pt x="260" y="850"/>
                  </a:lnTo>
                  <a:lnTo>
                    <a:pt x="263" y="857"/>
                  </a:lnTo>
                  <a:lnTo>
                    <a:pt x="266" y="860"/>
                  </a:lnTo>
                  <a:lnTo>
                    <a:pt x="268" y="864"/>
                  </a:lnTo>
                  <a:lnTo>
                    <a:pt x="270" y="866"/>
                  </a:lnTo>
                  <a:lnTo>
                    <a:pt x="270" y="867"/>
                  </a:lnTo>
                  <a:lnTo>
                    <a:pt x="270" y="869"/>
                  </a:lnTo>
                  <a:lnTo>
                    <a:pt x="268" y="873"/>
                  </a:lnTo>
                  <a:lnTo>
                    <a:pt x="266" y="873"/>
                  </a:lnTo>
                  <a:lnTo>
                    <a:pt x="262" y="874"/>
                  </a:lnTo>
                  <a:lnTo>
                    <a:pt x="259" y="877"/>
                  </a:lnTo>
                  <a:lnTo>
                    <a:pt x="256" y="877"/>
                  </a:lnTo>
                  <a:lnTo>
                    <a:pt x="253" y="880"/>
                  </a:lnTo>
                  <a:lnTo>
                    <a:pt x="250" y="881"/>
                  </a:lnTo>
                  <a:lnTo>
                    <a:pt x="245" y="882"/>
                  </a:lnTo>
                  <a:lnTo>
                    <a:pt x="244" y="884"/>
                  </a:lnTo>
                  <a:lnTo>
                    <a:pt x="243" y="883"/>
                  </a:lnTo>
                  <a:lnTo>
                    <a:pt x="242" y="882"/>
                  </a:lnTo>
                  <a:lnTo>
                    <a:pt x="237" y="884"/>
                  </a:lnTo>
                  <a:lnTo>
                    <a:pt x="236" y="889"/>
                  </a:lnTo>
                  <a:lnTo>
                    <a:pt x="238" y="890"/>
                  </a:lnTo>
                  <a:lnTo>
                    <a:pt x="239" y="898"/>
                  </a:lnTo>
                  <a:lnTo>
                    <a:pt x="240" y="900"/>
                  </a:lnTo>
                  <a:lnTo>
                    <a:pt x="242" y="902"/>
                  </a:lnTo>
                  <a:lnTo>
                    <a:pt x="240" y="906"/>
                  </a:lnTo>
                  <a:lnTo>
                    <a:pt x="238" y="908"/>
                  </a:lnTo>
                  <a:lnTo>
                    <a:pt x="236" y="912"/>
                  </a:lnTo>
                  <a:lnTo>
                    <a:pt x="235" y="914"/>
                  </a:lnTo>
                  <a:lnTo>
                    <a:pt x="230" y="916"/>
                  </a:lnTo>
                  <a:lnTo>
                    <a:pt x="227" y="918"/>
                  </a:lnTo>
                  <a:lnTo>
                    <a:pt x="223" y="918"/>
                  </a:lnTo>
                  <a:lnTo>
                    <a:pt x="220" y="917"/>
                  </a:lnTo>
                  <a:lnTo>
                    <a:pt x="216" y="918"/>
                  </a:lnTo>
                  <a:lnTo>
                    <a:pt x="214" y="917"/>
                  </a:lnTo>
                  <a:lnTo>
                    <a:pt x="212" y="916"/>
                  </a:lnTo>
                  <a:lnTo>
                    <a:pt x="210" y="916"/>
                  </a:lnTo>
                  <a:lnTo>
                    <a:pt x="207" y="918"/>
                  </a:lnTo>
                  <a:lnTo>
                    <a:pt x="207" y="922"/>
                  </a:lnTo>
                  <a:lnTo>
                    <a:pt x="206" y="924"/>
                  </a:lnTo>
                  <a:lnTo>
                    <a:pt x="204" y="924"/>
                  </a:lnTo>
                  <a:lnTo>
                    <a:pt x="199" y="925"/>
                  </a:lnTo>
                  <a:lnTo>
                    <a:pt x="196" y="928"/>
                  </a:lnTo>
                  <a:lnTo>
                    <a:pt x="190" y="930"/>
                  </a:lnTo>
                  <a:lnTo>
                    <a:pt x="187" y="930"/>
                  </a:lnTo>
                  <a:lnTo>
                    <a:pt x="183" y="932"/>
                  </a:lnTo>
                  <a:lnTo>
                    <a:pt x="181" y="934"/>
                  </a:lnTo>
                  <a:lnTo>
                    <a:pt x="179" y="936"/>
                  </a:lnTo>
                  <a:lnTo>
                    <a:pt x="174" y="938"/>
                  </a:lnTo>
                  <a:lnTo>
                    <a:pt x="171" y="939"/>
                  </a:lnTo>
                  <a:lnTo>
                    <a:pt x="167" y="941"/>
                  </a:lnTo>
                  <a:lnTo>
                    <a:pt x="165" y="942"/>
                  </a:lnTo>
                  <a:lnTo>
                    <a:pt x="160" y="945"/>
                  </a:lnTo>
                  <a:lnTo>
                    <a:pt x="157" y="947"/>
                  </a:lnTo>
                  <a:lnTo>
                    <a:pt x="157" y="950"/>
                  </a:lnTo>
                  <a:lnTo>
                    <a:pt x="157" y="955"/>
                  </a:lnTo>
                  <a:lnTo>
                    <a:pt x="157" y="958"/>
                  </a:lnTo>
                  <a:lnTo>
                    <a:pt x="157" y="962"/>
                  </a:lnTo>
                  <a:lnTo>
                    <a:pt x="157" y="965"/>
                  </a:lnTo>
                  <a:lnTo>
                    <a:pt x="155" y="969"/>
                  </a:lnTo>
                  <a:lnTo>
                    <a:pt x="152" y="970"/>
                  </a:lnTo>
                  <a:lnTo>
                    <a:pt x="150" y="972"/>
                  </a:lnTo>
                  <a:lnTo>
                    <a:pt x="149" y="974"/>
                  </a:lnTo>
                  <a:lnTo>
                    <a:pt x="147" y="977"/>
                  </a:lnTo>
                  <a:lnTo>
                    <a:pt x="143" y="978"/>
                  </a:lnTo>
                  <a:lnTo>
                    <a:pt x="141" y="979"/>
                  </a:lnTo>
                  <a:lnTo>
                    <a:pt x="140" y="981"/>
                  </a:lnTo>
                  <a:lnTo>
                    <a:pt x="141" y="984"/>
                  </a:lnTo>
                  <a:lnTo>
                    <a:pt x="142" y="984"/>
                  </a:lnTo>
                  <a:lnTo>
                    <a:pt x="144" y="986"/>
                  </a:lnTo>
                  <a:lnTo>
                    <a:pt x="146" y="988"/>
                  </a:lnTo>
                  <a:lnTo>
                    <a:pt x="148" y="990"/>
                  </a:lnTo>
                  <a:lnTo>
                    <a:pt x="150" y="993"/>
                  </a:lnTo>
                  <a:lnTo>
                    <a:pt x="152" y="994"/>
                  </a:lnTo>
                  <a:lnTo>
                    <a:pt x="155" y="995"/>
                  </a:lnTo>
                  <a:lnTo>
                    <a:pt x="157" y="994"/>
                  </a:lnTo>
                  <a:lnTo>
                    <a:pt x="159" y="994"/>
                  </a:lnTo>
                  <a:lnTo>
                    <a:pt x="164" y="995"/>
                  </a:lnTo>
                  <a:lnTo>
                    <a:pt x="167" y="996"/>
                  </a:lnTo>
                  <a:lnTo>
                    <a:pt x="170" y="997"/>
                  </a:lnTo>
                  <a:lnTo>
                    <a:pt x="172" y="998"/>
                  </a:lnTo>
                  <a:lnTo>
                    <a:pt x="174" y="1001"/>
                  </a:lnTo>
                  <a:lnTo>
                    <a:pt x="176" y="1001"/>
                  </a:lnTo>
                  <a:lnTo>
                    <a:pt x="179" y="1000"/>
                  </a:lnTo>
                  <a:lnTo>
                    <a:pt x="183" y="998"/>
                  </a:lnTo>
                  <a:lnTo>
                    <a:pt x="186" y="997"/>
                  </a:lnTo>
                  <a:lnTo>
                    <a:pt x="188" y="997"/>
                  </a:lnTo>
                  <a:lnTo>
                    <a:pt x="190" y="996"/>
                  </a:lnTo>
                  <a:lnTo>
                    <a:pt x="191" y="998"/>
                  </a:lnTo>
                  <a:lnTo>
                    <a:pt x="194" y="1000"/>
                  </a:lnTo>
                  <a:lnTo>
                    <a:pt x="192" y="1003"/>
                  </a:lnTo>
                  <a:lnTo>
                    <a:pt x="192" y="1005"/>
                  </a:lnTo>
                  <a:lnTo>
                    <a:pt x="194" y="1008"/>
                  </a:lnTo>
                  <a:lnTo>
                    <a:pt x="195" y="1009"/>
                  </a:lnTo>
                  <a:lnTo>
                    <a:pt x="197" y="1010"/>
                  </a:lnTo>
                  <a:lnTo>
                    <a:pt x="199" y="1010"/>
                  </a:lnTo>
                  <a:lnTo>
                    <a:pt x="202" y="1011"/>
                  </a:lnTo>
                  <a:lnTo>
                    <a:pt x="202" y="1013"/>
                  </a:lnTo>
                  <a:lnTo>
                    <a:pt x="202" y="1014"/>
                  </a:lnTo>
                  <a:lnTo>
                    <a:pt x="199" y="1016"/>
                  </a:lnTo>
                  <a:lnTo>
                    <a:pt x="198" y="1017"/>
                  </a:lnTo>
                  <a:lnTo>
                    <a:pt x="195" y="1017"/>
                  </a:lnTo>
                  <a:lnTo>
                    <a:pt x="191" y="1017"/>
                  </a:lnTo>
                  <a:lnTo>
                    <a:pt x="187" y="1018"/>
                  </a:lnTo>
                  <a:lnTo>
                    <a:pt x="183" y="1019"/>
                  </a:lnTo>
                  <a:lnTo>
                    <a:pt x="181" y="1020"/>
                  </a:lnTo>
                  <a:lnTo>
                    <a:pt x="178" y="1022"/>
                  </a:lnTo>
                  <a:lnTo>
                    <a:pt x="176" y="1025"/>
                  </a:lnTo>
                  <a:lnTo>
                    <a:pt x="173" y="1028"/>
                  </a:lnTo>
                  <a:lnTo>
                    <a:pt x="171" y="1029"/>
                  </a:lnTo>
                  <a:lnTo>
                    <a:pt x="162" y="1032"/>
                  </a:lnTo>
                  <a:lnTo>
                    <a:pt x="160" y="1032"/>
                  </a:lnTo>
                  <a:lnTo>
                    <a:pt x="159" y="1033"/>
                  </a:lnTo>
                  <a:lnTo>
                    <a:pt x="155" y="1034"/>
                  </a:lnTo>
                  <a:lnTo>
                    <a:pt x="152" y="1033"/>
                  </a:lnTo>
                  <a:lnTo>
                    <a:pt x="149" y="1033"/>
                  </a:lnTo>
                  <a:lnTo>
                    <a:pt x="147" y="1035"/>
                  </a:lnTo>
                  <a:lnTo>
                    <a:pt x="143" y="1038"/>
                  </a:lnTo>
                  <a:lnTo>
                    <a:pt x="140" y="1041"/>
                  </a:lnTo>
                  <a:lnTo>
                    <a:pt x="138" y="1046"/>
                  </a:lnTo>
                  <a:lnTo>
                    <a:pt x="135" y="1048"/>
                  </a:lnTo>
                  <a:lnTo>
                    <a:pt x="132" y="1049"/>
                  </a:lnTo>
                  <a:lnTo>
                    <a:pt x="130" y="1049"/>
                  </a:lnTo>
                  <a:lnTo>
                    <a:pt x="127" y="1048"/>
                  </a:lnTo>
                  <a:lnTo>
                    <a:pt x="124" y="1045"/>
                  </a:lnTo>
                  <a:lnTo>
                    <a:pt x="122" y="1044"/>
                  </a:lnTo>
                  <a:lnTo>
                    <a:pt x="118" y="1042"/>
                  </a:lnTo>
                  <a:lnTo>
                    <a:pt x="117" y="1040"/>
                  </a:lnTo>
                  <a:lnTo>
                    <a:pt x="115" y="1037"/>
                  </a:lnTo>
                  <a:lnTo>
                    <a:pt x="112" y="1036"/>
                  </a:lnTo>
                  <a:lnTo>
                    <a:pt x="109" y="1036"/>
                  </a:lnTo>
                  <a:lnTo>
                    <a:pt x="106" y="1036"/>
                  </a:lnTo>
                  <a:lnTo>
                    <a:pt x="101" y="1037"/>
                  </a:lnTo>
                  <a:lnTo>
                    <a:pt x="96" y="1041"/>
                  </a:lnTo>
                  <a:lnTo>
                    <a:pt x="84" y="1053"/>
                  </a:lnTo>
                  <a:lnTo>
                    <a:pt x="84" y="1059"/>
                  </a:lnTo>
                  <a:lnTo>
                    <a:pt x="84" y="1062"/>
                  </a:lnTo>
                  <a:lnTo>
                    <a:pt x="85" y="1065"/>
                  </a:lnTo>
                  <a:lnTo>
                    <a:pt x="86" y="1068"/>
                  </a:lnTo>
                  <a:lnTo>
                    <a:pt x="88" y="1072"/>
                  </a:lnTo>
                  <a:lnTo>
                    <a:pt x="90" y="1075"/>
                  </a:lnTo>
                  <a:lnTo>
                    <a:pt x="91" y="1077"/>
                  </a:lnTo>
                  <a:lnTo>
                    <a:pt x="92" y="1081"/>
                  </a:lnTo>
                  <a:lnTo>
                    <a:pt x="94" y="1084"/>
                  </a:lnTo>
                  <a:lnTo>
                    <a:pt x="96" y="1086"/>
                  </a:lnTo>
                  <a:lnTo>
                    <a:pt x="98" y="1090"/>
                  </a:lnTo>
                  <a:lnTo>
                    <a:pt x="100" y="1091"/>
                  </a:lnTo>
                  <a:lnTo>
                    <a:pt x="103" y="1092"/>
                  </a:lnTo>
                  <a:lnTo>
                    <a:pt x="108" y="1091"/>
                  </a:lnTo>
                  <a:lnTo>
                    <a:pt x="111" y="1091"/>
                  </a:lnTo>
                  <a:lnTo>
                    <a:pt x="114" y="1091"/>
                  </a:lnTo>
                  <a:lnTo>
                    <a:pt x="117" y="1092"/>
                  </a:lnTo>
                  <a:lnTo>
                    <a:pt x="117" y="1093"/>
                  </a:lnTo>
                  <a:lnTo>
                    <a:pt x="118" y="1094"/>
                  </a:lnTo>
                  <a:lnTo>
                    <a:pt x="122" y="1096"/>
                  </a:lnTo>
                  <a:lnTo>
                    <a:pt x="123" y="1097"/>
                  </a:lnTo>
                  <a:lnTo>
                    <a:pt x="124" y="1099"/>
                  </a:lnTo>
                  <a:lnTo>
                    <a:pt x="123" y="1101"/>
                  </a:lnTo>
                  <a:lnTo>
                    <a:pt x="124" y="1102"/>
                  </a:lnTo>
                  <a:lnTo>
                    <a:pt x="124" y="1105"/>
                  </a:lnTo>
                  <a:lnTo>
                    <a:pt x="123" y="1107"/>
                  </a:lnTo>
                  <a:lnTo>
                    <a:pt x="123" y="1108"/>
                  </a:lnTo>
                  <a:lnTo>
                    <a:pt x="120" y="1110"/>
                  </a:lnTo>
                  <a:lnTo>
                    <a:pt x="119" y="1112"/>
                  </a:lnTo>
                  <a:lnTo>
                    <a:pt x="119" y="1114"/>
                  </a:lnTo>
                  <a:lnTo>
                    <a:pt x="119" y="1120"/>
                  </a:lnTo>
                  <a:lnTo>
                    <a:pt x="119" y="1122"/>
                  </a:lnTo>
                  <a:lnTo>
                    <a:pt x="119" y="1125"/>
                  </a:lnTo>
                  <a:lnTo>
                    <a:pt x="119" y="1128"/>
                  </a:lnTo>
                  <a:lnTo>
                    <a:pt x="118" y="1130"/>
                  </a:lnTo>
                  <a:lnTo>
                    <a:pt x="116" y="1131"/>
                  </a:lnTo>
                  <a:lnTo>
                    <a:pt x="115" y="1132"/>
                  </a:lnTo>
                  <a:lnTo>
                    <a:pt x="112" y="1134"/>
                  </a:lnTo>
                  <a:lnTo>
                    <a:pt x="111" y="1137"/>
                  </a:lnTo>
                  <a:lnTo>
                    <a:pt x="110" y="1140"/>
                  </a:lnTo>
                  <a:lnTo>
                    <a:pt x="108" y="1142"/>
                  </a:lnTo>
                  <a:lnTo>
                    <a:pt x="107" y="1146"/>
                  </a:lnTo>
                  <a:lnTo>
                    <a:pt x="106" y="1148"/>
                  </a:lnTo>
                  <a:lnTo>
                    <a:pt x="104" y="1153"/>
                  </a:lnTo>
                  <a:lnTo>
                    <a:pt x="104" y="1156"/>
                  </a:lnTo>
                  <a:lnTo>
                    <a:pt x="103" y="1161"/>
                  </a:lnTo>
                  <a:lnTo>
                    <a:pt x="103" y="1163"/>
                  </a:lnTo>
                  <a:lnTo>
                    <a:pt x="102" y="1166"/>
                  </a:lnTo>
                  <a:lnTo>
                    <a:pt x="100" y="1168"/>
                  </a:lnTo>
                  <a:lnTo>
                    <a:pt x="98" y="1168"/>
                  </a:lnTo>
                  <a:lnTo>
                    <a:pt x="94" y="1168"/>
                  </a:lnTo>
                  <a:lnTo>
                    <a:pt x="92" y="1168"/>
                  </a:lnTo>
                  <a:lnTo>
                    <a:pt x="87" y="1166"/>
                  </a:lnTo>
                  <a:lnTo>
                    <a:pt x="84" y="1165"/>
                  </a:lnTo>
                  <a:lnTo>
                    <a:pt x="78" y="1166"/>
                  </a:lnTo>
                  <a:lnTo>
                    <a:pt x="75" y="1168"/>
                  </a:lnTo>
                  <a:lnTo>
                    <a:pt x="70" y="1170"/>
                  </a:lnTo>
                  <a:lnTo>
                    <a:pt x="67" y="1171"/>
                  </a:lnTo>
                  <a:lnTo>
                    <a:pt x="66" y="1174"/>
                  </a:lnTo>
                  <a:lnTo>
                    <a:pt x="64" y="1177"/>
                  </a:lnTo>
                  <a:lnTo>
                    <a:pt x="62" y="1182"/>
                  </a:lnTo>
                  <a:lnTo>
                    <a:pt x="60" y="1186"/>
                  </a:lnTo>
                  <a:lnTo>
                    <a:pt x="59" y="1189"/>
                  </a:lnTo>
                  <a:lnTo>
                    <a:pt x="56" y="1193"/>
                  </a:lnTo>
                  <a:lnTo>
                    <a:pt x="55" y="1195"/>
                  </a:lnTo>
                  <a:lnTo>
                    <a:pt x="53" y="1197"/>
                  </a:lnTo>
                  <a:lnTo>
                    <a:pt x="51" y="1197"/>
                  </a:lnTo>
                  <a:lnTo>
                    <a:pt x="47" y="1198"/>
                  </a:lnTo>
                  <a:lnTo>
                    <a:pt x="44" y="1197"/>
                  </a:lnTo>
                  <a:lnTo>
                    <a:pt x="42" y="1196"/>
                  </a:lnTo>
                  <a:lnTo>
                    <a:pt x="39" y="1193"/>
                  </a:lnTo>
                  <a:lnTo>
                    <a:pt x="36" y="1189"/>
                  </a:lnTo>
                  <a:lnTo>
                    <a:pt x="30" y="1187"/>
                  </a:lnTo>
                  <a:lnTo>
                    <a:pt x="27" y="1185"/>
                  </a:lnTo>
                  <a:lnTo>
                    <a:pt x="26" y="1184"/>
                  </a:lnTo>
                  <a:lnTo>
                    <a:pt x="24" y="1180"/>
                  </a:lnTo>
                  <a:lnTo>
                    <a:pt x="23" y="1178"/>
                  </a:lnTo>
                  <a:lnTo>
                    <a:pt x="21" y="1178"/>
                  </a:lnTo>
                  <a:lnTo>
                    <a:pt x="20" y="1177"/>
                  </a:lnTo>
                  <a:lnTo>
                    <a:pt x="18" y="1177"/>
                  </a:lnTo>
                  <a:lnTo>
                    <a:pt x="14" y="1177"/>
                  </a:lnTo>
                  <a:lnTo>
                    <a:pt x="12" y="1178"/>
                  </a:lnTo>
                  <a:lnTo>
                    <a:pt x="8" y="1180"/>
                  </a:lnTo>
                  <a:lnTo>
                    <a:pt x="6" y="1185"/>
                  </a:lnTo>
                  <a:lnTo>
                    <a:pt x="7" y="1189"/>
                  </a:lnTo>
                  <a:lnTo>
                    <a:pt x="8" y="1194"/>
                  </a:lnTo>
                  <a:lnTo>
                    <a:pt x="11" y="1196"/>
                  </a:lnTo>
                  <a:lnTo>
                    <a:pt x="12" y="1198"/>
                  </a:lnTo>
                  <a:lnTo>
                    <a:pt x="14" y="1200"/>
                  </a:lnTo>
                  <a:lnTo>
                    <a:pt x="15" y="1203"/>
                  </a:lnTo>
                  <a:lnTo>
                    <a:pt x="16" y="1208"/>
                  </a:lnTo>
                  <a:lnTo>
                    <a:pt x="19" y="1210"/>
                  </a:lnTo>
                  <a:lnTo>
                    <a:pt x="20" y="1211"/>
                  </a:lnTo>
                  <a:lnTo>
                    <a:pt x="21" y="1213"/>
                  </a:lnTo>
                  <a:lnTo>
                    <a:pt x="23" y="1214"/>
                  </a:lnTo>
                  <a:lnTo>
                    <a:pt x="26" y="1217"/>
                  </a:lnTo>
                  <a:lnTo>
                    <a:pt x="28" y="1218"/>
                  </a:lnTo>
                  <a:lnTo>
                    <a:pt x="30" y="1220"/>
                  </a:lnTo>
                  <a:lnTo>
                    <a:pt x="34" y="1221"/>
                  </a:lnTo>
                  <a:lnTo>
                    <a:pt x="35" y="1222"/>
                  </a:lnTo>
                  <a:lnTo>
                    <a:pt x="36" y="1224"/>
                  </a:lnTo>
                  <a:lnTo>
                    <a:pt x="38" y="1224"/>
                  </a:lnTo>
                  <a:lnTo>
                    <a:pt x="42" y="1224"/>
                  </a:lnTo>
                  <a:lnTo>
                    <a:pt x="44" y="1224"/>
                  </a:lnTo>
                  <a:lnTo>
                    <a:pt x="45" y="1221"/>
                  </a:lnTo>
                  <a:lnTo>
                    <a:pt x="45" y="1220"/>
                  </a:lnTo>
                  <a:lnTo>
                    <a:pt x="46" y="1217"/>
                  </a:lnTo>
                  <a:lnTo>
                    <a:pt x="48" y="1216"/>
                  </a:lnTo>
                  <a:lnTo>
                    <a:pt x="50" y="1216"/>
                  </a:lnTo>
                  <a:lnTo>
                    <a:pt x="51" y="1218"/>
                  </a:lnTo>
                  <a:lnTo>
                    <a:pt x="55" y="1220"/>
                  </a:lnTo>
                  <a:lnTo>
                    <a:pt x="56" y="1220"/>
                  </a:lnTo>
                  <a:lnTo>
                    <a:pt x="59" y="1222"/>
                  </a:lnTo>
                  <a:lnTo>
                    <a:pt x="60" y="1225"/>
                  </a:lnTo>
                  <a:lnTo>
                    <a:pt x="66" y="1227"/>
                  </a:lnTo>
                  <a:lnTo>
                    <a:pt x="68" y="1227"/>
                  </a:lnTo>
                  <a:lnTo>
                    <a:pt x="69" y="1227"/>
                  </a:lnTo>
                  <a:lnTo>
                    <a:pt x="72" y="1227"/>
                  </a:lnTo>
                  <a:lnTo>
                    <a:pt x="76" y="1229"/>
                  </a:lnTo>
                  <a:lnTo>
                    <a:pt x="78" y="1232"/>
                  </a:lnTo>
                  <a:lnTo>
                    <a:pt x="77" y="1235"/>
                  </a:lnTo>
                  <a:lnTo>
                    <a:pt x="74" y="1237"/>
                  </a:lnTo>
                  <a:lnTo>
                    <a:pt x="72" y="1238"/>
                  </a:lnTo>
                  <a:lnTo>
                    <a:pt x="69" y="1238"/>
                  </a:lnTo>
                  <a:lnTo>
                    <a:pt x="66" y="1240"/>
                  </a:lnTo>
                  <a:lnTo>
                    <a:pt x="62" y="1240"/>
                  </a:lnTo>
                  <a:lnTo>
                    <a:pt x="59" y="1241"/>
                  </a:lnTo>
                  <a:lnTo>
                    <a:pt x="54" y="1242"/>
                  </a:lnTo>
                  <a:lnTo>
                    <a:pt x="51" y="1245"/>
                  </a:lnTo>
                  <a:lnTo>
                    <a:pt x="50" y="1248"/>
                  </a:lnTo>
                  <a:lnTo>
                    <a:pt x="48" y="1249"/>
                  </a:lnTo>
                  <a:lnTo>
                    <a:pt x="46" y="1252"/>
                  </a:lnTo>
                  <a:lnTo>
                    <a:pt x="43" y="1253"/>
                  </a:lnTo>
                  <a:lnTo>
                    <a:pt x="39" y="1254"/>
                  </a:lnTo>
                  <a:lnTo>
                    <a:pt x="36" y="1254"/>
                  </a:lnTo>
                  <a:lnTo>
                    <a:pt x="31" y="1251"/>
                  </a:lnTo>
                  <a:lnTo>
                    <a:pt x="29" y="1250"/>
                  </a:lnTo>
                  <a:lnTo>
                    <a:pt x="23" y="1245"/>
                  </a:lnTo>
                  <a:lnTo>
                    <a:pt x="21" y="1244"/>
                  </a:lnTo>
                  <a:lnTo>
                    <a:pt x="18" y="1243"/>
                  </a:lnTo>
                  <a:lnTo>
                    <a:pt x="15" y="1242"/>
                  </a:lnTo>
                  <a:lnTo>
                    <a:pt x="13" y="1241"/>
                  </a:lnTo>
                  <a:lnTo>
                    <a:pt x="11" y="1241"/>
                  </a:lnTo>
                  <a:lnTo>
                    <a:pt x="8" y="1241"/>
                  </a:lnTo>
                  <a:lnTo>
                    <a:pt x="6" y="1242"/>
                  </a:lnTo>
                  <a:lnTo>
                    <a:pt x="5" y="1243"/>
                  </a:lnTo>
                  <a:lnTo>
                    <a:pt x="4" y="1244"/>
                  </a:lnTo>
                  <a:lnTo>
                    <a:pt x="3" y="1246"/>
                  </a:lnTo>
                  <a:lnTo>
                    <a:pt x="0" y="1248"/>
                  </a:lnTo>
                  <a:lnTo>
                    <a:pt x="0" y="1251"/>
                  </a:lnTo>
                  <a:lnTo>
                    <a:pt x="0" y="1257"/>
                  </a:lnTo>
                  <a:lnTo>
                    <a:pt x="4" y="1260"/>
                  </a:lnTo>
                  <a:lnTo>
                    <a:pt x="5" y="1265"/>
                  </a:lnTo>
                  <a:lnTo>
                    <a:pt x="6" y="1268"/>
                  </a:lnTo>
                  <a:lnTo>
                    <a:pt x="8" y="1269"/>
                  </a:lnTo>
                  <a:lnTo>
                    <a:pt x="11" y="1272"/>
                  </a:lnTo>
                  <a:lnTo>
                    <a:pt x="13" y="1275"/>
                  </a:lnTo>
                  <a:lnTo>
                    <a:pt x="15" y="1278"/>
                  </a:lnTo>
                  <a:lnTo>
                    <a:pt x="15" y="1283"/>
                  </a:lnTo>
                  <a:lnTo>
                    <a:pt x="16" y="1286"/>
                  </a:lnTo>
                  <a:lnTo>
                    <a:pt x="18" y="1288"/>
                  </a:lnTo>
                  <a:lnTo>
                    <a:pt x="20" y="1290"/>
                  </a:lnTo>
                  <a:lnTo>
                    <a:pt x="21" y="1291"/>
                  </a:lnTo>
                  <a:lnTo>
                    <a:pt x="22" y="1294"/>
                  </a:lnTo>
                  <a:lnTo>
                    <a:pt x="23" y="1297"/>
                  </a:lnTo>
                  <a:lnTo>
                    <a:pt x="28" y="1301"/>
                  </a:lnTo>
                  <a:lnTo>
                    <a:pt x="29" y="1305"/>
                  </a:lnTo>
                  <a:lnTo>
                    <a:pt x="30" y="1308"/>
                  </a:lnTo>
                  <a:lnTo>
                    <a:pt x="30" y="1313"/>
                  </a:lnTo>
                  <a:lnTo>
                    <a:pt x="31" y="1317"/>
                  </a:lnTo>
                  <a:lnTo>
                    <a:pt x="32" y="1320"/>
                  </a:lnTo>
                  <a:lnTo>
                    <a:pt x="35" y="1322"/>
                  </a:lnTo>
                  <a:lnTo>
                    <a:pt x="37" y="1323"/>
                  </a:lnTo>
                  <a:lnTo>
                    <a:pt x="39" y="1324"/>
                  </a:lnTo>
                  <a:lnTo>
                    <a:pt x="40" y="1328"/>
                  </a:lnTo>
                  <a:lnTo>
                    <a:pt x="39" y="1330"/>
                  </a:lnTo>
                  <a:lnTo>
                    <a:pt x="36" y="1332"/>
                  </a:lnTo>
                  <a:lnTo>
                    <a:pt x="34" y="1332"/>
                  </a:lnTo>
                  <a:lnTo>
                    <a:pt x="30" y="1334"/>
                  </a:lnTo>
                  <a:lnTo>
                    <a:pt x="24" y="1338"/>
                  </a:lnTo>
                  <a:lnTo>
                    <a:pt x="24" y="1340"/>
                  </a:lnTo>
                  <a:lnTo>
                    <a:pt x="24" y="1342"/>
                  </a:lnTo>
                  <a:lnTo>
                    <a:pt x="27" y="1344"/>
                  </a:lnTo>
                  <a:lnTo>
                    <a:pt x="29" y="1345"/>
                  </a:lnTo>
                  <a:lnTo>
                    <a:pt x="31" y="1346"/>
                  </a:lnTo>
                  <a:lnTo>
                    <a:pt x="32" y="1349"/>
                  </a:lnTo>
                  <a:lnTo>
                    <a:pt x="34" y="1354"/>
                  </a:lnTo>
                  <a:lnTo>
                    <a:pt x="34" y="1357"/>
                  </a:lnTo>
                  <a:lnTo>
                    <a:pt x="37" y="1360"/>
                  </a:lnTo>
                  <a:lnTo>
                    <a:pt x="39" y="1362"/>
                  </a:lnTo>
                  <a:lnTo>
                    <a:pt x="42" y="1363"/>
                  </a:lnTo>
                  <a:lnTo>
                    <a:pt x="43" y="1365"/>
                  </a:lnTo>
                  <a:lnTo>
                    <a:pt x="43" y="1366"/>
                  </a:lnTo>
                  <a:lnTo>
                    <a:pt x="45" y="1369"/>
                  </a:lnTo>
                  <a:lnTo>
                    <a:pt x="46" y="1371"/>
                  </a:lnTo>
                  <a:lnTo>
                    <a:pt x="47" y="1371"/>
                  </a:lnTo>
                  <a:lnTo>
                    <a:pt x="50" y="1372"/>
                  </a:lnTo>
                  <a:lnTo>
                    <a:pt x="52" y="1373"/>
                  </a:lnTo>
                  <a:lnTo>
                    <a:pt x="53" y="1373"/>
                  </a:lnTo>
                  <a:lnTo>
                    <a:pt x="56" y="1373"/>
                  </a:lnTo>
                  <a:lnTo>
                    <a:pt x="61" y="1373"/>
                  </a:lnTo>
                  <a:lnTo>
                    <a:pt x="64" y="1373"/>
                  </a:lnTo>
                  <a:lnTo>
                    <a:pt x="69" y="1370"/>
                  </a:lnTo>
                  <a:lnTo>
                    <a:pt x="70" y="1369"/>
                  </a:lnTo>
                  <a:lnTo>
                    <a:pt x="71" y="1366"/>
                  </a:lnTo>
                  <a:lnTo>
                    <a:pt x="74" y="1365"/>
                  </a:lnTo>
                  <a:lnTo>
                    <a:pt x="77" y="1363"/>
                  </a:lnTo>
                  <a:lnTo>
                    <a:pt x="79" y="1361"/>
                  </a:lnTo>
                  <a:lnTo>
                    <a:pt x="82" y="1358"/>
                  </a:lnTo>
                  <a:lnTo>
                    <a:pt x="84" y="1356"/>
                  </a:lnTo>
                  <a:lnTo>
                    <a:pt x="87" y="1353"/>
                  </a:lnTo>
                  <a:lnTo>
                    <a:pt x="88" y="1349"/>
                  </a:lnTo>
                  <a:lnTo>
                    <a:pt x="90" y="1347"/>
                  </a:lnTo>
                  <a:lnTo>
                    <a:pt x="92" y="1344"/>
                  </a:lnTo>
                  <a:lnTo>
                    <a:pt x="101" y="1338"/>
                  </a:lnTo>
                  <a:lnTo>
                    <a:pt x="106" y="1337"/>
                  </a:lnTo>
                  <a:lnTo>
                    <a:pt x="108" y="1336"/>
                  </a:lnTo>
                  <a:lnTo>
                    <a:pt x="112" y="1337"/>
                  </a:lnTo>
                  <a:lnTo>
                    <a:pt x="115" y="1338"/>
                  </a:lnTo>
                  <a:lnTo>
                    <a:pt x="118" y="1338"/>
                  </a:lnTo>
                  <a:lnTo>
                    <a:pt x="119" y="1340"/>
                  </a:lnTo>
                  <a:lnTo>
                    <a:pt x="122" y="1344"/>
                  </a:lnTo>
                  <a:lnTo>
                    <a:pt x="122" y="1346"/>
                  </a:lnTo>
                  <a:lnTo>
                    <a:pt x="122" y="1349"/>
                  </a:lnTo>
                  <a:lnTo>
                    <a:pt x="123" y="1353"/>
                  </a:lnTo>
                  <a:lnTo>
                    <a:pt x="123" y="1355"/>
                  </a:lnTo>
                  <a:lnTo>
                    <a:pt x="124" y="1357"/>
                  </a:lnTo>
                  <a:lnTo>
                    <a:pt x="126" y="1360"/>
                  </a:lnTo>
                  <a:lnTo>
                    <a:pt x="128" y="1362"/>
                  </a:lnTo>
                  <a:lnTo>
                    <a:pt x="131" y="1363"/>
                  </a:lnTo>
                  <a:lnTo>
                    <a:pt x="134" y="1364"/>
                  </a:lnTo>
                  <a:lnTo>
                    <a:pt x="139" y="1368"/>
                  </a:lnTo>
                  <a:lnTo>
                    <a:pt x="141" y="1372"/>
                  </a:lnTo>
                  <a:lnTo>
                    <a:pt x="141" y="1377"/>
                  </a:lnTo>
                  <a:lnTo>
                    <a:pt x="141" y="1382"/>
                  </a:lnTo>
                  <a:lnTo>
                    <a:pt x="140" y="1393"/>
                  </a:lnTo>
                  <a:lnTo>
                    <a:pt x="139" y="1401"/>
                  </a:lnTo>
                  <a:lnTo>
                    <a:pt x="138" y="1404"/>
                  </a:lnTo>
                  <a:lnTo>
                    <a:pt x="135" y="1408"/>
                  </a:lnTo>
                  <a:lnTo>
                    <a:pt x="135" y="1409"/>
                  </a:lnTo>
                  <a:lnTo>
                    <a:pt x="135" y="1411"/>
                  </a:lnTo>
                  <a:lnTo>
                    <a:pt x="135" y="1413"/>
                  </a:lnTo>
                  <a:lnTo>
                    <a:pt x="136" y="1413"/>
                  </a:lnTo>
                  <a:lnTo>
                    <a:pt x="141" y="1413"/>
                  </a:lnTo>
                  <a:lnTo>
                    <a:pt x="144" y="1412"/>
                  </a:lnTo>
                  <a:lnTo>
                    <a:pt x="146" y="1413"/>
                  </a:lnTo>
                  <a:lnTo>
                    <a:pt x="148" y="1416"/>
                  </a:lnTo>
                  <a:lnTo>
                    <a:pt x="151" y="1417"/>
                  </a:lnTo>
                  <a:lnTo>
                    <a:pt x="152" y="1420"/>
                  </a:lnTo>
                  <a:lnTo>
                    <a:pt x="152" y="1422"/>
                  </a:lnTo>
                  <a:lnTo>
                    <a:pt x="154" y="1427"/>
                  </a:lnTo>
                  <a:lnTo>
                    <a:pt x="156" y="1433"/>
                  </a:lnTo>
                  <a:lnTo>
                    <a:pt x="158" y="1436"/>
                  </a:lnTo>
                  <a:lnTo>
                    <a:pt x="160" y="1438"/>
                  </a:lnTo>
                  <a:lnTo>
                    <a:pt x="163" y="1441"/>
                  </a:lnTo>
                  <a:lnTo>
                    <a:pt x="170" y="1443"/>
                  </a:lnTo>
                  <a:lnTo>
                    <a:pt x="184" y="1445"/>
                  </a:lnTo>
                  <a:lnTo>
                    <a:pt x="196" y="1448"/>
                  </a:lnTo>
                  <a:lnTo>
                    <a:pt x="203" y="1449"/>
                  </a:lnTo>
                  <a:lnTo>
                    <a:pt x="210" y="1450"/>
                  </a:lnTo>
                  <a:lnTo>
                    <a:pt x="216" y="1452"/>
                  </a:lnTo>
                  <a:lnTo>
                    <a:pt x="219" y="1453"/>
                  </a:lnTo>
                  <a:lnTo>
                    <a:pt x="222" y="1454"/>
                  </a:lnTo>
                  <a:lnTo>
                    <a:pt x="226" y="1454"/>
                  </a:lnTo>
                  <a:lnTo>
                    <a:pt x="228" y="1453"/>
                  </a:lnTo>
                  <a:lnTo>
                    <a:pt x="229" y="1451"/>
                  </a:lnTo>
                  <a:lnTo>
                    <a:pt x="230" y="1450"/>
                  </a:lnTo>
                  <a:lnTo>
                    <a:pt x="234" y="1449"/>
                  </a:lnTo>
                  <a:lnTo>
                    <a:pt x="239" y="1448"/>
                  </a:lnTo>
                  <a:lnTo>
                    <a:pt x="242" y="1448"/>
                  </a:lnTo>
                  <a:lnTo>
                    <a:pt x="245" y="1451"/>
                  </a:lnTo>
                  <a:lnTo>
                    <a:pt x="246" y="1452"/>
                  </a:lnTo>
                  <a:lnTo>
                    <a:pt x="250" y="1453"/>
                  </a:lnTo>
                  <a:lnTo>
                    <a:pt x="253" y="1454"/>
                  </a:lnTo>
                  <a:lnTo>
                    <a:pt x="258" y="1456"/>
                  </a:lnTo>
                  <a:lnTo>
                    <a:pt x="264" y="1457"/>
                  </a:lnTo>
                  <a:lnTo>
                    <a:pt x="269" y="1457"/>
                  </a:lnTo>
                  <a:lnTo>
                    <a:pt x="274" y="1459"/>
                  </a:lnTo>
                  <a:lnTo>
                    <a:pt x="277" y="1461"/>
                  </a:lnTo>
                  <a:lnTo>
                    <a:pt x="282" y="1464"/>
                  </a:lnTo>
                  <a:lnTo>
                    <a:pt x="288" y="1470"/>
                  </a:lnTo>
                  <a:lnTo>
                    <a:pt x="292" y="1473"/>
                  </a:lnTo>
                  <a:lnTo>
                    <a:pt x="295" y="1481"/>
                  </a:lnTo>
                  <a:lnTo>
                    <a:pt x="301" y="1488"/>
                  </a:lnTo>
                  <a:lnTo>
                    <a:pt x="304" y="1492"/>
                  </a:lnTo>
                  <a:lnTo>
                    <a:pt x="306" y="1494"/>
                  </a:lnTo>
                  <a:lnTo>
                    <a:pt x="308" y="1498"/>
                  </a:lnTo>
                  <a:lnTo>
                    <a:pt x="310" y="1500"/>
                  </a:lnTo>
                  <a:lnTo>
                    <a:pt x="314" y="1501"/>
                  </a:lnTo>
                  <a:lnTo>
                    <a:pt x="317" y="1502"/>
                  </a:lnTo>
                  <a:lnTo>
                    <a:pt x="322" y="1505"/>
                  </a:lnTo>
                  <a:lnTo>
                    <a:pt x="326" y="1506"/>
                  </a:lnTo>
                  <a:lnTo>
                    <a:pt x="336" y="1507"/>
                  </a:lnTo>
                  <a:lnTo>
                    <a:pt x="343" y="1506"/>
                  </a:lnTo>
                  <a:lnTo>
                    <a:pt x="350" y="1506"/>
                  </a:lnTo>
                  <a:lnTo>
                    <a:pt x="355" y="1507"/>
                  </a:lnTo>
                  <a:lnTo>
                    <a:pt x="358" y="1509"/>
                  </a:lnTo>
                  <a:lnTo>
                    <a:pt x="363" y="1510"/>
                  </a:lnTo>
                  <a:lnTo>
                    <a:pt x="366" y="1513"/>
                  </a:lnTo>
                  <a:lnTo>
                    <a:pt x="371" y="1516"/>
                  </a:lnTo>
                  <a:lnTo>
                    <a:pt x="374" y="1520"/>
                  </a:lnTo>
                  <a:lnTo>
                    <a:pt x="378" y="1522"/>
                  </a:lnTo>
                  <a:lnTo>
                    <a:pt x="382" y="1523"/>
                  </a:lnTo>
                  <a:lnTo>
                    <a:pt x="388" y="1524"/>
                  </a:lnTo>
                  <a:lnTo>
                    <a:pt x="392" y="1523"/>
                  </a:lnTo>
                  <a:lnTo>
                    <a:pt x="398" y="1523"/>
                  </a:lnTo>
                  <a:lnTo>
                    <a:pt x="404" y="1522"/>
                  </a:lnTo>
                  <a:lnTo>
                    <a:pt x="407" y="1521"/>
                  </a:lnTo>
                  <a:lnTo>
                    <a:pt x="411" y="1520"/>
                  </a:lnTo>
                  <a:lnTo>
                    <a:pt x="414" y="1518"/>
                  </a:lnTo>
                  <a:lnTo>
                    <a:pt x="419" y="1517"/>
                  </a:lnTo>
                  <a:lnTo>
                    <a:pt x="424" y="1516"/>
                  </a:lnTo>
                  <a:lnTo>
                    <a:pt x="434" y="1515"/>
                  </a:lnTo>
                  <a:lnTo>
                    <a:pt x="439" y="1515"/>
                  </a:lnTo>
                  <a:lnTo>
                    <a:pt x="444" y="1515"/>
                  </a:lnTo>
                  <a:lnTo>
                    <a:pt x="448" y="1516"/>
                  </a:lnTo>
                  <a:lnTo>
                    <a:pt x="453" y="1517"/>
                  </a:lnTo>
                  <a:lnTo>
                    <a:pt x="458" y="1517"/>
                  </a:lnTo>
                  <a:lnTo>
                    <a:pt x="461" y="1518"/>
                  </a:lnTo>
                  <a:lnTo>
                    <a:pt x="467" y="1517"/>
                  </a:lnTo>
                  <a:lnTo>
                    <a:pt x="471" y="1517"/>
                  </a:lnTo>
                  <a:lnTo>
                    <a:pt x="476" y="1517"/>
                  </a:lnTo>
                  <a:lnTo>
                    <a:pt x="480" y="1517"/>
                  </a:lnTo>
                  <a:lnTo>
                    <a:pt x="487" y="1517"/>
                  </a:lnTo>
                  <a:lnTo>
                    <a:pt x="491" y="1517"/>
                  </a:lnTo>
                  <a:lnTo>
                    <a:pt x="494" y="1517"/>
                  </a:lnTo>
                  <a:lnTo>
                    <a:pt x="500" y="1517"/>
                  </a:lnTo>
                  <a:lnTo>
                    <a:pt x="504" y="1518"/>
                  </a:lnTo>
                  <a:lnTo>
                    <a:pt x="509" y="1517"/>
                  </a:lnTo>
                  <a:lnTo>
                    <a:pt x="511" y="1517"/>
                  </a:lnTo>
                  <a:lnTo>
                    <a:pt x="514" y="1517"/>
                  </a:lnTo>
                  <a:lnTo>
                    <a:pt x="518" y="1517"/>
                  </a:lnTo>
                  <a:lnTo>
                    <a:pt x="522" y="1516"/>
                  </a:lnTo>
                  <a:lnTo>
                    <a:pt x="533" y="1515"/>
                  </a:lnTo>
                  <a:lnTo>
                    <a:pt x="536" y="1516"/>
                  </a:lnTo>
                  <a:lnTo>
                    <a:pt x="540" y="1517"/>
                  </a:lnTo>
                  <a:lnTo>
                    <a:pt x="542" y="1520"/>
                  </a:lnTo>
                  <a:lnTo>
                    <a:pt x="546" y="1521"/>
                  </a:lnTo>
                  <a:lnTo>
                    <a:pt x="550" y="1522"/>
                  </a:lnTo>
                  <a:lnTo>
                    <a:pt x="554" y="1524"/>
                  </a:lnTo>
                  <a:lnTo>
                    <a:pt x="556" y="1525"/>
                  </a:lnTo>
                  <a:lnTo>
                    <a:pt x="559" y="1525"/>
                  </a:lnTo>
                  <a:lnTo>
                    <a:pt x="562" y="1525"/>
                  </a:lnTo>
                  <a:lnTo>
                    <a:pt x="566" y="1525"/>
                  </a:lnTo>
                  <a:lnTo>
                    <a:pt x="570" y="1524"/>
                  </a:lnTo>
                  <a:lnTo>
                    <a:pt x="573" y="1522"/>
                  </a:lnTo>
                  <a:lnTo>
                    <a:pt x="579" y="1525"/>
                  </a:lnTo>
                  <a:lnTo>
                    <a:pt x="580" y="1528"/>
                  </a:lnTo>
                  <a:lnTo>
                    <a:pt x="582" y="1529"/>
                  </a:lnTo>
                  <a:lnTo>
                    <a:pt x="586" y="1531"/>
                  </a:lnTo>
                  <a:lnTo>
                    <a:pt x="590" y="1536"/>
                  </a:lnTo>
                  <a:lnTo>
                    <a:pt x="591" y="1538"/>
                  </a:lnTo>
                  <a:lnTo>
                    <a:pt x="589" y="1544"/>
                  </a:lnTo>
                  <a:lnTo>
                    <a:pt x="589" y="1547"/>
                  </a:lnTo>
                  <a:lnTo>
                    <a:pt x="588" y="1549"/>
                  </a:lnTo>
                  <a:lnTo>
                    <a:pt x="589" y="1553"/>
                  </a:lnTo>
                  <a:lnTo>
                    <a:pt x="589" y="1555"/>
                  </a:lnTo>
                  <a:lnTo>
                    <a:pt x="588" y="1558"/>
                  </a:lnTo>
                  <a:lnTo>
                    <a:pt x="587" y="1563"/>
                  </a:lnTo>
                  <a:lnTo>
                    <a:pt x="584" y="1565"/>
                  </a:lnTo>
                  <a:lnTo>
                    <a:pt x="582" y="1568"/>
                  </a:lnTo>
                  <a:lnTo>
                    <a:pt x="580" y="1573"/>
                  </a:lnTo>
                  <a:lnTo>
                    <a:pt x="578" y="1573"/>
                  </a:lnTo>
                  <a:lnTo>
                    <a:pt x="575" y="1574"/>
                  </a:lnTo>
                  <a:lnTo>
                    <a:pt x="575" y="1576"/>
                  </a:lnTo>
                  <a:lnTo>
                    <a:pt x="575" y="1579"/>
                  </a:lnTo>
                  <a:lnTo>
                    <a:pt x="574" y="1582"/>
                  </a:lnTo>
                  <a:lnTo>
                    <a:pt x="576" y="1585"/>
                  </a:lnTo>
                  <a:lnTo>
                    <a:pt x="579" y="1585"/>
                  </a:lnTo>
                  <a:lnTo>
                    <a:pt x="584" y="1587"/>
                  </a:lnTo>
                  <a:lnTo>
                    <a:pt x="588" y="1588"/>
                  </a:lnTo>
                  <a:lnTo>
                    <a:pt x="590" y="1590"/>
                  </a:lnTo>
                  <a:lnTo>
                    <a:pt x="592" y="1594"/>
                  </a:lnTo>
                  <a:lnTo>
                    <a:pt x="592" y="1598"/>
                  </a:lnTo>
                  <a:lnTo>
                    <a:pt x="594" y="1602"/>
                  </a:lnTo>
                  <a:lnTo>
                    <a:pt x="596" y="1604"/>
                  </a:lnTo>
                  <a:lnTo>
                    <a:pt x="599" y="1604"/>
                  </a:lnTo>
                  <a:lnTo>
                    <a:pt x="604" y="1603"/>
                  </a:lnTo>
                  <a:lnTo>
                    <a:pt x="606" y="1602"/>
                  </a:lnTo>
                  <a:lnTo>
                    <a:pt x="611" y="1601"/>
                  </a:lnTo>
                  <a:lnTo>
                    <a:pt x="615" y="1601"/>
                  </a:lnTo>
                  <a:lnTo>
                    <a:pt x="621" y="1602"/>
                  </a:lnTo>
                  <a:lnTo>
                    <a:pt x="626" y="1604"/>
                  </a:lnTo>
                  <a:lnTo>
                    <a:pt x="632" y="1605"/>
                  </a:lnTo>
                  <a:lnTo>
                    <a:pt x="636" y="1606"/>
                  </a:lnTo>
                  <a:lnTo>
                    <a:pt x="640" y="1608"/>
                  </a:lnTo>
                  <a:lnTo>
                    <a:pt x="645" y="1608"/>
                  </a:lnTo>
                  <a:lnTo>
                    <a:pt x="650" y="1608"/>
                  </a:lnTo>
                  <a:lnTo>
                    <a:pt x="655" y="1608"/>
                  </a:lnTo>
                  <a:lnTo>
                    <a:pt x="662" y="1604"/>
                  </a:lnTo>
                  <a:lnTo>
                    <a:pt x="666" y="1601"/>
                  </a:lnTo>
                  <a:lnTo>
                    <a:pt x="669" y="1598"/>
                  </a:lnTo>
                  <a:lnTo>
                    <a:pt x="672" y="1594"/>
                  </a:lnTo>
                  <a:lnTo>
                    <a:pt x="676" y="1589"/>
                  </a:lnTo>
                  <a:lnTo>
                    <a:pt x="679" y="1586"/>
                  </a:lnTo>
                  <a:lnTo>
                    <a:pt x="683" y="1581"/>
                  </a:lnTo>
                  <a:lnTo>
                    <a:pt x="685" y="1577"/>
                  </a:lnTo>
                  <a:lnTo>
                    <a:pt x="690" y="1576"/>
                  </a:lnTo>
                  <a:lnTo>
                    <a:pt x="704" y="1576"/>
                  </a:lnTo>
                  <a:lnTo>
                    <a:pt x="712" y="1576"/>
                  </a:lnTo>
                  <a:lnTo>
                    <a:pt x="719" y="1574"/>
                  </a:lnTo>
                  <a:lnTo>
                    <a:pt x="723" y="1572"/>
                  </a:lnTo>
                  <a:lnTo>
                    <a:pt x="725" y="1572"/>
                  </a:lnTo>
                  <a:lnTo>
                    <a:pt x="727" y="1570"/>
                  </a:lnTo>
                  <a:lnTo>
                    <a:pt x="730" y="1568"/>
                  </a:lnTo>
                  <a:lnTo>
                    <a:pt x="731" y="1565"/>
                  </a:lnTo>
                  <a:lnTo>
                    <a:pt x="732" y="1563"/>
                  </a:lnTo>
                  <a:lnTo>
                    <a:pt x="733" y="1558"/>
                  </a:lnTo>
                  <a:lnTo>
                    <a:pt x="734" y="1554"/>
                  </a:lnTo>
                  <a:lnTo>
                    <a:pt x="734" y="1550"/>
                  </a:lnTo>
                  <a:lnTo>
                    <a:pt x="732" y="1545"/>
                  </a:lnTo>
                  <a:lnTo>
                    <a:pt x="731" y="1541"/>
                  </a:lnTo>
                  <a:lnTo>
                    <a:pt x="728" y="1539"/>
                  </a:lnTo>
                  <a:lnTo>
                    <a:pt x="727" y="1537"/>
                  </a:lnTo>
                  <a:lnTo>
                    <a:pt x="726" y="1536"/>
                  </a:lnTo>
                  <a:lnTo>
                    <a:pt x="726" y="1534"/>
                  </a:lnTo>
                  <a:lnTo>
                    <a:pt x="728" y="1531"/>
                  </a:lnTo>
                  <a:lnTo>
                    <a:pt x="731" y="1530"/>
                  </a:lnTo>
                  <a:lnTo>
                    <a:pt x="734" y="1526"/>
                  </a:lnTo>
                  <a:lnTo>
                    <a:pt x="736" y="1523"/>
                  </a:lnTo>
                  <a:lnTo>
                    <a:pt x="740" y="1521"/>
                  </a:lnTo>
                  <a:lnTo>
                    <a:pt x="744" y="1520"/>
                  </a:lnTo>
                  <a:lnTo>
                    <a:pt x="748" y="1518"/>
                  </a:lnTo>
                  <a:lnTo>
                    <a:pt x="751" y="1516"/>
                  </a:lnTo>
                  <a:lnTo>
                    <a:pt x="757" y="1510"/>
                  </a:lnTo>
                  <a:lnTo>
                    <a:pt x="758" y="1505"/>
                  </a:lnTo>
                  <a:lnTo>
                    <a:pt x="758" y="1502"/>
                  </a:lnTo>
                  <a:lnTo>
                    <a:pt x="762" y="1500"/>
                  </a:lnTo>
                  <a:lnTo>
                    <a:pt x="764" y="1500"/>
                  </a:lnTo>
                  <a:lnTo>
                    <a:pt x="767" y="1499"/>
                  </a:lnTo>
                  <a:lnTo>
                    <a:pt x="768" y="1497"/>
                  </a:lnTo>
                  <a:lnTo>
                    <a:pt x="770" y="1494"/>
                  </a:lnTo>
                  <a:lnTo>
                    <a:pt x="771" y="1491"/>
                  </a:lnTo>
                  <a:lnTo>
                    <a:pt x="771" y="1488"/>
                  </a:lnTo>
                  <a:lnTo>
                    <a:pt x="770" y="1483"/>
                  </a:lnTo>
                  <a:lnTo>
                    <a:pt x="771" y="1480"/>
                  </a:lnTo>
                  <a:lnTo>
                    <a:pt x="772" y="1477"/>
                  </a:lnTo>
                  <a:lnTo>
                    <a:pt x="771" y="1473"/>
                  </a:lnTo>
                  <a:lnTo>
                    <a:pt x="774" y="1468"/>
                  </a:lnTo>
                  <a:lnTo>
                    <a:pt x="775" y="1467"/>
                  </a:lnTo>
                  <a:lnTo>
                    <a:pt x="779" y="1467"/>
                  </a:lnTo>
                  <a:lnTo>
                    <a:pt x="784" y="1466"/>
                  </a:lnTo>
                  <a:lnTo>
                    <a:pt x="790" y="1464"/>
                  </a:lnTo>
                  <a:lnTo>
                    <a:pt x="794" y="1461"/>
                  </a:lnTo>
                  <a:lnTo>
                    <a:pt x="797" y="1459"/>
                  </a:lnTo>
                  <a:lnTo>
                    <a:pt x="800" y="1459"/>
                  </a:lnTo>
                  <a:lnTo>
                    <a:pt x="811" y="1448"/>
                  </a:lnTo>
                  <a:lnTo>
                    <a:pt x="814" y="1444"/>
                  </a:lnTo>
                  <a:lnTo>
                    <a:pt x="816" y="1441"/>
                  </a:lnTo>
                  <a:lnTo>
                    <a:pt x="823" y="1435"/>
                  </a:lnTo>
                  <a:lnTo>
                    <a:pt x="827" y="1433"/>
                  </a:lnTo>
                  <a:lnTo>
                    <a:pt x="831" y="1430"/>
                  </a:lnTo>
                  <a:lnTo>
                    <a:pt x="836" y="1430"/>
                  </a:lnTo>
                  <a:lnTo>
                    <a:pt x="840" y="1432"/>
                  </a:lnTo>
                  <a:lnTo>
                    <a:pt x="845" y="1433"/>
                  </a:lnTo>
                  <a:lnTo>
                    <a:pt x="850" y="1433"/>
                  </a:lnTo>
                  <a:lnTo>
                    <a:pt x="854" y="1433"/>
                  </a:lnTo>
                  <a:lnTo>
                    <a:pt x="860" y="1434"/>
                  </a:lnTo>
                  <a:lnTo>
                    <a:pt x="864" y="1434"/>
                  </a:lnTo>
                  <a:lnTo>
                    <a:pt x="870" y="1432"/>
                  </a:lnTo>
                  <a:lnTo>
                    <a:pt x="876" y="1429"/>
                  </a:lnTo>
                  <a:lnTo>
                    <a:pt x="880" y="1426"/>
                  </a:lnTo>
                  <a:lnTo>
                    <a:pt x="884" y="1424"/>
                  </a:lnTo>
                  <a:lnTo>
                    <a:pt x="888" y="1424"/>
                  </a:lnTo>
                  <a:lnTo>
                    <a:pt x="893" y="1424"/>
                  </a:lnTo>
                  <a:lnTo>
                    <a:pt x="898" y="1421"/>
                  </a:lnTo>
                  <a:lnTo>
                    <a:pt x="901" y="1419"/>
                  </a:lnTo>
                  <a:lnTo>
                    <a:pt x="906" y="1416"/>
                  </a:lnTo>
                  <a:lnTo>
                    <a:pt x="910" y="1414"/>
                  </a:lnTo>
                  <a:lnTo>
                    <a:pt x="911" y="1416"/>
                  </a:lnTo>
                  <a:lnTo>
                    <a:pt x="914" y="1419"/>
                  </a:lnTo>
                  <a:lnTo>
                    <a:pt x="918" y="1419"/>
                  </a:lnTo>
                  <a:lnTo>
                    <a:pt x="923" y="1420"/>
                  </a:lnTo>
                  <a:lnTo>
                    <a:pt x="928" y="1420"/>
                  </a:lnTo>
                  <a:lnTo>
                    <a:pt x="932" y="1419"/>
                  </a:lnTo>
                  <a:lnTo>
                    <a:pt x="935" y="1419"/>
                  </a:lnTo>
                  <a:lnTo>
                    <a:pt x="943" y="1418"/>
                  </a:lnTo>
                  <a:lnTo>
                    <a:pt x="946" y="1416"/>
                  </a:lnTo>
                  <a:lnTo>
                    <a:pt x="954" y="1414"/>
                  </a:lnTo>
                  <a:lnTo>
                    <a:pt x="957" y="1416"/>
                  </a:lnTo>
                  <a:lnTo>
                    <a:pt x="962" y="1421"/>
                  </a:lnTo>
                  <a:lnTo>
                    <a:pt x="965" y="1424"/>
                  </a:lnTo>
                  <a:lnTo>
                    <a:pt x="970" y="1427"/>
                  </a:lnTo>
                  <a:lnTo>
                    <a:pt x="972" y="1429"/>
                  </a:lnTo>
                  <a:lnTo>
                    <a:pt x="975" y="1434"/>
                  </a:lnTo>
                  <a:lnTo>
                    <a:pt x="980" y="1437"/>
                  </a:lnTo>
                  <a:lnTo>
                    <a:pt x="980" y="1442"/>
                  </a:lnTo>
                  <a:lnTo>
                    <a:pt x="980" y="1445"/>
                  </a:lnTo>
                  <a:lnTo>
                    <a:pt x="981" y="1449"/>
                  </a:lnTo>
                  <a:lnTo>
                    <a:pt x="980" y="1452"/>
                  </a:lnTo>
                  <a:lnTo>
                    <a:pt x="981" y="1457"/>
                  </a:lnTo>
                  <a:lnTo>
                    <a:pt x="983" y="1460"/>
                  </a:lnTo>
                  <a:lnTo>
                    <a:pt x="984" y="1464"/>
                  </a:lnTo>
                  <a:lnTo>
                    <a:pt x="986" y="1467"/>
                  </a:lnTo>
                  <a:lnTo>
                    <a:pt x="988" y="1470"/>
                  </a:lnTo>
                  <a:lnTo>
                    <a:pt x="989" y="1475"/>
                  </a:lnTo>
                  <a:lnTo>
                    <a:pt x="991" y="1480"/>
                  </a:lnTo>
                  <a:lnTo>
                    <a:pt x="991" y="1483"/>
                  </a:lnTo>
                  <a:lnTo>
                    <a:pt x="989" y="1484"/>
                  </a:lnTo>
                  <a:lnTo>
                    <a:pt x="984" y="1483"/>
                  </a:lnTo>
                  <a:lnTo>
                    <a:pt x="979" y="1480"/>
                  </a:lnTo>
                  <a:lnTo>
                    <a:pt x="974" y="1477"/>
                  </a:lnTo>
                  <a:lnTo>
                    <a:pt x="966" y="1476"/>
                  </a:lnTo>
                  <a:lnTo>
                    <a:pt x="960" y="1474"/>
                  </a:lnTo>
                  <a:lnTo>
                    <a:pt x="955" y="1474"/>
                  </a:lnTo>
                  <a:lnTo>
                    <a:pt x="948" y="1474"/>
                  </a:lnTo>
                  <a:lnTo>
                    <a:pt x="943" y="1474"/>
                  </a:lnTo>
                  <a:lnTo>
                    <a:pt x="942" y="1476"/>
                  </a:lnTo>
                  <a:lnTo>
                    <a:pt x="941" y="1480"/>
                  </a:lnTo>
                  <a:lnTo>
                    <a:pt x="943" y="1484"/>
                  </a:lnTo>
                  <a:lnTo>
                    <a:pt x="947" y="1489"/>
                  </a:lnTo>
                  <a:lnTo>
                    <a:pt x="949" y="1493"/>
                  </a:lnTo>
                  <a:lnTo>
                    <a:pt x="951" y="1497"/>
                  </a:lnTo>
                  <a:lnTo>
                    <a:pt x="956" y="1501"/>
                  </a:lnTo>
                  <a:lnTo>
                    <a:pt x="957" y="1505"/>
                  </a:lnTo>
                  <a:lnTo>
                    <a:pt x="956" y="1510"/>
                  </a:lnTo>
                  <a:lnTo>
                    <a:pt x="956" y="1515"/>
                  </a:lnTo>
                  <a:lnTo>
                    <a:pt x="958" y="1520"/>
                  </a:lnTo>
                  <a:lnTo>
                    <a:pt x="963" y="1522"/>
                  </a:lnTo>
                  <a:lnTo>
                    <a:pt x="966" y="1523"/>
                  </a:lnTo>
                  <a:lnTo>
                    <a:pt x="970" y="1521"/>
                  </a:lnTo>
                  <a:lnTo>
                    <a:pt x="972" y="1516"/>
                  </a:lnTo>
                  <a:lnTo>
                    <a:pt x="973" y="1510"/>
                  </a:lnTo>
                  <a:lnTo>
                    <a:pt x="975" y="1509"/>
                  </a:lnTo>
                  <a:lnTo>
                    <a:pt x="976" y="1509"/>
                  </a:lnTo>
                  <a:lnTo>
                    <a:pt x="978" y="1513"/>
                  </a:lnTo>
                  <a:lnTo>
                    <a:pt x="979" y="1516"/>
                  </a:lnTo>
                  <a:lnTo>
                    <a:pt x="984" y="1522"/>
                  </a:lnTo>
                  <a:lnTo>
                    <a:pt x="986" y="1524"/>
                  </a:lnTo>
                  <a:lnTo>
                    <a:pt x="988" y="1526"/>
                  </a:lnTo>
                  <a:lnTo>
                    <a:pt x="990" y="1528"/>
                  </a:lnTo>
                  <a:lnTo>
                    <a:pt x="995" y="1528"/>
                  </a:lnTo>
                  <a:lnTo>
                    <a:pt x="998" y="1521"/>
                  </a:lnTo>
                  <a:lnTo>
                    <a:pt x="1003" y="1518"/>
                  </a:lnTo>
                  <a:lnTo>
                    <a:pt x="1008" y="1518"/>
                  </a:lnTo>
                  <a:lnTo>
                    <a:pt x="1013" y="1518"/>
                  </a:lnTo>
                  <a:lnTo>
                    <a:pt x="1014" y="1518"/>
                  </a:lnTo>
                  <a:lnTo>
                    <a:pt x="1018" y="1522"/>
                  </a:lnTo>
                  <a:lnTo>
                    <a:pt x="1020" y="1524"/>
                  </a:lnTo>
                  <a:lnTo>
                    <a:pt x="1023" y="1526"/>
                  </a:lnTo>
                  <a:lnTo>
                    <a:pt x="1029" y="1528"/>
                  </a:lnTo>
                  <a:lnTo>
                    <a:pt x="1032" y="1526"/>
                  </a:lnTo>
                  <a:lnTo>
                    <a:pt x="1037" y="1524"/>
                  </a:lnTo>
                  <a:lnTo>
                    <a:pt x="1040" y="1521"/>
                  </a:lnTo>
                  <a:lnTo>
                    <a:pt x="1044" y="1518"/>
                  </a:lnTo>
                  <a:lnTo>
                    <a:pt x="1048" y="1515"/>
                  </a:lnTo>
                  <a:lnTo>
                    <a:pt x="1051" y="1514"/>
                  </a:lnTo>
                  <a:lnTo>
                    <a:pt x="1054" y="1515"/>
                  </a:lnTo>
                  <a:lnTo>
                    <a:pt x="1058" y="1517"/>
                  </a:lnTo>
                  <a:lnTo>
                    <a:pt x="1061" y="1518"/>
                  </a:lnTo>
                  <a:lnTo>
                    <a:pt x="1070" y="1521"/>
                  </a:lnTo>
                  <a:lnTo>
                    <a:pt x="1075" y="1522"/>
                  </a:lnTo>
                  <a:lnTo>
                    <a:pt x="1080" y="1522"/>
                  </a:lnTo>
                  <a:lnTo>
                    <a:pt x="1086" y="1522"/>
                  </a:lnTo>
                  <a:lnTo>
                    <a:pt x="1091" y="1522"/>
                  </a:lnTo>
                  <a:lnTo>
                    <a:pt x="1095" y="1522"/>
                  </a:lnTo>
                  <a:lnTo>
                    <a:pt x="1100" y="1520"/>
                  </a:lnTo>
                  <a:lnTo>
                    <a:pt x="1103" y="1516"/>
                  </a:lnTo>
                  <a:lnTo>
                    <a:pt x="1111" y="1512"/>
                  </a:lnTo>
                  <a:lnTo>
                    <a:pt x="1114" y="1508"/>
                  </a:lnTo>
                  <a:lnTo>
                    <a:pt x="1117" y="1505"/>
                  </a:lnTo>
                  <a:lnTo>
                    <a:pt x="1120" y="1501"/>
                  </a:lnTo>
                  <a:lnTo>
                    <a:pt x="1123" y="1499"/>
                  </a:lnTo>
                  <a:lnTo>
                    <a:pt x="1127" y="1498"/>
                  </a:lnTo>
                  <a:lnTo>
                    <a:pt x="1132" y="1497"/>
                  </a:lnTo>
                  <a:lnTo>
                    <a:pt x="1138" y="1497"/>
                  </a:lnTo>
                  <a:lnTo>
                    <a:pt x="1143" y="1493"/>
                  </a:lnTo>
                  <a:lnTo>
                    <a:pt x="1146" y="1492"/>
                  </a:lnTo>
                  <a:lnTo>
                    <a:pt x="1149" y="1490"/>
                  </a:lnTo>
                  <a:lnTo>
                    <a:pt x="1151" y="1485"/>
                  </a:lnTo>
                  <a:lnTo>
                    <a:pt x="1152" y="1482"/>
                  </a:lnTo>
                  <a:lnTo>
                    <a:pt x="1154" y="1480"/>
                  </a:lnTo>
                  <a:lnTo>
                    <a:pt x="1156" y="1476"/>
                  </a:lnTo>
                  <a:lnTo>
                    <a:pt x="1158" y="1475"/>
                  </a:lnTo>
                  <a:lnTo>
                    <a:pt x="1163" y="1475"/>
                  </a:lnTo>
                  <a:lnTo>
                    <a:pt x="1167" y="1474"/>
                  </a:lnTo>
                  <a:lnTo>
                    <a:pt x="1172" y="1470"/>
                  </a:lnTo>
                  <a:lnTo>
                    <a:pt x="1175" y="1468"/>
                  </a:lnTo>
                  <a:lnTo>
                    <a:pt x="1181" y="1465"/>
                  </a:lnTo>
                  <a:lnTo>
                    <a:pt x="1184" y="1465"/>
                  </a:lnTo>
                  <a:lnTo>
                    <a:pt x="1188" y="1465"/>
                  </a:lnTo>
                  <a:lnTo>
                    <a:pt x="1195" y="1465"/>
                  </a:lnTo>
                  <a:lnTo>
                    <a:pt x="1200" y="1465"/>
                  </a:lnTo>
                  <a:lnTo>
                    <a:pt x="1205" y="1465"/>
                  </a:lnTo>
                  <a:lnTo>
                    <a:pt x="1208" y="1466"/>
                  </a:lnTo>
                  <a:lnTo>
                    <a:pt x="1213" y="1469"/>
                  </a:lnTo>
                  <a:lnTo>
                    <a:pt x="1218" y="1473"/>
                  </a:lnTo>
                  <a:lnTo>
                    <a:pt x="1221" y="1477"/>
                  </a:lnTo>
                  <a:lnTo>
                    <a:pt x="1222" y="1482"/>
                  </a:lnTo>
                  <a:lnTo>
                    <a:pt x="1227" y="1484"/>
                  </a:lnTo>
                  <a:lnTo>
                    <a:pt x="1231" y="1485"/>
                  </a:lnTo>
                  <a:lnTo>
                    <a:pt x="1236" y="1484"/>
                  </a:lnTo>
                  <a:lnTo>
                    <a:pt x="1242" y="1483"/>
                  </a:lnTo>
                  <a:lnTo>
                    <a:pt x="1248" y="1483"/>
                  </a:lnTo>
                  <a:lnTo>
                    <a:pt x="1253" y="1483"/>
                  </a:lnTo>
                  <a:lnTo>
                    <a:pt x="1255" y="1485"/>
                  </a:lnTo>
                  <a:lnTo>
                    <a:pt x="1260" y="1489"/>
                  </a:lnTo>
                  <a:lnTo>
                    <a:pt x="1263" y="1491"/>
                  </a:lnTo>
                  <a:lnTo>
                    <a:pt x="1269" y="1496"/>
                  </a:lnTo>
                  <a:lnTo>
                    <a:pt x="1272" y="1497"/>
                  </a:lnTo>
                  <a:lnTo>
                    <a:pt x="1275" y="1498"/>
                  </a:lnTo>
                  <a:lnTo>
                    <a:pt x="1279" y="1498"/>
                  </a:lnTo>
                  <a:lnTo>
                    <a:pt x="1285" y="1498"/>
                  </a:lnTo>
                  <a:lnTo>
                    <a:pt x="1287" y="1497"/>
                  </a:lnTo>
                  <a:lnTo>
                    <a:pt x="1292" y="1498"/>
                  </a:lnTo>
                  <a:lnTo>
                    <a:pt x="1296" y="1500"/>
                  </a:lnTo>
                  <a:lnTo>
                    <a:pt x="1299" y="1501"/>
                  </a:lnTo>
                  <a:lnTo>
                    <a:pt x="1303" y="1501"/>
                  </a:lnTo>
                  <a:lnTo>
                    <a:pt x="1307" y="1500"/>
                  </a:lnTo>
                  <a:lnTo>
                    <a:pt x="1312" y="1500"/>
                  </a:lnTo>
                  <a:lnTo>
                    <a:pt x="1319" y="1497"/>
                  </a:lnTo>
                  <a:lnTo>
                    <a:pt x="1327" y="1494"/>
                  </a:lnTo>
                  <a:lnTo>
                    <a:pt x="1331" y="1494"/>
                  </a:lnTo>
                  <a:lnTo>
                    <a:pt x="1335" y="1496"/>
                  </a:lnTo>
                  <a:lnTo>
                    <a:pt x="1339" y="1496"/>
                  </a:lnTo>
                  <a:lnTo>
                    <a:pt x="1346" y="1496"/>
                  </a:lnTo>
                  <a:lnTo>
                    <a:pt x="1348" y="1493"/>
                  </a:lnTo>
                  <a:lnTo>
                    <a:pt x="1351" y="1493"/>
                  </a:lnTo>
                  <a:lnTo>
                    <a:pt x="1357" y="1494"/>
                  </a:lnTo>
                  <a:lnTo>
                    <a:pt x="1363" y="1496"/>
                  </a:lnTo>
                  <a:lnTo>
                    <a:pt x="1367" y="1496"/>
                  </a:lnTo>
                  <a:lnTo>
                    <a:pt x="1370" y="1493"/>
                  </a:lnTo>
                  <a:lnTo>
                    <a:pt x="1370" y="1491"/>
                  </a:lnTo>
                  <a:lnTo>
                    <a:pt x="1367" y="1486"/>
                  </a:lnTo>
                  <a:lnTo>
                    <a:pt x="1364" y="1482"/>
                  </a:lnTo>
                  <a:lnTo>
                    <a:pt x="1360" y="1478"/>
                  </a:lnTo>
                  <a:lnTo>
                    <a:pt x="1356" y="1475"/>
                  </a:lnTo>
                  <a:lnTo>
                    <a:pt x="1352" y="1473"/>
                  </a:lnTo>
                  <a:lnTo>
                    <a:pt x="1354" y="1469"/>
                  </a:lnTo>
                  <a:lnTo>
                    <a:pt x="1356" y="1468"/>
                  </a:lnTo>
                  <a:lnTo>
                    <a:pt x="1359" y="1467"/>
                  </a:lnTo>
                  <a:lnTo>
                    <a:pt x="1362" y="1466"/>
                  </a:lnTo>
                  <a:lnTo>
                    <a:pt x="1366" y="1465"/>
                  </a:lnTo>
                  <a:lnTo>
                    <a:pt x="1370" y="1462"/>
                  </a:lnTo>
                  <a:lnTo>
                    <a:pt x="1372" y="1459"/>
                  </a:lnTo>
                  <a:lnTo>
                    <a:pt x="1375" y="1459"/>
                  </a:lnTo>
                  <a:lnTo>
                    <a:pt x="1379" y="1459"/>
                  </a:lnTo>
                  <a:lnTo>
                    <a:pt x="1382" y="1461"/>
                  </a:lnTo>
                  <a:lnTo>
                    <a:pt x="1388" y="1462"/>
                  </a:lnTo>
                  <a:lnTo>
                    <a:pt x="1392" y="1461"/>
                  </a:lnTo>
                  <a:lnTo>
                    <a:pt x="1397" y="1460"/>
                  </a:lnTo>
                  <a:lnTo>
                    <a:pt x="1408" y="1460"/>
                  </a:lnTo>
                  <a:lnTo>
                    <a:pt x="1411" y="1457"/>
                  </a:lnTo>
                  <a:lnTo>
                    <a:pt x="1413" y="1452"/>
                  </a:lnTo>
                  <a:lnTo>
                    <a:pt x="1415" y="1450"/>
                  </a:lnTo>
                  <a:lnTo>
                    <a:pt x="1420" y="1449"/>
                  </a:lnTo>
                  <a:lnTo>
                    <a:pt x="1423" y="1449"/>
                  </a:lnTo>
                  <a:lnTo>
                    <a:pt x="1428" y="1451"/>
                  </a:lnTo>
                  <a:lnTo>
                    <a:pt x="1434" y="1451"/>
                  </a:lnTo>
                  <a:lnTo>
                    <a:pt x="1438" y="1449"/>
                  </a:lnTo>
                  <a:lnTo>
                    <a:pt x="1440" y="1445"/>
                  </a:lnTo>
                  <a:lnTo>
                    <a:pt x="1442" y="1441"/>
                  </a:lnTo>
                  <a:lnTo>
                    <a:pt x="1440" y="1435"/>
                  </a:lnTo>
                  <a:lnTo>
                    <a:pt x="1440" y="1433"/>
                  </a:lnTo>
                  <a:lnTo>
                    <a:pt x="1443" y="1427"/>
                  </a:lnTo>
                  <a:lnTo>
                    <a:pt x="1446" y="1427"/>
                  </a:lnTo>
                  <a:lnTo>
                    <a:pt x="1450" y="1429"/>
                  </a:lnTo>
                  <a:lnTo>
                    <a:pt x="1452" y="1433"/>
                  </a:lnTo>
                  <a:lnTo>
                    <a:pt x="1460" y="1440"/>
                  </a:lnTo>
                  <a:lnTo>
                    <a:pt x="1463" y="1441"/>
                  </a:lnTo>
                  <a:lnTo>
                    <a:pt x="1469" y="1441"/>
                  </a:lnTo>
                  <a:lnTo>
                    <a:pt x="1475" y="1441"/>
                  </a:lnTo>
                  <a:lnTo>
                    <a:pt x="1484" y="1443"/>
                  </a:lnTo>
                  <a:lnTo>
                    <a:pt x="1488" y="1443"/>
                  </a:lnTo>
                  <a:lnTo>
                    <a:pt x="1492" y="1444"/>
                  </a:lnTo>
                  <a:lnTo>
                    <a:pt x="1499" y="1443"/>
                  </a:lnTo>
                  <a:lnTo>
                    <a:pt x="1504" y="1442"/>
                  </a:lnTo>
                  <a:lnTo>
                    <a:pt x="1509" y="1441"/>
                  </a:lnTo>
                  <a:lnTo>
                    <a:pt x="1514" y="1440"/>
                  </a:lnTo>
                  <a:lnTo>
                    <a:pt x="1516" y="1440"/>
                  </a:lnTo>
                  <a:lnTo>
                    <a:pt x="1518" y="1442"/>
                  </a:lnTo>
                  <a:lnTo>
                    <a:pt x="1518" y="1446"/>
                  </a:lnTo>
                  <a:lnTo>
                    <a:pt x="1517" y="1451"/>
                  </a:lnTo>
                  <a:lnTo>
                    <a:pt x="1519" y="1456"/>
                  </a:lnTo>
                  <a:lnTo>
                    <a:pt x="1519" y="1460"/>
                  </a:lnTo>
                  <a:lnTo>
                    <a:pt x="1519" y="1464"/>
                  </a:lnTo>
                  <a:lnTo>
                    <a:pt x="1519" y="1468"/>
                  </a:lnTo>
                  <a:lnTo>
                    <a:pt x="1522" y="1470"/>
                  </a:lnTo>
                  <a:lnTo>
                    <a:pt x="1524" y="1473"/>
                  </a:lnTo>
                  <a:lnTo>
                    <a:pt x="1528" y="1475"/>
                  </a:lnTo>
                  <a:lnTo>
                    <a:pt x="1534" y="1475"/>
                  </a:lnTo>
                  <a:lnTo>
                    <a:pt x="1540" y="1474"/>
                  </a:lnTo>
                  <a:lnTo>
                    <a:pt x="1544" y="1475"/>
                  </a:lnTo>
                  <a:lnTo>
                    <a:pt x="1547" y="1477"/>
                  </a:lnTo>
                  <a:lnTo>
                    <a:pt x="1550" y="1478"/>
                  </a:lnTo>
                  <a:lnTo>
                    <a:pt x="1554" y="1477"/>
                  </a:lnTo>
                  <a:lnTo>
                    <a:pt x="1557" y="1473"/>
                  </a:lnTo>
                  <a:lnTo>
                    <a:pt x="1562" y="1467"/>
                  </a:lnTo>
                  <a:lnTo>
                    <a:pt x="1567" y="1464"/>
                  </a:lnTo>
                  <a:lnTo>
                    <a:pt x="1574" y="1460"/>
                  </a:lnTo>
                  <a:lnTo>
                    <a:pt x="1589" y="1458"/>
                  </a:lnTo>
                  <a:lnTo>
                    <a:pt x="1594" y="1460"/>
                  </a:lnTo>
                  <a:lnTo>
                    <a:pt x="1599" y="1461"/>
                  </a:lnTo>
                  <a:lnTo>
                    <a:pt x="1605" y="1462"/>
                  </a:lnTo>
                  <a:lnTo>
                    <a:pt x="1614" y="1466"/>
                  </a:lnTo>
                  <a:lnTo>
                    <a:pt x="1623" y="1469"/>
                  </a:lnTo>
                  <a:lnTo>
                    <a:pt x="1627" y="1470"/>
                  </a:lnTo>
                  <a:lnTo>
                    <a:pt x="1632" y="1472"/>
                  </a:lnTo>
                  <a:lnTo>
                    <a:pt x="1638" y="1474"/>
                  </a:lnTo>
                  <a:lnTo>
                    <a:pt x="1644" y="1474"/>
                  </a:lnTo>
                  <a:lnTo>
                    <a:pt x="1655" y="1476"/>
                  </a:lnTo>
                  <a:lnTo>
                    <a:pt x="1661" y="1476"/>
                  </a:lnTo>
                  <a:lnTo>
                    <a:pt x="1667" y="1476"/>
                  </a:lnTo>
                  <a:lnTo>
                    <a:pt x="1670" y="1474"/>
                  </a:lnTo>
                  <a:lnTo>
                    <a:pt x="1676" y="1472"/>
                  </a:lnTo>
                  <a:lnTo>
                    <a:pt x="1679" y="1467"/>
                  </a:lnTo>
                  <a:lnTo>
                    <a:pt x="1684" y="1464"/>
                  </a:lnTo>
                  <a:lnTo>
                    <a:pt x="1688" y="1460"/>
                  </a:lnTo>
                  <a:lnTo>
                    <a:pt x="1695" y="1457"/>
                  </a:lnTo>
                  <a:lnTo>
                    <a:pt x="1700" y="1454"/>
                  </a:lnTo>
                  <a:lnTo>
                    <a:pt x="1706" y="1453"/>
                  </a:lnTo>
                  <a:lnTo>
                    <a:pt x="1712" y="1453"/>
                  </a:lnTo>
                  <a:lnTo>
                    <a:pt x="1716" y="1456"/>
                  </a:lnTo>
                  <a:lnTo>
                    <a:pt x="1722" y="1457"/>
                  </a:lnTo>
                  <a:lnTo>
                    <a:pt x="1726" y="1459"/>
                  </a:lnTo>
                  <a:lnTo>
                    <a:pt x="1740" y="1467"/>
                  </a:lnTo>
                  <a:lnTo>
                    <a:pt x="1743" y="1468"/>
                  </a:lnTo>
                  <a:lnTo>
                    <a:pt x="1748" y="1470"/>
                  </a:lnTo>
                  <a:lnTo>
                    <a:pt x="1750" y="1472"/>
                  </a:lnTo>
                  <a:lnTo>
                    <a:pt x="1755" y="1476"/>
                  </a:lnTo>
                  <a:lnTo>
                    <a:pt x="1759" y="1483"/>
                  </a:lnTo>
                  <a:lnTo>
                    <a:pt x="1759" y="1492"/>
                  </a:lnTo>
                  <a:lnTo>
                    <a:pt x="1763" y="1506"/>
                  </a:lnTo>
                  <a:lnTo>
                    <a:pt x="1767" y="1513"/>
                  </a:lnTo>
                  <a:lnTo>
                    <a:pt x="1770" y="1515"/>
                  </a:lnTo>
                  <a:lnTo>
                    <a:pt x="1772" y="1516"/>
                  </a:lnTo>
                  <a:lnTo>
                    <a:pt x="1783" y="1520"/>
                  </a:lnTo>
                  <a:lnTo>
                    <a:pt x="1788" y="1521"/>
                  </a:lnTo>
                  <a:lnTo>
                    <a:pt x="1794" y="1521"/>
                  </a:lnTo>
                  <a:lnTo>
                    <a:pt x="1797" y="1521"/>
                  </a:lnTo>
                  <a:lnTo>
                    <a:pt x="1802" y="1523"/>
                  </a:lnTo>
                  <a:lnTo>
                    <a:pt x="1805" y="1524"/>
                  </a:lnTo>
                  <a:lnTo>
                    <a:pt x="1811" y="1529"/>
                  </a:lnTo>
                  <a:lnTo>
                    <a:pt x="1813" y="1532"/>
                  </a:lnTo>
                  <a:lnTo>
                    <a:pt x="1816" y="1534"/>
                  </a:lnTo>
                  <a:lnTo>
                    <a:pt x="1822" y="1536"/>
                  </a:lnTo>
                  <a:lnTo>
                    <a:pt x="1826" y="1537"/>
                  </a:lnTo>
                  <a:lnTo>
                    <a:pt x="1830" y="1536"/>
                  </a:lnTo>
                  <a:lnTo>
                    <a:pt x="1836" y="1536"/>
                  </a:lnTo>
                  <a:lnTo>
                    <a:pt x="1840" y="1537"/>
                  </a:lnTo>
                  <a:lnTo>
                    <a:pt x="1842" y="1531"/>
                  </a:lnTo>
                  <a:lnTo>
                    <a:pt x="1843" y="1530"/>
                  </a:lnTo>
                  <a:lnTo>
                    <a:pt x="1843" y="1526"/>
                  </a:lnTo>
                  <a:lnTo>
                    <a:pt x="1844" y="1524"/>
                  </a:lnTo>
                  <a:lnTo>
                    <a:pt x="1844" y="1522"/>
                  </a:lnTo>
                  <a:lnTo>
                    <a:pt x="1844" y="1520"/>
                  </a:lnTo>
                  <a:lnTo>
                    <a:pt x="1846" y="1517"/>
                  </a:lnTo>
                  <a:lnTo>
                    <a:pt x="1847" y="1513"/>
                  </a:lnTo>
                  <a:lnTo>
                    <a:pt x="1847" y="1510"/>
                  </a:lnTo>
                  <a:lnTo>
                    <a:pt x="1846" y="1506"/>
                  </a:lnTo>
                  <a:lnTo>
                    <a:pt x="1847" y="1502"/>
                  </a:lnTo>
                  <a:lnTo>
                    <a:pt x="1848" y="1500"/>
                  </a:lnTo>
                  <a:lnTo>
                    <a:pt x="1851" y="1497"/>
                  </a:lnTo>
                  <a:lnTo>
                    <a:pt x="1852" y="1496"/>
                  </a:lnTo>
                  <a:lnTo>
                    <a:pt x="1854" y="1492"/>
                  </a:lnTo>
                  <a:lnTo>
                    <a:pt x="1854" y="1490"/>
                  </a:lnTo>
                  <a:lnTo>
                    <a:pt x="1854" y="1486"/>
                  </a:lnTo>
                  <a:lnTo>
                    <a:pt x="1854" y="1483"/>
                  </a:lnTo>
                  <a:lnTo>
                    <a:pt x="1853" y="1481"/>
                  </a:lnTo>
                  <a:lnTo>
                    <a:pt x="1853" y="1478"/>
                  </a:lnTo>
                  <a:lnTo>
                    <a:pt x="1854" y="1476"/>
                  </a:lnTo>
                  <a:lnTo>
                    <a:pt x="1856" y="1475"/>
                  </a:lnTo>
                  <a:lnTo>
                    <a:pt x="1859" y="1474"/>
                  </a:lnTo>
                  <a:lnTo>
                    <a:pt x="1860" y="1472"/>
                  </a:lnTo>
                  <a:lnTo>
                    <a:pt x="1861" y="1469"/>
                  </a:lnTo>
                  <a:lnTo>
                    <a:pt x="1860" y="1466"/>
                  </a:lnTo>
                  <a:lnTo>
                    <a:pt x="1855" y="1462"/>
                  </a:lnTo>
                  <a:lnTo>
                    <a:pt x="1853" y="1461"/>
                  </a:lnTo>
                  <a:lnTo>
                    <a:pt x="1850" y="1459"/>
                  </a:lnTo>
                  <a:lnTo>
                    <a:pt x="1850" y="1456"/>
                  </a:lnTo>
                  <a:lnTo>
                    <a:pt x="1852" y="1454"/>
                  </a:lnTo>
                  <a:lnTo>
                    <a:pt x="1853" y="1452"/>
                  </a:lnTo>
                  <a:lnTo>
                    <a:pt x="1854" y="1451"/>
                  </a:lnTo>
                  <a:lnTo>
                    <a:pt x="1854" y="1446"/>
                  </a:lnTo>
                  <a:lnTo>
                    <a:pt x="1855" y="1438"/>
                  </a:lnTo>
                  <a:lnTo>
                    <a:pt x="1856" y="1436"/>
                  </a:lnTo>
                  <a:lnTo>
                    <a:pt x="1858" y="1433"/>
                  </a:lnTo>
                  <a:lnTo>
                    <a:pt x="1859" y="1429"/>
                  </a:lnTo>
                  <a:lnTo>
                    <a:pt x="1859" y="1426"/>
                  </a:lnTo>
                  <a:lnTo>
                    <a:pt x="1859" y="1422"/>
                  </a:lnTo>
                  <a:lnTo>
                    <a:pt x="1856" y="1420"/>
                  </a:lnTo>
                  <a:lnTo>
                    <a:pt x="1856" y="1418"/>
                  </a:lnTo>
                  <a:lnTo>
                    <a:pt x="1856" y="1416"/>
                  </a:lnTo>
                  <a:lnTo>
                    <a:pt x="1859" y="1413"/>
                  </a:lnTo>
                  <a:lnTo>
                    <a:pt x="1861" y="1411"/>
                  </a:lnTo>
                  <a:lnTo>
                    <a:pt x="1862" y="1410"/>
                  </a:lnTo>
                  <a:lnTo>
                    <a:pt x="1867" y="1409"/>
                  </a:lnTo>
                  <a:lnTo>
                    <a:pt x="1870" y="1408"/>
                  </a:lnTo>
                  <a:lnTo>
                    <a:pt x="1875" y="1408"/>
                  </a:lnTo>
                  <a:lnTo>
                    <a:pt x="1879" y="1410"/>
                  </a:lnTo>
                  <a:lnTo>
                    <a:pt x="1883" y="1410"/>
                  </a:lnTo>
                  <a:lnTo>
                    <a:pt x="1886" y="1410"/>
                  </a:lnTo>
                  <a:lnTo>
                    <a:pt x="1888" y="1409"/>
                  </a:lnTo>
                  <a:lnTo>
                    <a:pt x="1890" y="1406"/>
                  </a:lnTo>
                  <a:lnTo>
                    <a:pt x="1890" y="1400"/>
                  </a:lnTo>
                  <a:lnTo>
                    <a:pt x="1890" y="1396"/>
                  </a:lnTo>
                  <a:lnTo>
                    <a:pt x="1888" y="1395"/>
                  </a:lnTo>
                  <a:lnTo>
                    <a:pt x="1888" y="1392"/>
                  </a:lnTo>
                  <a:lnTo>
                    <a:pt x="1888" y="1387"/>
                  </a:lnTo>
                  <a:lnTo>
                    <a:pt x="1890" y="1382"/>
                  </a:lnTo>
                  <a:lnTo>
                    <a:pt x="1891" y="1380"/>
                  </a:lnTo>
                  <a:lnTo>
                    <a:pt x="1892" y="1379"/>
                  </a:lnTo>
                  <a:lnTo>
                    <a:pt x="1892" y="1374"/>
                  </a:lnTo>
                  <a:lnTo>
                    <a:pt x="1891" y="1370"/>
                  </a:lnTo>
                  <a:lnTo>
                    <a:pt x="1890" y="1365"/>
                  </a:lnTo>
                  <a:lnTo>
                    <a:pt x="1886" y="1362"/>
                  </a:lnTo>
                  <a:lnTo>
                    <a:pt x="1884" y="1360"/>
                  </a:lnTo>
                  <a:lnTo>
                    <a:pt x="1882" y="1356"/>
                  </a:lnTo>
                  <a:lnTo>
                    <a:pt x="1880" y="1354"/>
                  </a:lnTo>
                  <a:lnTo>
                    <a:pt x="1882" y="1350"/>
                  </a:lnTo>
                  <a:lnTo>
                    <a:pt x="1884" y="1347"/>
                  </a:lnTo>
                  <a:lnTo>
                    <a:pt x="1887" y="1342"/>
                  </a:lnTo>
                  <a:lnTo>
                    <a:pt x="1890" y="1337"/>
                  </a:lnTo>
                  <a:lnTo>
                    <a:pt x="1898" y="1323"/>
                  </a:lnTo>
                  <a:lnTo>
                    <a:pt x="1901" y="1317"/>
                  </a:lnTo>
                  <a:lnTo>
                    <a:pt x="1904" y="1314"/>
                  </a:lnTo>
                  <a:lnTo>
                    <a:pt x="1908" y="1314"/>
                  </a:lnTo>
                  <a:lnTo>
                    <a:pt x="1910" y="1316"/>
                  </a:lnTo>
                  <a:lnTo>
                    <a:pt x="1911" y="1318"/>
                  </a:lnTo>
                  <a:lnTo>
                    <a:pt x="1912" y="1321"/>
                  </a:lnTo>
                  <a:lnTo>
                    <a:pt x="1914" y="1323"/>
                  </a:lnTo>
                  <a:lnTo>
                    <a:pt x="1915" y="1326"/>
                  </a:lnTo>
                  <a:lnTo>
                    <a:pt x="1916" y="1329"/>
                  </a:lnTo>
                  <a:lnTo>
                    <a:pt x="1918" y="1331"/>
                  </a:lnTo>
                  <a:lnTo>
                    <a:pt x="1922" y="1331"/>
                  </a:lnTo>
                  <a:lnTo>
                    <a:pt x="1924" y="1330"/>
                  </a:lnTo>
                  <a:lnTo>
                    <a:pt x="1925" y="1324"/>
                  </a:lnTo>
                  <a:lnTo>
                    <a:pt x="1924" y="1322"/>
                  </a:lnTo>
                  <a:lnTo>
                    <a:pt x="1924" y="1318"/>
                  </a:lnTo>
                  <a:lnTo>
                    <a:pt x="1924" y="1315"/>
                  </a:lnTo>
                  <a:lnTo>
                    <a:pt x="1928" y="1312"/>
                  </a:lnTo>
                  <a:lnTo>
                    <a:pt x="1930" y="1310"/>
                  </a:lnTo>
                  <a:lnTo>
                    <a:pt x="1932" y="1308"/>
                  </a:lnTo>
                  <a:lnTo>
                    <a:pt x="1932" y="1306"/>
                  </a:lnTo>
                  <a:lnTo>
                    <a:pt x="1933" y="1302"/>
                  </a:lnTo>
                  <a:lnTo>
                    <a:pt x="1933" y="1299"/>
                  </a:lnTo>
                  <a:lnTo>
                    <a:pt x="1933" y="1296"/>
                  </a:lnTo>
                  <a:lnTo>
                    <a:pt x="1933" y="1293"/>
                  </a:lnTo>
                  <a:lnTo>
                    <a:pt x="1934" y="1291"/>
                  </a:lnTo>
                  <a:lnTo>
                    <a:pt x="1935" y="1289"/>
                  </a:lnTo>
                  <a:lnTo>
                    <a:pt x="1936" y="1285"/>
                  </a:lnTo>
                  <a:lnTo>
                    <a:pt x="1940" y="1284"/>
                  </a:lnTo>
                  <a:lnTo>
                    <a:pt x="1941" y="1283"/>
                  </a:lnTo>
                  <a:lnTo>
                    <a:pt x="1944" y="1282"/>
                  </a:lnTo>
                  <a:lnTo>
                    <a:pt x="1947" y="1280"/>
                  </a:lnTo>
                  <a:lnTo>
                    <a:pt x="1949" y="1277"/>
                  </a:lnTo>
                  <a:lnTo>
                    <a:pt x="1952" y="1276"/>
                  </a:lnTo>
                  <a:lnTo>
                    <a:pt x="1955" y="1274"/>
                  </a:lnTo>
                  <a:lnTo>
                    <a:pt x="1957" y="1269"/>
                  </a:lnTo>
                  <a:lnTo>
                    <a:pt x="1957" y="1266"/>
                  </a:lnTo>
                  <a:lnTo>
                    <a:pt x="1958" y="1262"/>
                  </a:lnTo>
                  <a:lnTo>
                    <a:pt x="1957" y="1252"/>
                  </a:lnTo>
                  <a:lnTo>
                    <a:pt x="1957" y="1249"/>
                  </a:lnTo>
                  <a:lnTo>
                    <a:pt x="1957" y="1245"/>
                  </a:lnTo>
                  <a:lnTo>
                    <a:pt x="1957" y="1243"/>
                  </a:lnTo>
                  <a:lnTo>
                    <a:pt x="1956" y="1241"/>
                  </a:lnTo>
                  <a:lnTo>
                    <a:pt x="1956" y="1238"/>
                  </a:lnTo>
                  <a:lnTo>
                    <a:pt x="1956" y="1235"/>
                  </a:lnTo>
                  <a:lnTo>
                    <a:pt x="1957" y="1232"/>
                  </a:lnTo>
                  <a:lnTo>
                    <a:pt x="1960" y="1226"/>
                  </a:lnTo>
                  <a:lnTo>
                    <a:pt x="1963" y="1226"/>
                  </a:lnTo>
                  <a:lnTo>
                    <a:pt x="1965" y="1222"/>
                  </a:lnTo>
                  <a:lnTo>
                    <a:pt x="1967" y="1221"/>
                  </a:lnTo>
                  <a:lnTo>
                    <a:pt x="1968" y="1219"/>
                  </a:lnTo>
                  <a:lnTo>
                    <a:pt x="1970" y="1216"/>
                  </a:lnTo>
                  <a:lnTo>
                    <a:pt x="1970" y="1213"/>
                  </a:lnTo>
                  <a:lnTo>
                    <a:pt x="1971" y="1211"/>
                  </a:lnTo>
                  <a:lnTo>
                    <a:pt x="1974" y="1211"/>
                  </a:lnTo>
                  <a:lnTo>
                    <a:pt x="1978" y="1213"/>
                  </a:lnTo>
                  <a:lnTo>
                    <a:pt x="1979" y="1214"/>
                  </a:lnTo>
                  <a:lnTo>
                    <a:pt x="1981" y="1216"/>
                  </a:lnTo>
                  <a:lnTo>
                    <a:pt x="1982" y="1217"/>
                  </a:lnTo>
                  <a:lnTo>
                    <a:pt x="1983" y="1219"/>
                  </a:lnTo>
                  <a:lnTo>
                    <a:pt x="1990" y="1220"/>
                  </a:lnTo>
                  <a:lnTo>
                    <a:pt x="1996" y="1218"/>
                  </a:lnTo>
                  <a:lnTo>
                    <a:pt x="1997" y="1216"/>
                  </a:lnTo>
                  <a:lnTo>
                    <a:pt x="1999" y="1214"/>
                  </a:lnTo>
                  <a:lnTo>
                    <a:pt x="2003" y="1214"/>
                  </a:lnTo>
                  <a:lnTo>
                    <a:pt x="2007" y="1214"/>
                  </a:lnTo>
                  <a:lnTo>
                    <a:pt x="2010" y="1216"/>
                  </a:lnTo>
                  <a:lnTo>
                    <a:pt x="2012" y="1217"/>
                  </a:lnTo>
                  <a:lnTo>
                    <a:pt x="2013" y="1216"/>
                  </a:lnTo>
                  <a:lnTo>
                    <a:pt x="2013" y="1214"/>
                  </a:lnTo>
                  <a:lnTo>
                    <a:pt x="2014" y="1212"/>
                  </a:lnTo>
                  <a:lnTo>
                    <a:pt x="2015" y="1211"/>
                  </a:lnTo>
                  <a:lnTo>
                    <a:pt x="2016" y="1209"/>
                  </a:lnTo>
                  <a:lnTo>
                    <a:pt x="2019" y="1209"/>
                  </a:lnTo>
                  <a:lnTo>
                    <a:pt x="2022" y="1209"/>
                  </a:lnTo>
                  <a:lnTo>
                    <a:pt x="2024" y="1209"/>
                  </a:lnTo>
                  <a:lnTo>
                    <a:pt x="2028" y="1209"/>
                  </a:lnTo>
                  <a:lnTo>
                    <a:pt x="2031" y="1209"/>
                  </a:lnTo>
                  <a:lnTo>
                    <a:pt x="2034" y="1211"/>
                  </a:lnTo>
                  <a:lnTo>
                    <a:pt x="2035" y="1212"/>
                  </a:lnTo>
                  <a:lnTo>
                    <a:pt x="2036" y="1214"/>
                  </a:lnTo>
                  <a:lnTo>
                    <a:pt x="2036" y="1220"/>
                  </a:lnTo>
                  <a:lnTo>
                    <a:pt x="2036" y="1221"/>
                  </a:lnTo>
                  <a:lnTo>
                    <a:pt x="2037" y="1224"/>
                  </a:lnTo>
                  <a:lnTo>
                    <a:pt x="2038" y="1225"/>
                  </a:lnTo>
                  <a:lnTo>
                    <a:pt x="2040" y="1225"/>
                  </a:lnTo>
                  <a:lnTo>
                    <a:pt x="2042" y="1225"/>
                  </a:lnTo>
                  <a:lnTo>
                    <a:pt x="2044" y="1225"/>
                  </a:lnTo>
                  <a:lnTo>
                    <a:pt x="2045" y="1224"/>
                  </a:lnTo>
                  <a:lnTo>
                    <a:pt x="2048" y="1221"/>
                  </a:lnTo>
                  <a:lnTo>
                    <a:pt x="2050" y="1220"/>
                  </a:lnTo>
                  <a:lnTo>
                    <a:pt x="2048" y="1218"/>
                  </a:lnTo>
                  <a:lnTo>
                    <a:pt x="2048" y="1217"/>
                  </a:lnTo>
                  <a:lnTo>
                    <a:pt x="2051" y="1216"/>
                  </a:lnTo>
                  <a:lnTo>
                    <a:pt x="2053" y="1214"/>
                  </a:lnTo>
                  <a:lnTo>
                    <a:pt x="2055" y="1213"/>
                  </a:lnTo>
                  <a:lnTo>
                    <a:pt x="2059" y="1213"/>
                  </a:lnTo>
                  <a:lnTo>
                    <a:pt x="2062" y="1211"/>
                  </a:lnTo>
                  <a:lnTo>
                    <a:pt x="2064" y="1210"/>
                  </a:lnTo>
                  <a:lnTo>
                    <a:pt x="2067" y="1206"/>
                  </a:lnTo>
                  <a:lnTo>
                    <a:pt x="2068" y="1203"/>
                  </a:lnTo>
                  <a:lnTo>
                    <a:pt x="2070" y="1201"/>
                  </a:lnTo>
                  <a:lnTo>
                    <a:pt x="2071" y="1200"/>
                  </a:lnTo>
                  <a:lnTo>
                    <a:pt x="2075" y="1198"/>
                  </a:lnTo>
                  <a:lnTo>
                    <a:pt x="2077" y="1200"/>
                  </a:lnTo>
                  <a:lnTo>
                    <a:pt x="2080" y="1202"/>
                  </a:lnTo>
                  <a:lnTo>
                    <a:pt x="2083" y="1202"/>
                  </a:lnTo>
                  <a:lnTo>
                    <a:pt x="2086" y="1201"/>
                  </a:lnTo>
                  <a:lnTo>
                    <a:pt x="2088" y="1198"/>
                  </a:lnTo>
                  <a:lnTo>
                    <a:pt x="2092" y="1196"/>
                  </a:lnTo>
                  <a:lnTo>
                    <a:pt x="2095" y="1195"/>
                  </a:lnTo>
                  <a:lnTo>
                    <a:pt x="2101" y="1194"/>
                  </a:lnTo>
                  <a:lnTo>
                    <a:pt x="2101" y="1192"/>
                  </a:lnTo>
                  <a:lnTo>
                    <a:pt x="2103" y="1189"/>
                  </a:lnTo>
                  <a:lnTo>
                    <a:pt x="2103" y="1188"/>
                  </a:lnTo>
                  <a:lnTo>
                    <a:pt x="2104" y="1186"/>
                  </a:lnTo>
                  <a:lnTo>
                    <a:pt x="2104" y="1184"/>
                  </a:lnTo>
                  <a:lnTo>
                    <a:pt x="2106" y="1181"/>
                  </a:lnTo>
                  <a:lnTo>
                    <a:pt x="2107" y="1179"/>
                  </a:lnTo>
                  <a:lnTo>
                    <a:pt x="2111" y="1176"/>
                  </a:lnTo>
                  <a:lnTo>
                    <a:pt x="2115" y="1174"/>
                  </a:lnTo>
                  <a:lnTo>
                    <a:pt x="2117" y="1173"/>
                  </a:lnTo>
                  <a:lnTo>
                    <a:pt x="2118" y="1171"/>
                  </a:lnTo>
                  <a:lnTo>
                    <a:pt x="2119" y="1169"/>
                  </a:lnTo>
                  <a:lnTo>
                    <a:pt x="2123" y="1166"/>
                  </a:lnTo>
                  <a:lnTo>
                    <a:pt x="2125" y="1165"/>
                  </a:lnTo>
                  <a:lnTo>
                    <a:pt x="2128" y="1166"/>
                  </a:lnTo>
                  <a:lnTo>
                    <a:pt x="2131" y="1168"/>
                  </a:lnTo>
                  <a:lnTo>
                    <a:pt x="2133" y="1169"/>
                  </a:lnTo>
                  <a:lnTo>
                    <a:pt x="2136" y="1169"/>
                  </a:lnTo>
                  <a:lnTo>
                    <a:pt x="2139" y="1166"/>
                  </a:lnTo>
                  <a:lnTo>
                    <a:pt x="2139" y="1164"/>
                  </a:lnTo>
                  <a:lnTo>
                    <a:pt x="2136" y="1157"/>
                  </a:lnTo>
                  <a:lnTo>
                    <a:pt x="2136" y="1155"/>
                  </a:lnTo>
                  <a:lnTo>
                    <a:pt x="2135" y="1153"/>
                  </a:lnTo>
                  <a:lnTo>
                    <a:pt x="2134" y="1149"/>
                  </a:lnTo>
                  <a:lnTo>
                    <a:pt x="2134" y="1147"/>
                  </a:lnTo>
                  <a:lnTo>
                    <a:pt x="2135" y="1144"/>
                  </a:lnTo>
                  <a:lnTo>
                    <a:pt x="2139" y="1142"/>
                  </a:lnTo>
                  <a:lnTo>
                    <a:pt x="2141" y="1140"/>
                  </a:lnTo>
                  <a:lnTo>
                    <a:pt x="2142" y="1139"/>
                  </a:lnTo>
                  <a:lnTo>
                    <a:pt x="2143" y="1137"/>
                  </a:lnTo>
                  <a:lnTo>
                    <a:pt x="2142" y="1134"/>
                  </a:lnTo>
                  <a:lnTo>
                    <a:pt x="2142" y="1132"/>
                  </a:lnTo>
                  <a:lnTo>
                    <a:pt x="2140" y="1130"/>
                  </a:lnTo>
                  <a:lnTo>
                    <a:pt x="2139" y="1126"/>
                  </a:lnTo>
                  <a:lnTo>
                    <a:pt x="2139" y="1123"/>
                  </a:lnTo>
                  <a:lnTo>
                    <a:pt x="2138" y="1120"/>
                  </a:lnTo>
                  <a:lnTo>
                    <a:pt x="2138" y="1115"/>
                  </a:lnTo>
                  <a:lnTo>
                    <a:pt x="2138" y="1112"/>
                  </a:lnTo>
                  <a:lnTo>
                    <a:pt x="2140" y="1108"/>
                  </a:lnTo>
                  <a:lnTo>
                    <a:pt x="2142" y="1107"/>
                  </a:lnTo>
                  <a:lnTo>
                    <a:pt x="2146" y="1106"/>
                  </a:lnTo>
                  <a:lnTo>
                    <a:pt x="2149" y="1106"/>
                  </a:lnTo>
                  <a:lnTo>
                    <a:pt x="2154" y="1107"/>
                  </a:lnTo>
                  <a:lnTo>
                    <a:pt x="2156" y="1107"/>
                  </a:lnTo>
                  <a:lnTo>
                    <a:pt x="2159" y="1106"/>
                  </a:lnTo>
                  <a:lnTo>
                    <a:pt x="2164" y="1104"/>
                  </a:lnTo>
                  <a:lnTo>
                    <a:pt x="2165" y="1101"/>
                  </a:lnTo>
                  <a:lnTo>
                    <a:pt x="2167" y="1099"/>
                  </a:lnTo>
                  <a:lnTo>
                    <a:pt x="2171" y="1098"/>
                  </a:lnTo>
                  <a:lnTo>
                    <a:pt x="2175" y="1093"/>
                  </a:lnTo>
                  <a:lnTo>
                    <a:pt x="2179" y="1092"/>
                  </a:lnTo>
                  <a:lnTo>
                    <a:pt x="2181" y="1091"/>
                  </a:lnTo>
                  <a:lnTo>
                    <a:pt x="2183" y="1090"/>
                  </a:lnTo>
                  <a:lnTo>
                    <a:pt x="2186" y="1086"/>
                  </a:lnTo>
                  <a:lnTo>
                    <a:pt x="2188" y="1084"/>
                  </a:lnTo>
                  <a:lnTo>
                    <a:pt x="2188" y="1083"/>
                  </a:lnTo>
                  <a:lnTo>
                    <a:pt x="2187" y="1080"/>
                  </a:lnTo>
                  <a:lnTo>
                    <a:pt x="2186" y="1078"/>
                  </a:lnTo>
                  <a:lnTo>
                    <a:pt x="2182" y="1077"/>
                  </a:lnTo>
                  <a:lnTo>
                    <a:pt x="2181" y="1074"/>
                  </a:lnTo>
                  <a:lnTo>
                    <a:pt x="2180" y="1072"/>
                  </a:lnTo>
                  <a:lnTo>
                    <a:pt x="2180" y="1068"/>
                  </a:lnTo>
                  <a:lnTo>
                    <a:pt x="2181" y="1065"/>
                  </a:lnTo>
                  <a:lnTo>
                    <a:pt x="2181" y="1061"/>
                  </a:lnTo>
                  <a:lnTo>
                    <a:pt x="2183" y="1058"/>
                  </a:lnTo>
                  <a:lnTo>
                    <a:pt x="2188" y="1056"/>
                  </a:lnTo>
                  <a:lnTo>
                    <a:pt x="2192" y="1056"/>
                  </a:lnTo>
                  <a:lnTo>
                    <a:pt x="2197" y="1056"/>
                  </a:lnTo>
                  <a:lnTo>
                    <a:pt x="2202" y="1054"/>
                  </a:lnTo>
                  <a:lnTo>
                    <a:pt x="2207" y="1053"/>
                  </a:lnTo>
                  <a:lnTo>
                    <a:pt x="2211" y="1050"/>
                  </a:lnTo>
                  <a:lnTo>
                    <a:pt x="2214" y="1048"/>
                  </a:lnTo>
                  <a:lnTo>
                    <a:pt x="2216" y="1044"/>
                  </a:lnTo>
                  <a:lnTo>
                    <a:pt x="2219" y="1042"/>
                  </a:lnTo>
                  <a:lnTo>
                    <a:pt x="2221" y="1040"/>
                  </a:lnTo>
                  <a:lnTo>
                    <a:pt x="2224" y="1040"/>
                  </a:lnTo>
                  <a:lnTo>
                    <a:pt x="2229" y="1041"/>
                  </a:lnTo>
                  <a:lnTo>
                    <a:pt x="2231" y="1042"/>
                  </a:lnTo>
                  <a:lnTo>
                    <a:pt x="2232" y="1044"/>
                  </a:lnTo>
                  <a:lnTo>
                    <a:pt x="2234" y="1046"/>
                  </a:lnTo>
                  <a:lnTo>
                    <a:pt x="2235" y="1046"/>
                  </a:lnTo>
                  <a:lnTo>
                    <a:pt x="2237" y="1048"/>
                  </a:lnTo>
                  <a:lnTo>
                    <a:pt x="2238" y="1046"/>
                  </a:lnTo>
                  <a:lnTo>
                    <a:pt x="2239" y="1044"/>
                  </a:lnTo>
                  <a:lnTo>
                    <a:pt x="2239" y="1042"/>
                  </a:lnTo>
                  <a:lnTo>
                    <a:pt x="2240" y="1040"/>
                  </a:lnTo>
                  <a:lnTo>
                    <a:pt x="2240" y="1037"/>
                  </a:lnTo>
                  <a:lnTo>
                    <a:pt x="2243" y="1033"/>
                  </a:lnTo>
                  <a:lnTo>
                    <a:pt x="2245" y="1030"/>
                  </a:lnTo>
                  <a:lnTo>
                    <a:pt x="2245" y="1028"/>
                  </a:lnTo>
                  <a:lnTo>
                    <a:pt x="2245" y="1027"/>
                  </a:lnTo>
                  <a:lnTo>
                    <a:pt x="2244" y="1024"/>
                  </a:lnTo>
                  <a:lnTo>
                    <a:pt x="2243" y="1021"/>
                  </a:lnTo>
                  <a:lnTo>
                    <a:pt x="2243" y="1018"/>
                  </a:lnTo>
                  <a:lnTo>
                    <a:pt x="2243" y="1016"/>
                  </a:lnTo>
                  <a:lnTo>
                    <a:pt x="2243" y="1011"/>
                  </a:lnTo>
                  <a:lnTo>
                    <a:pt x="2244" y="1006"/>
                  </a:lnTo>
                  <a:lnTo>
                    <a:pt x="2245" y="1004"/>
                  </a:lnTo>
                  <a:lnTo>
                    <a:pt x="2247" y="1002"/>
                  </a:lnTo>
                  <a:lnTo>
                    <a:pt x="2251" y="1000"/>
                  </a:lnTo>
                  <a:lnTo>
                    <a:pt x="2253" y="996"/>
                  </a:lnTo>
                  <a:lnTo>
                    <a:pt x="2254" y="995"/>
                  </a:lnTo>
                  <a:lnTo>
                    <a:pt x="2255" y="992"/>
                  </a:lnTo>
                  <a:lnTo>
                    <a:pt x="2256" y="988"/>
                  </a:lnTo>
                  <a:lnTo>
                    <a:pt x="2255" y="986"/>
                  </a:lnTo>
                  <a:lnTo>
                    <a:pt x="2253" y="984"/>
                  </a:lnTo>
                  <a:lnTo>
                    <a:pt x="2252" y="981"/>
                  </a:lnTo>
                  <a:lnTo>
                    <a:pt x="2248" y="978"/>
                  </a:lnTo>
                  <a:lnTo>
                    <a:pt x="2246" y="977"/>
                  </a:lnTo>
                  <a:lnTo>
                    <a:pt x="2244" y="976"/>
                  </a:lnTo>
                  <a:lnTo>
                    <a:pt x="2239" y="976"/>
                  </a:lnTo>
                  <a:lnTo>
                    <a:pt x="2237" y="973"/>
                  </a:lnTo>
                  <a:lnTo>
                    <a:pt x="2236" y="971"/>
                  </a:lnTo>
                  <a:lnTo>
                    <a:pt x="2232" y="969"/>
                  </a:lnTo>
                  <a:lnTo>
                    <a:pt x="2230" y="968"/>
                  </a:lnTo>
                  <a:lnTo>
                    <a:pt x="2222" y="970"/>
                  </a:lnTo>
                  <a:lnTo>
                    <a:pt x="2220" y="971"/>
                  </a:lnTo>
                  <a:lnTo>
                    <a:pt x="2215" y="972"/>
                  </a:lnTo>
                  <a:lnTo>
                    <a:pt x="2212" y="973"/>
                  </a:lnTo>
                  <a:lnTo>
                    <a:pt x="2210" y="972"/>
                  </a:lnTo>
                  <a:lnTo>
                    <a:pt x="2210" y="970"/>
                  </a:lnTo>
                  <a:lnTo>
                    <a:pt x="2211" y="966"/>
                  </a:lnTo>
                  <a:lnTo>
                    <a:pt x="2208" y="963"/>
                  </a:lnTo>
                  <a:lnTo>
                    <a:pt x="2208" y="962"/>
                  </a:lnTo>
                  <a:lnTo>
                    <a:pt x="2206" y="961"/>
                  </a:lnTo>
                  <a:lnTo>
                    <a:pt x="2203" y="961"/>
                  </a:lnTo>
                  <a:lnTo>
                    <a:pt x="2200" y="962"/>
                  </a:lnTo>
                  <a:lnTo>
                    <a:pt x="2197" y="961"/>
                  </a:lnTo>
                  <a:lnTo>
                    <a:pt x="2195" y="958"/>
                  </a:lnTo>
                  <a:lnTo>
                    <a:pt x="2194" y="955"/>
                  </a:lnTo>
                  <a:lnTo>
                    <a:pt x="2194" y="952"/>
                  </a:lnTo>
                  <a:lnTo>
                    <a:pt x="2192" y="948"/>
                  </a:lnTo>
                  <a:lnTo>
                    <a:pt x="2190" y="945"/>
                  </a:lnTo>
                  <a:lnTo>
                    <a:pt x="2187" y="937"/>
                  </a:lnTo>
                  <a:lnTo>
                    <a:pt x="2183" y="932"/>
                  </a:lnTo>
                  <a:lnTo>
                    <a:pt x="2178" y="929"/>
                  </a:lnTo>
                  <a:lnTo>
                    <a:pt x="2175" y="929"/>
                  </a:lnTo>
                  <a:lnTo>
                    <a:pt x="2171" y="930"/>
                  </a:lnTo>
                  <a:lnTo>
                    <a:pt x="2168" y="932"/>
                  </a:lnTo>
                  <a:lnTo>
                    <a:pt x="2165" y="933"/>
                  </a:lnTo>
                  <a:lnTo>
                    <a:pt x="2163" y="933"/>
                  </a:lnTo>
                  <a:lnTo>
                    <a:pt x="2160" y="932"/>
                  </a:lnTo>
                  <a:lnTo>
                    <a:pt x="2157" y="930"/>
                  </a:lnTo>
                  <a:lnTo>
                    <a:pt x="2152" y="929"/>
                  </a:lnTo>
                  <a:lnTo>
                    <a:pt x="2149" y="926"/>
                  </a:lnTo>
                  <a:lnTo>
                    <a:pt x="2147" y="924"/>
                  </a:lnTo>
                  <a:lnTo>
                    <a:pt x="2143" y="923"/>
                  </a:lnTo>
                  <a:lnTo>
                    <a:pt x="2141" y="923"/>
                  </a:lnTo>
                  <a:lnTo>
                    <a:pt x="2139" y="924"/>
                  </a:lnTo>
                  <a:lnTo>
                    <a:pt x="2136" y="924"/>
                  </a:lnTo>
                  <a:lnTo>
                    <a:pt x="2135" y="922"/>
                  </a:lnTo>
                  <a:lnTo>
                    <a:pt x="2134" y="920"/>
                  </a:lnTo>
                  <a:lnTo>
                    <a:pt x="2132" y="921"/>
                  </a:lnTo>
                  <a:lnTo>
                    <a:pt x="2128" y="922"/>
                  </a:lnTo>
                  <a:lnTo>
                    <a:pt x="2127" y="923"/>
                  </a:lnTo>
                  <a:lnTo>
                    <a:pt x="2125" y="925"/>
                  </a:lnTo>
                  <a:lnTo>
                    <a:pt x="2123" y="928"/>
                  </a:lnTo>
                  <a:lnTo>
                    <a:pt x="2122" y="928"/>
                  </a:lnTo>
                  <a:lnTo>
                    <a:pt x="2118" y="926"/>
                  </a:lnTo>
                  <a:lnTo>
                    <a:pt x="2115" y="926"/>
                  </a:lnTo>
                  <a:lnTo>
                    <a:pt x="2114" y="929"/>
                  </a:lnTo>
                  <a:lnTo>
                    <a:pt x="2112" y="931"/>
                  </a:lnTo>
                  <a:lnTo>
                    <a:pt x="2110" y="933"/>
                  </a:lnTo>
                  <a:lnTo>
                    <a:pt x="2108" y="936"/>
                  </a:lnTo>
                  <a:lnTo>
                    <a:pt x="2107" y="938"/>
                  </a:lnTo>
                  <a:lnTo>
                    <a:pt x="2104" y="939"/>
                  </a:lnTo>
                  <a:lnTo>
                    <a:pt x="2102" y="939"/>
                  </a:lnTo>
                  <a:lnTo>
                    <a:pt x="2100" y="939"/>
                  </a:lnTo>
                  <a:lnTo>
                    <a:pt x="2099" y="939"/>
                  </a:lnTo>
                  <a:lnTo>
                    <a:pt x="2096" y="938"/>
                  </a:lnTo>
                  <a:lnTo>
                    <a:pt x="2095" y="936"/>
                  </a:lnTo>
                  <a:lnTo>
                    <a:pt x="2095" y="933"/>
                  </a:lnTo>
                  <a:lnTo>
                    <a:pt x="2095" y="931"/>
                  </a:lnTo>
                  <a:lnTo>
                    <a:pt x="2094" y="929"/>
                  </a:lnTo>
                  <a:lnTo>
                    <a:pt x="2094" y="928"/>
                  </a:lnTo>
                  <a:lnTo>
                    <a:pt x="2094" y="926"/>
                  </a:lnTo>
                  <a:lnTo>
                    <a:pt x="2093" y="924"/>
                  </a:lnTo>
                  <a:lnTo>
                    <a:pt x="2091" y="923"/>
                  </a:lnTo>
                  <a:lnTo>
                    <a:pt x="2087" y="921"/>
                  </a:lnTo>
                  <a:lnTo>
                    <a:pt x="2085" y="918"/>
                  </a:lnTo>
                  <a:lnTo>
                    <a:pt x="2084" y="915"/>
                  </a:lnTo>
                  <a:lnTo>
                    <a:pt x="2084" y="914"/>
                  </a:lnTo>
                  <a:lnTo>
                    <a:pt x="2085" y="912"/>
                  </a:lnTo>
                  <a:lnTo>
                    <a:pt x="2086" y="910"/>
                  </a:lnTo>
                  <a:lnTo>
                    <a:pt x="2087" y="910"/>
                  </a:lnTo>
                  <a:lnTo>
                    <a:pt x="2090" y="909"/>
                  </a:lnTo>
                  <a:lnTo>
                    <a:pt x="2094" y="908"/>
                  </a:lnTo>
                  <a:lnTo>
                    <a:pt x="2096" y="908"/>
                  </a:lnTo>
                  <a:lnTo>
                    <a:pt x="2098" y="907"/>
                  </a:lnTo>
                  <a:lnTo>
                    <a:pt x="2095" y="904"/>
                  </a:lnTo>
                  <a:lnTo>
                    <a:pt x="2092" y="901"/>
                  </a:lnTo>
                  <a:lnTo>
                    <a:pt x="2091" y="899"/>
                  </a:lnTo>
                  <a:lnTo>
                    <a:pt x="2091" y="897"/>
                  </a:lnTo>
                  <a:lnTo>
                    <a:pt x="2093" y="894"/>
                  </a:lnTo>
                  <a:lnTo>
                    <a:pt x="2094" y="894"/>
                  </a:lnTo>
                  <a:lnTo>
                    <a:pt x="2098" y="893"/>
                  </a:lnTo>
                  <a:lnTo>
                    <a:pt x="2101" y="894"/>
                  </a:lnTo>
                  <a:lnTo>
                    <a:pt x="2103" y="896"/>
                  </a:lnTo>
                  <a:lnTo>
                    <a:pt x="2106" y="894"/>
                  </a:lnTo>
                  <a:lnTo>
                    <a:pt x="2107" y="892"/>
                  </a:lnTo>
                  <a:lnTo>
                    <a:pt x="2107" y="890"/>
                  </a:lnTo>
                  <a:lnTo>
                    <a:pt x="2108" y="886"/>
                  </a:lnTo>
                  <a:lnTo>
                    <a:pt x="2109" y="884"/>
                  </a:lnTo>
                  <a:lnTo>
                    <a:pt x="2110" y="883"/>
                  </a:lnTo>
                  <a:lnTo>
                    <a:pt x="2112" y="881"/>
                  </a:lnTo>
                  <a:lnTo>
                    <a:pt x="2115" y="880"/>
                  </a:lnTo>
                  <a:lnTo>
                    <a:pt x="2115" y="876"/>
                  </a:lnTo>
                  <a:lnTo>
                    <a:pt x="2117" y="872"/>
                  </a:lnTo>
                  <a:lnTo>
                    <a:pt x="2118" y="869"/>
                  </a:lnTo>
                  <a:lnTo>
                    <a:pt x="2118" y="868"/>
                  </a:lnTo>
                  <a:lnTo>
                    <a:pt x="2117" y="867"/>
                  </a:lnTo>
                  <a:lnTo>
                    <a:pt x="2115" y="866"/>
                  </a:lnTo>
                  <a:lnTo>
                    <a:pt x="2111" y="867"/>
                  </a:lnTo>
                  <a:lnTo>
                    <a:pt x="2109" y="868"/>
                  </a:lnTo>
                  <a:lnTo>
                    <a:pt x="2104" y="868"/>
                  </a:lnTo>
                  <a:lnTo>
                    <a:pt x="2103" y="866"/>
                  </a:lnTo>
                  <a:lnTo>
                    <a:pt x="2102" y="864"/>
                  </a:lnTo>
                  <a:lnTo>
                    <a:pt x="2101" y="860"/>
                  </a:lnTo>
                  <a:lnTo>
                    <a:pt x="2101" y="858"/>
                  </a:lnTo>
                  <a:lnTo>
                    <a:pt x="2103" y="853"/>
                  </a:lnTo>
                  <a:lnTo>
                    <a:pt x="2103" y="851"/>
                  </a:lnTo>
                  <a:lnTo>
                    <a:pt x="2104" y="849"/>
                  </a:lnTo>
                  <a:lnTo>
                    <a:pt x="2102" y="845"/>
                  </a:lnTo>
                  <a:lnTo>
                    <a:pt x="2102" y="844"/>
                  </a:lnTo>
                  <a:lnTo>
                    <a:pt x="2099" y="842"/>
                  </a:lnTo>
                  <a:lnTo>
                    <a:pt x="2095" y="841"/>
                  </a:lnTo>
                  <a:lnTo>
                    <a:pt x="2094" y="838"/>
                  </a:lnTo>
                  <a:lnTo>
                    <a:pt x="2092" y="836"/>
                  </a:lnTo>
                  <a:lnTo>
                    <a:pt x="2092" y="833"/>
                  </a:lnTo>
                  <a:lnTo>
                    <a:pt x="2093" y="830"/>
                  </a:lnTo>
                  <a:lnTo>
                    <a:pt x="2095" y="828"/>
                  </a:lnTo>
                  <a:lnTo>
                    <a:pt x="2098" y="826"/>
                  </a:lnTo>
                  <a:lnTo>
                    <a:pt x="2099" y="825"/>
                  </a:lnTo>
                  <a:lnTo>
                    <a:pt x="2101" y="822"/>
                  </a:lnTo>
                  <a:lnTo>
                    <a:pt x="2104" y="822"/>
                  </a:lnTo>
                  <a:lnTo>
                    <a:pt x="2108" y="822"/>
                  </a:lnTo>
                  <a:lnTo>
                    <a:pt x="2111" y="824"/>
                  </a:lnTo>
                  <a:lnTo>
                    <a:pt x="2115" y="826"/>
                  </a:lnTo>
                  <a:lnTo>
                    <a:pt x="2117" y="829"/>
                  </a:lnTo>
                  <a:lnTo>
                    <a:pt x="2119" y="832"/>
                  </a:lnTo>
                  <a:lnTo>
                    <a:pt x="2122" y="834"/>
                  </a:lnTo>
                  <a:lnTo>
                    <a:pt x="2125" y="838"/>
                  </a:lnTo>
                  <a:lnTo>
                    <a:pt x="2127" y="841"/>
                  </a:lnTo>
                  <a:lnTo>
                    <a:pt x="2130" y="844"/>
                  </a:lnTo>
                  <a:lnTo>
                    <a:pt x="2132" y="846"/>
                  </a:lnTo>
                  <a:lnTo>
                    <a:pt x="2133" y="849"/>
                  </a:lnTo>
                  <a:lnTo>
                    <a:pt x="2135" y="851"/>
                  </a:lnTo>
                  <a:lnTo>
                    <a:pt x="2139" y="852"/>
                  </a:lnTo>
                  <a:lnTo>
                    <a:pt x="2142" y="853"/>
                  </a:lnTo>
                  <a:lnTo>
                    <a:pt x="2146" y="854"/>
                  </a:lnTo>
                  <a:lnTo>
                    <a:pt x="2149" y="854"/>
                  </a:lnTo>
                  <a:lnTo>
                    <a:pt x="2157" y="854"/>
                  </a:lnTo>
                  <a:lnTo>
                    <a:pt x="2162" y="853"/>
                  </a:lnTo>
                  <a:lnTo>
                    <a:pt x="2165" y="851"/>
                  </a:lnTo>
                  <a:lnTo>
                    <a:pt x="2168" y="849"/>
                  </a:lnTo>
                  <a:lnTo>
                    <a:pt x="2172" y="844"/>
                  </a:lnTo>
                  <a:lnTo>
                    <a:pt x="2175" y="841"/>
                  </a:lnTo>
                  <a:lnTo>
                    <a:pt x="2178" y="838"/>
                  </a:lnTo>
                  <a:lnTo>
                    <a:pt x="2181" y="837"/>
                  </a:lnTo>
                  <a:lnTo>
                    <a:pt x="2186" y="837"/>
                  </a:lnTo>
                  <a:lnTo>
                    <a:pt x="2190" y="837"/>
                  </a:lnTo>
                  <a:lnTo>
                    <a:pt x="2195" y="838"/>
                  </a:lnTo>
                  <a:lnTo>
                    <a:pt x="2204" y="840"/>
                  </a:lnTo>
                  <a:lnTo>
                    <a:pt x="2208" y="841"/>
                  </a:lnTo>
                  <a:lnTo>
                    <a:pt x="2212" y="843"/>
                  </a:lnTo>
                  <a:lnTo>
                    <a:pt x="2213" y="846"/>
                  </a:lnTo>
                  <a:lnTo>
                    <a:pt x="2215" y="850"/>
                  </a:lnTo>
                  <a:lnTo>
                    <a:pt x="2216" y="851"/>
                  </a:lnTo>
                  <a:lnTo>
                    <a:pt x="2218" y="852"/>
                  </a:lnTo>
                  <a:lnTo>
                    <a:pt x="2221" y="853"/>
                  </a:lnTo>
                  <a:lnTo>
                    <a:pt x="2226" y="852"/>
                  </a:lnTo>
                  <a:lnTo>
                    <a:pt x="2236" y="849"/>
                  </a:lnTo>
                  <a:lnTo>
                    <a:pt x="2240" y="848"/>
                  </a:lnTo>
                  <a:lnTo>
                    <a:pt x="2245" y="846"/>
                  </a:lnTo>
                  <a:lnTo>
                    <a:pt x="2248" y="846"/>
                  </a:lnTo>
                  <a:lnTo>
                    <a:pt x="2254" y="846"/>
                  </a:lnTo>
                  <a:lnTo>
                    <a:pt x="2259" y="846"/>
                  </a:lnTo>
                  <a:lnTo>
                    <a:pt x="2261" y="846"/>
                  </a:lnTo>
                  <a:lnTo>
                    <a:pt x="2267" y="850"/>
                  </a:lnTo>
                  <a:lnTo>
                    <a:pt x="2269" y="852"/>
                  </a:lnTo>
                  <a:lnTo>
                    <a:pt x="2271" y="853"/>
                  </a:lnTo>
                  <a:lnTo>
                    <a:pt x="2275" y="854"/>
                  </a:lnTo>
                  <a:lnTo>
                    <a:pt x="2279" y="854"/>
                  </a:lnTo>
                  <a:lnTo>
                    <a:pt x="2284" y="854"/>
                  </a:lnTo>
                  <a:lnTo>
                    <a:pt x="2291" y="853"/>
                  </a:lnTo>
                  <a:lnTo>
                    <a:pt x="2295" y="853"/>
                  </a:lnTo>
                  <a:lnTo>
                    <a:pt x="2303" y="852"/>
                  </a:lnTo>
                  <a:lnTo>
                    <a:pt x="2310" y="852"/>
                  </a:lnTo>
                  <a:lnTo>
                    <a:pt x="2314" y="851"/>
                  </a:lnTo>
                  <a:lnTo>
                    <a:pt x="2316" y="852"/>
                  </a:lnTo>
                  <a:lnTo>
                    <a:pt x="2318" y="853"/>
                  </a:lnTo>
                  <a:lnTo>
                    <a:pt x="2320" y="856"/>
                  </a:lnTo>
                  <a:lnTo>
                    <a:pt x="2324" y="856"/>
                  </a:lnTo>
                  <a:lnTo>
                    <a:pt x="2326" y="856"/>
                  </a:lnTo>
                  <a:lnTo>
                    <a:pt x="2328" y="854"/>
                  </a:lnTo>
                  <a:lnTo>
                    <a:pt x="2332" y="854"/>
                  </a:lnTo>
                  <a:lnTo>
                    <a:pt x="2334" y="856"/>
                  </a:lnTo>
                  <a:lnTo>
                    <a:pt x="2335" y="858"/>
                  </a:lnTo>
                  <a:lnTo>
                    <a:pt x="2338" y="858"/>
                  </a:lnTo>
                  <a:lnTo>
                    <a:pt x="2341" y="857"/>
                  </a:lnTo>
                  <a:lnTo>
                    <a:pt x="2344" y="857"/>
                  </a:lnTo>
                  <a:lnTo>
                    <a:pt x="2347" y="858"/>
                  </a:lnTo>
                  <a:lnTo>
                    <a:pt x="2349" y="858"/>
                  </a:lnTo>
                  <a:lnTo>
                    <a:pt x="2354" y="857"/>
                  </a:lnTo>
                  <a:lnTo>
                    <a:pt x="2355" y="856"/>
                  </a:lnTo>
                  <a:lnTo>
                    <a:pt x="2355" y="853"/>
                  </a:lnTo>
                  <a:lnTo>
                    <a:pt x="2352" y="852"/>
                  </a:lnTo>
                  <a:lnTo>
                    <a:pt x="2351" y="850"/>
                  </a:lnTo>
                  <a:lnTo>
                    <a:pt x="2352" y="848"/>
                  </a:lnTo>
                  <a:lnTo>
                    <a:pt x="2355" y="845"/>
                  </a:lnTo>
                  <a:lnTo>
                    <a:pt x="2357" y="845"/>
                  </a:lnTo>
                  <a:lnTo>
                    <a:pt x="2366" y="845"/>
                  </a:lnTo>
                  <a:lnTo>
                    <a:pt x="2370" y="844"/>
                  </a:lnTo>
                  <a:lnTo>
                    <a:pt x="2375" y="841"/>
                  </a:lnTo>
                  <a:lnTo>
                    <a:pt x="2380" y="838"/>
                  </a:lnTo>
                  <a:lnTo>
                    <a:pt x="2381" y="837"/>
                  </a:lnTo>
                  <a:lnTo>
                    <a:pt x="2383" y="833"/>
                  </a:lnTo>
                  <a:lnTo>
                    <a:pt x="2383" y="829"/>
                  </a:lnTo>
                  <a:lnTo>
                    <a:pt x="2384" y="825"/>
                  </a:lnTo>
                  <a:lnTo>
                    <a:pt x="2386" y="821"/>
                  </a:lnTo>
                  <a:lnTo>
                    <a:pt x="2388" y="820"/>
                  </a:lnTo>
                  <a:lnTo>
                    <a:pt x="2390" y="819"/>
                  </a:lnTo>
                  <a:lnTo>
                    <a:pt x="2394" y="819"/>
                  </a:lnTo>
                  <a:lnTo>
                    <a:pt x="2397" y="820"/>
                  </a:lnTo>
                  <a:lnTo>
                    <a:pt x="2403" y="821"/>
                  </a:lnTo>
                  <a:lnTo>
                    <a:pt x="2405" y="821"/>
                  </a:lnTo>
                  <a:lnTo>
                    <a:pt x="2407" y="819"/>
                  </a:lnTo>
                  <a:lnTo>
                    <a:pt x="2410" y="816"/>
                  </a:lnTo>
                  <a:lnTo>
                    <a:pt x="2411" y="814"/>
                  </a:lnTo>
                  <a:lnTo>
                    <a:pt x="2414" y="812"/>
                  </a:lnTo>
                  <a:lnTo>
                    <a:pt x="2415" y="810"/>
                  </a:lnTo>
                  <a:lnTo>
                    <a:pt x="2418" y="809"/>
                  </a:lnTo>
                  <a:lnTo>
                    <a:pt x="2420" y="808"/>
                  </a:lnTo>
                  <a:lnTo>
                    <a:pt x="2424" y="804"/>
                  </a:lnTo>
                  <a:lnTo>
                    <a:pt x="2428" y="800"/>
                  </a:lnTo>
                  <a:lnTo>
                    <a:pt x="2424" y="795"/>
                  </a:lnTo>
                  <a:lnTo>
                    <a:pt x="2421" y="790"/>
                  </a:lnTo>
                  <a:lnTo>
                    <a:pt x="2420" y="787"/>
                  </a:lnTo>
                  <a:lnTo>
                    <a:pt x="2420" y="782"/>
                  </a:lnTo>
                  <a:lnTo>
                    <a:pt x="2419" y="779"/>
                  </a:lnTo>
                  <a:lnTo>
                    <a:pt x="2419" y="776"/>
                  </a:lnTo>
                  <a:lnTo>
                    <a:pt x="2416" y="772"/>
                  </a:lnTo>
                  <a:lnTo>
                    <a:pt x="2412" y="772"/>
                  </a:lnTo>
                  <a:lnTo>
                    <a:pt x="2407" y="772"/>
                  </a:lnTo>
                  <a:lnTo>
                    <a:pt x="2404" y="772"/>
                  </a:lnTo>
                  <a:lnTo>
                    <a:pt x="2400" y="769"/>
                  </a:lnTo>
                  <a:lnTo>
                    <a:pt x="2398" y="765"/>
                  </a:lnTo>
                  <a:lnTo>
                    <a:pt x="2397" y="762"/>
                  </a:lnTo>
                  <a:lnTo>
                    <a:pt x="2397" y="757"/>
                  </a:lnTo>
                  <a:lnTo>
                    <a:pt x="2397" y="754"/>
                  </a:lnTo>
                  <a:lnTo>
                    <a:pt x="2397" y="749"/>
                  </a:lnTo>
                  <a:lnTo>
                    <a:pt x="2399" y="746"/>
                  </a:lnTo>
                  <a:lnTo>
                    <a:pt x="2403" y="746"/>
                  </a:lnTo>
                  <a:lnTo>
                    <a:pt x="2406" y="742"/>
                  </a:lnTo>
                  <a:lnTo>
                    <a:pt x="2408" y="741"/>
                  </a:lnTo>
                  <a:lnTo>
                    <a:pt x="2411" y="739"/>
                  </a:lnTo>
                  <a:lnTo>
                    <a:pt x="2412" y="737"/>
                  </a:lnTo>
                  <a:lnTo>
                    <a:pt x="2411" y="731"/>
                  </a:lnTo>
                  <a:lnTo>
                    <a:pt x="2408" y="730"/>
                  </a:lnTo>
                  <a:lnTo>
                    <a:pt x="2406" y="726"/>
                  </a:lnTo>
                  <a:lnTo>
                    <a:pt x="2406" y="724"/>
                  </a:lnTo>
                  <a:lnTo>
                    <a:pt x="2410" y="721"/>
                  </a:lnTo>
                  <a:lnTo>
                    <a:pt x="2412" y="720"/>
                  </a:lnTo>
                  <a:lnTo>
                    <a:pt x="2416" y="720"/>
                  </a:lnTo>
                  <a:lnTo>
                    <a:pt x="2420" y="717"/>
                  </a:lnTo>
                  <a:lnTo>
                    <a:pt x="2421" y="714"/>
                  </a:lnTo>
                  <a:lnTo>
                    <a:pt x="2419" y="710"/>
                  </a:lnTo>
                  <a:lnTo>
                    <a:pt x="2418" y="707"/>
                  </a:lnTo>
                  <a:lnTo>
                    <a:pt x="2415" y="701"/>
                  </a:lnTo>
                  <a:lnTo>
                    <a:pt x="2415" y="694"/>
                  </a:lnTo>
                  <a:lnTo>
                    <a:pt x="2414" y="691"/>
                  </a:lnTo>
                  <a:lnTo>
                    <a:pt x="2413" y="690"/>
                  </a:lnTo>
                  <a:lnTo>
                    <a:pt x="2407" y="690"/>
                  </a:lnTo>
                  <a:lnTo>
                    <a:pt x="2404" y="686"/>
                  </a:lnTo>
                  <a:lnTo>
                    <a:pt x="2404" y="681"/>
                  </a:lnTo>
                  <a:lnTo>
                    <a:pt x="2404" y="674"/>
                  </a:lnTo>
                  <a:lnTo>
                    <a:pt x="2404" y="664"/>
                  </a:lnTo>
                  <a:lnTo>
                    <a:pt x="2404" y="653"/>
                  </a:lnTo>
                  <a:lnTo>
                    <a:pt x="2404" y="648"/>
                  </a:lnTo>
                  <a:lnTo>
                    <a:pt x="2404" y="643"/>
                  </a:lnTo>
                  <a:lnTo>
                    <a:pt x="2404" y="640"/>
                  </a:lnTo>
                  <a:lnTo>
                    <a:pt x="2408" y="637"/>
                  </a:lnTo>
                  <a:lnTo>
                    <a:pt x="2412" y="638"/>
                  </a:lnTo>
                  <a:lnTo>
                    <a:pt x="2416" y="638"/>
                  </a:lnTo>
                  <a:lnTo>
                    <a:pt x="2421" y="638"/>
                  </a:lnTo>
                  <a:lnTo>
                    <a:pt x="2424" y="638"/>
                  </a:lnTo>
                  <a:lnTo>
                    <a:pt x="2426" y="638"/>
                  </a:lnTo>
                  <a:lnTo>
                    <a:pt x="2427" y="636"/>
                  </a:lnTo>
                  <a:lnTo>
                    <a:pt x="2424" y="629"/>
                  </a:lnTo>
                  <a:lnTo>
                    <a:pt x="2422" y="627"/>
                  </a:lnTo>
                  <a:lnTo>
                    <a:pt x="2419" y="622"/>
                  </a:lnTo>
                  <a:lnTo>
                    <a:pt x="2418" y="619"/>
                  </a:lnTo>
                  <a:lnTo>
                    <a:pt x="2416" y="617"/>
                  </a:lnTo>
                  <a:lnTo>
                    <a:pt x="2416" y="613"/>
                  </a:lnTo>
                  <a:lnTo>
                    <a:pt x="2414" y="611"/>
                  </a:lnTo>
                  <a:lnTo>
                    <a:pt x="2410" y="610"/>
                  </a:lnTo>
                  <a:lnTo>
                    <a:pt x="2403" y="608"/>
                  </a:lnTo>
                  <a:lnTo>
                    <a:pt x="2398" y="606"/>
                  </a:lnTo>
                  <a:lnTo>
                    <a:pt x="2394" y="603"/>
                  </a:lnTo>
                  <a:lnTo>
                    <a:pt x="2392" y="602"/>
                  </a:lnTo>
                  <a:lnTo>
                    <a:pt x="2388" y="600"/>
                  </a:lnTo>
                  <a:lnTo>
                    <a:pt x="2382" y="600"/>
                  </a:lnTo>
                  <a:lnTo>
                    <a:pt x="2378" y="598"/>
                  </a:lnTo>
                  <a:lnTo>
                    <a:pt x="2372" y="597"/>
                  </a:lnTo>
                  <a:lnTo>
                    <a:pt x="2366" y="598"/>
                  </a:lnTo>
                  <a:lnTo>
                    <a:pt x="2362" y="603"/>
                  </a:lnTo>
                  <a:lnTo>
                    <a:pt x="2357" y="606"/>
                  </a:lnTo>
                  <a:lnTo>
                    <a:pt x="2352" y="606"/>
                  </a:lnTo>
                  <a:lnTo>
                    <a:pt x="2348" y="605"/>
                  </a:lnTo>
                  <a:lnTo>
                    <a:pt x="2343" y="605"/>
                  </a:lnTo>
                  <a:lnTo>
                    <a:pt x="2334" y="604"/>
                  </a:lnTo>
                  <a:lnTo>
                    <a:pt x="2330" y="602"/>
                  </a:lnTo>
                  <a:lnTo>
                    <a:pt x="2323" y="598"/>
                  </a:lnTo>
                  <a:lnTo>
                    <a:pt x="2317" y="598"/>
                  </a:lnTo>
                  <a:lnTo>
                    <a:pt x="2316" y="601"/>
                  </a:lnTo>
                  <a:lnTo>
                    <a:pt x="2317" y="603"/>
                  </a:lnTo>
                  <a:lnTo>
                    <a:pt x="2318" y="608"/>
                  </a:lnTo>
                  <a:lnTo>
                    <a:pt x="2316" y="612"/>
                  </a:lnTo>
                  <a:lnTo>
                    <a:pt x="2316" y="617"/>
                  </a:lnTo>
                  <a:lnTo>
                    <a:pt x="2316" y="622"/>
                  </a:lnTo>
                  <a:lnTo>
                    <a:pt x="2312" y="626"/>
                  </a:lnTo>
                  <a:lnTo>
                    <a:pt x="2308" y="627"/>
                  </a:lnTo>
                  <a:lnTo>
                    <a:pt x="2303" y="625"/>
                  </a:lnTo>
                  <a:lnTo>
                    <a:pt x="2298" y="620"/>
                  </a:lnTo>
                  <a:lnTo>
                    <a:pt x="2293" y="617"/>
                  </a:lnTo>
                  <a:lnTo>
                    <a:pt x="2285" y="616"/>
                  </a:lnTo>
                  <a:lnTo>
                    <a:pt x="2280" y="616"/>
                  </a:lnTo>
                  <a:lnTo>
                    <a:pt x="2280" y="613"/>
                  </a:lnTo>
                  <a:lnTo>
                    <a:pt x="2284" y="609"/>
                  </a:lnTo>
                  <a:lnTo>
                    <a:pt x="2284" y="604"/>
                  </a:lnTo>
                  <a:lnTo>
                    <a:pt x="2280" y="603"/>
                  </a:lnTo>
                  <a:lnTo>
                    <a:pt x="2276" y="608"/>
                  </a:lnTo>
                  <a:lnTo>
                    <a:pt x="2271" y="611"/>
                  </a:lnTo>
                  <a:lnTo>
                    <a:pt x="2268" y="610"/>
                  </a:lnTo>
                  <a:lnTo>
                    <a:pt x="2268" y="603"/>
                  </a:lnTo>
                  <a:lnTo>
                    <a:pt x="2270" y="598"/>
                  </a:lnTo>
                  <a:lnTo>
                    <a:pt x="2274" y="595"/>
                  </a:lnTo>
                  <a:lnTo>
                    <a:pt x="2275" y="590"/>
                  </a:lnTo>
                  <a:lnTo>
                    <a:pt x="2275" y="586"/>
                  </a:lnTo>
                  <a:lnTo>
                    <a:pt x="2275" y="582"/>
                  </a:lnTo>
                  <a:lnTo>
                    <a:pt x="2272" y="581"/>
                  </a:lnTo>
                  <a:lnTo>
                    <a:pt x="2268" y="582"/>
                  </a:lnTo>
                  <a:lnTo>
                    <a:pt x="2264" y="586"/>
                  </a:lnTo>
                  <a:lnTo>
                    <a:pt x="2262" y="589"/>
                  </a:lnTo>
                  <a:lnTo>
                    <a:pt x="2259" y="589"/>
                  </a:lnTo>
                  <a:lnTo>
                    <a:pt x="2258" y="588"/>
                  </a:lnTo>
                  <a:lnTo>
                    <a:pt x="2259" y="584"/>
                  </a:lnTo>
                  <a:lnTo>
                    <a:pt x="2261" y="577"/>
                  </a:lnTo>
                  <a:lnTo>
                    <a:pt x="2260" y="573"/>
                  </a:lnTo>
                  <a:lnTo>
                    <a:pt x="2256" y="570"/>
                  </a:lnTo>
                  <a:lnTo>
                    <a:pt x="2254" y="570"/>
                  </a:lnTo>
                  <a:lnTo>
                    <a:pt x="2251" y="572"/>
                  </a:lnTo>
                  <a:lnTo>
                    <a:pt x="2247" y="573"/>
                  </a:lnTo>
                  <a:lnTo>
                    <a:pt x="2242" y="573"/>
                  </a:lnTo>
                  <a:lnTo>
                    <a:pt x="2238" y="572"/>
                  </a:lnTo>
                  <a:lnTo>
                    <a:pt x="2234" y="570"/>
                  </a:lnTo>
                  <a:lnTo>
                    <a:pt x="2229" y="569"/>
                  </a:lnTo>
                  <a:lnTo>
                    <a:pt x="2223" y="566"/>
                  </a:lnTo>
                  <a:lnTo>
                    <a:pt x="2215" y="564"/>
                  </a:lnTo>
                  <a:lnTo>
                    <a:pt x="2211" y="563"/>
                  </a:lnTo>
                  <a:lnTo>
                    <a:pt x="2207" y="563"/>
                  </a:lnTo>
                  <a:lnTo>
                    <a:pt x="2202" y="565"/>
                  </a:lnTo>
                  <a:lnTo>
                    <a:pt x="2197" y="564"/>
                  </a:lnTo>
                  <a:lnTo>
                    <a:pt x="2194" y="561"/>
                  </a:lnTo>
                  <a:lnTo>
                    <a:pt x="2191" y="554"/>
                  </a:lnTo>
                  <a:lnTo>
                    <a:pt x="2183" y="546"/>
                  </a:lnTo>
                  <a:lnTo>
                    <a:pt x="2180" y="542"/>
                  </a:lnTo>
                  <a:lnTo>
                    <a:pt x="2179" y="537"/>
                  </a:lnTo>
                  <a:lnTo>
                    <a:pt x="2179" y="531"/>
                  </a:lnTo>
                  <a:lnTo>
                    <a:pt x="2179" y="525"/>
                  </a:lnTo>
                  <a:lnTo>
                    <a:pt x="2181" y="518"/>
                  </a:lnTo>
                  <a:lnTo>
                    <a:pt x="2181" y="515"/>
                  </a:lnTo>
                  <a:lnTo>
                    <a:pt x="2178" y="512"/>
                  </a:lnTo>
                  <a:lnTo>
                    <a:pt x="2173" y="512"/>
                  </a:lnTo>
                  <a:lnTo>
                    <a:pt x="2168" y="513"/>
                  </a:lnTo>
                  <a:lnTo>
                    <a:pt x="2165" y="512"/>
                  </a:lnTo>
                  <a:lnTo>
                    <a:pt x="2160" y="509"/>
                  </a:lnTo>
                  <a:lnTo>
                    <a:pt x="2158" y="508"/>
                  </a:lnTo>
                  <a:lnTo>
                    <a:pt x="2152" y="507"/>
                  </a:lnTo>
                  <a:lnTo>
                    <a:pt x="2150" y="506"/>
                  </a:lnTo>
                  <a:lnTo>
                    <a:pt x="2148" y="505"/>
                  </a:lnTo>
                  <a:lnTo>
                    <a:pt x="2146" y="502"/>
                  </a:lnTo>
                  <a:lnTo>
                    <a:pt x="2143" y="501"/>
                  </a:lnTo>
                  <a:lnTo>
                    <a:pt x="2139" y="499"/>
                  </a:lnTo>
                  <a:lnTo>
                    <a:pt x="2133" y="499"/>
                  </a:lnTo>
                  <a:lnTo>
                    <a:pt x="2128" y="500"/>
                  </a:lnTo>
                  <a:lnTo>
                    <a:pt x="2124" y="500"/>
                  </a:lnTo>
                  <a:lnTo>
                    <a:pt x="2120" y="498"/>
                  </a:lnTo>
                  <a:lnTo>
                    <a:pt x="2118" y="494"/>
                  </a:lnTo>
                  <a:lnTo>
                    <a:pt x="2116" y="493"/>
                  </a:lnTo>
                  <a:lnTo>
                    <a:pt x="2115" y="492"/>
                  </a:lnTo>
                  <a:lnTo>
                    <a:pt x="2111" y="492"/>
                  </a:lnTo>
                  <a:lnTo>
                    <a:pt x="2108" y="492"/>
                  </a:lnTo>
                  <a:lnTo>
                    <a:pt x="2102" y="492"/>
                  </a:lnTo>
                  <a:lnTo>
                    <a:pt x="2101" y="490"/>
                  </a:lnTo>
                  <a:lnTo>
                    <a:pt x="2101" y="489"/>
                  </a:lnTo>
                  <a:lnTo>
                    <a:pt x="2103" y="485"/>
                  </a:lnTo>
                  <a:lnTo>
                    <a:pt x="2107" y="482"/>
                  </a:lnTo>
                  <a:lnTo>
                    <a:pt x="2109" y="481"/>
                  </a:lnTo>
                  <a:lnTo>
                    <a:pt x="2109" y="478"/>
                  </a:lnTo>
                  <a:lnTo>
                    <a:pt x="2107" y="478"/>
                  </a:lnTo>
                  <a:lnTo>
                    <a:pt x="2102" y="478"/>
                  </a:lnTo>
                  <a:lnTo>
                    <a:pt x="2099" y="478"/>
                  </a:lnTo>
                  <a:lnTo>
                    <a:pt x="2096" y="475"/>
                  </a:lnTo>
                  <a:lnTo>
                    <a:pt x="2095" y="474"/>
                  </a:lnTo>
                  <a:lnTo>
                    <a:pt x="2098" y="472"/>
                  </a:lnTo>
                  <a:lnTo>
                    <a:pt x="2101" y="472"/>
                  </a:lnTo>
                  <a:lnTo>
                    <a:pt x="2104" y="472"/>
                  </a:lnTo>
                  <a:lnTo>
                    <a:pt x="2106" y="469"/>
                  </a:lnTo>
                  <a:lnTo>
                    <a:pt x="2106" y="467"/>
                  </a:lnTo>
                  <a:lnTo>
                    <a:pt x="2103" y="466"/>
                  </a:lnTo>
                  <a:lnTo>
                    <a:pt x="2100" y="465"/>
                  </a:lnTo>
                  <a:lnTo>
                    <a:pt x="2098" y="464"/>
                  </a:lnTo>
                  <a:lnTo>
                    <a:pt x="2094" y="462"/>
                  </a:lnTo>
                  <a:lnTo>
                    <a:pt x="2092" y="460"/>
                  </a:lnTo>
                  <a:lnTo>
                    <a:pt x="2088" y="459"/>
                  </a:lnTo>
                  <a:lnTo>
                    <a:pt x="2084" y="458"/>
                  </a:lnTo>
                  <a:lnTo>
                    <a:pt x="2080" y="458"/>
                  </a:lnTo>
                  <a:lnTo>
                    <a:pt x="2076" y="459"/>
                  </a:lnTo>
                  <a:lnTo>
                    <a:pt x="2074" y="461"/>
                  </a:lnTo>
                  <a:lnTo>
                    <a:pt x="2070" y="465"/>
                  </a:lnTo>
                  <a:lnTo>
                    <a:pt x="2069" y="467"/>
                  </a:lnTo>
                  <a:lnTo>
                    <a:pt x="2068" y="469"/>
                  </a:lnTo>
                  <a:lnTo>
                    <a:pt x="2066" y="473"/>
                  </a:lnTo>
                  <a:lnTo>
                    <a:pt x="2063" y="474"/>
                  </a:lnTo>
                  <a:lnTo>
                    <a:pt x="2060" y="474"/>
                  </a:lnTo>
                  <a:lnTo>
                    <a:pt x="2058" y="475"/>
                  </a:lnTo>
                  <a:lnTo>
                    <a:pt x="2061" y="477"/>
                  </a:lnTo>
                  <a:lnTo>
                    <a:pt x="2067" y="482"/>
                  </a:lnTo>
                  <a:lnTo>
                    <a:pt x="2067" y="485"/>
                  </a:lnTo>
                  <a:lnTo>
                    <a:pt x="2066" y="488"/>
                  </a:lnTo>
                  <a:lnTo>
                    <a:pt x="2063" y="490"/>
                  </a:lnTo>
                  <a:lnTo>
                    <a:pt x="2060" y="490"/>
                  </a:lnTo>
                  <a:lnTo>
                    <a:pt x="2053" y="489"/>
                  </a:lnTo>
                  <a:lnTo>
                    <a:pt x="2051" y="488"/>
                  </a:lnTo>
                  <a:lnTo>
                    <a:pt x="2047" y="486"/>
                  </a:lnTo>
                  <a:lnTo>
                    <a:pt x="2045" y="485"/>
                  </a:lnTo>
                  <a:lnTo>
                    <a:pt x="2045" y="483"/>
                  </a:lnTo>
                  <a:lnTo>
                    <a:pt x="2046" y="481"/>
                  </a:lnTo>
                  <a:lnTo>
                    <a:pt x="2048" y="480"/>
                  </a:lnTo>
                  <a:lnTo>
                    <a:pt x="2051" y="477"/>
                  </a:lnTo>
                  <a:lnTo>
                    <a:pt x="2051" y="474"/>
                  </a:lnTo>
                  <a:lnTo>
                    <a:pt x="2047" y="473"/>
                  </a:lnTo>
                  <a:lnTo>
                    <a:pt x="2043" y="473"/>
                  </a:lnTo>
                  <a:lnTo>
                    <a:pt x="2040" y="472"/>
                  </a:lnTo>
                  <a:lnTo>
                    <a:pt x="2034" y="469"/>
                  </a:lnTo>
                  <a:lnTo>
                    <a:pt x="2030" y="470"/>
                  </a:lnTo>
                  <a:lnTo>
                    <a:pt x="2028" y="472"/>
                  </a:lnTo>
                  <a:lnTo>
                    <a:pt x="2028" y="475"/>
                  </a:lnTo>
                  <a:lnTo>
                    <a:pt x="2027" y="478"/>
                  </a:lnTo>
                  <a:lnTo>
                    <a:pt x="2026" y="480"/>
                  </a:lnTo>
                  <a:lnTo>
                    <a:pt x="2023" y="480"/>
                  </a:lnTo>
                  <a:lnTo>
                    <a:pt x="2021" y="476"/>
                  </a:lnTo>
                  <a:lnTo>
                    <a:pt x="2021" y="474"/>
                  </a:lnTo>
                  <a:lnTo>
                    <a:pt x="2016" y="473"/>
                  </a:lnTo>
                  <a:lnTo>
                    <a:pt x="2010" y="473"/>
                  </a:lnTo>
                  <a:lnTo>
                    <a:pt x="2005" y="474"/>
                  </a:lnTo>
                  <a:lnTo>
                    <a:pt x="1999" y="474"/>
                  </a:lnTo>
                  <a:lnTo>
                    <a:pt x="1995" y="475"/>
                  </a:lnTo>
                  <a:lnTo>
                    <a:pt x="1994" y="476"/>
                  </a:lnTo>
                  <a:lnTo>
                    <a:pt x="1994" y="478"/>
                  </a:lnTo>
                  <a:lnTo>
                    <a:pt x="1998" y="484"/>
                  </a:lnTo>
                  <a:lnTo>
                    <a:pt x="2004" y="490"/>
                  </a:lnTo>
                  <a:lnTo>
                    <a:pt x="2004" y="494"/>
                  </a:lnTo>
                  <a:lnTo>
                    <a:pt x="2004" y="498"/>
                  </a:lnTo>
                  <a:lnTo>
                    <a:pt x="1999" y="505"/>
                  </a:lnTo>
                  <a:lnTo>
                    <a:pt x="1997" y="509"/>
                  </a:lnTo>
                  <a:lnTo>
                    <a:pt x="1995" y="514"/>
                  </a:lnTo>
                  <a:lnTo>
                    <a:pt x="1994" y="518"/>
                  </a:lnTo>
                  <a:lnTo>
                    <a:pt x="1992" y="522"/>
                  </a:lnTo>
                  <a:lnTo>
                    <a:pt x="1994" y="525"/>
                  </a:lnTo>
                  <a:lnTo>
                    <a:pt x="1995" y="529"/>
                  </a:lnTo>
                  <a:lnTo>
                    <a:pt x="1995" y="533"/>
                  </a:lnTo>
                  <a:lnTo>
                    <a:pt x="1994" y="536"/>
                  </a:lnTo>
                  <a:lnTo>
                    <a:pt x="1991" y="536"/>
                  </a:lnTo>
                  <a:lnTo>
                    <a:pt x="1988" y="534"/>
                  </a:lnTo>
                  <a:lnTo>
                    <a:pt x="1986" y="532"/>
                  </a:lnTo>
                  <a:lnTo>
                    <a:pt x="1981" y="531"/>
                  </a:lnTo>
                  <a:lnTo>
                    <a:pt x="1980" y="536"/>
                  </a:lnTo>
                  <a:lnTo>
                    <a:pt x="1978" y="540"/>
                  </a:lnTo>
                  <a:lnTo>
                    <a:pt x="1976" y="544"/>
                  </a:lnTo>
                  <a:lnTo>
                    <a:pt x="1974" y="547"/>
                  </a:lnTo>
                  <a:lnTo>
                    <a:pt x="1970" y="546"/>
                  </a:lnTo>
                  <a:lnTo>
                    <a:pt x="1966" y="544"/>
                  </a:lnTo>
                  <a:lnTo>
                    <a:pt x="1962" y="541"/>
                  </a:lnTo>
                  <a:lnTo>
                    <a:pt x="1957" y="539"/>
                  </a:lnTo>
                  <a:lnTo>
                    <a:pt x="1954" y="534"/>
                  </a:lnTo>
                  <a:lnTo>
                    <a:pt x="1951" y="532"/>
                  </a:lnTo>
                  <a:lnTo>
                    <a:pt x="1948" y="530"/>
                  </a:lnTo>
                  <a:lnTo>
                    <a:pt x="1944" y="530"/>
                  </a:lnTo>
                  <a:lnTo>
                    <a:pt x="1940" y="531"/>
                  </a:lnTo>
                  <a:lnTo>
                    <a:pt x="1939" y="533"/>
                  </a:lnTo>
                  <a:lnTo>
                    <a:pt x="1934" y="537"/>
                  </a:lnTo>
                  <a:lnTo>
                    <a:pt x="1928" y="538"/>
                  </a:lnTo>
                  <a:lnTo>
                    <a:pt x="1924" y="539"/>
                  </a:lnTo>
                  <a:lnTo>
                    <a:pt x="1920" y="536"/>
                  </a:lnTo>
                  <a:lnTo>
                    <a:pt x="1918" y="533"/>
                  </a:lnTo>
                  <a:lnTo>
                    <a:pt x="1914" y="532"/>
                  </a:lnTo>
                  <a:lnTo>
                    <a:pt x="1910" y="537"/>
                  </a:lnTo>
                  <a:lnTo>
                    <a:pt x="1907" y="540"/>
                  </a:lnTo>
                  <a:lnTo>
                    <a:pt x="1899" y="540"/>
                  </a:lnTo>
                  <a:lnTo>
                    <a:pt x="1892" y="539"/>
                  </a:lnTo>
                  <a:lnTo>
                    <a:pt x="1885" y="538"/>
                  </a:lnTo>
                  <a:lnTo>
                    <a:pt x="1883" y="538"/>
                  </a:lnTo>
                  <a:lnTo>
                    <a:pt x="1883" y="534"/>
                  </a:lnTo>
                  <a:lnTo>
                    <a:pt x="1885" y="531"/>
                  </a:lnTo>
                  <a:lnTo>
                    <a:pt x="1885" y="526"/>
                  </a:lnTo>
                  <a:lnTo>
                    <a:pt x="1887" y="522"/>
                  </a:lnTo>
                  <a:lnTo>
                    <a:pt x="1891" y="517"/>
                  </a:lnTo>
                  <a:lnTo>
                    <a:pt x="1892" y="513"/>
                  </a:lnTo>
                  <a:lnTo>
                    <a:pt x="1894" y="507"/>
                  </a:lnTo>
                  <a:lnTo>
                    <a:pt x="1900" y="499"/>
                  </a:lnTo>
                  <a:lnTo>
                    <a:pt x="1900" y="493"/>
                  </a:lnTo>
                  <a:lnTo>
                    <a:pt x="1900" y="488"/>
                  </a:lnTo>
                  <a:lnTo>
                    <a:pt x="1903" y="483"/>
                  </a:lnTo>
                  <a:lnTo>
                    <a:pt x="1907" y="477"/>
                  </a:lnTo>
                  <a:lnTo>
                    <a:pt x="1904" y="472"/>
                  </a:lnTo>
                  <a:lnTo>
                    <a:pt x="1903" y="468"/>
                  </a:lnTo>
                  <a:lnTo>
                    <a:pt x="1899" y="466"/>
                  </a:lnTo>
                  <a:lnTo>
                    <a:pt x="1893" y="468"/>
                  </a:lnTo>
                  <a:lnTo>
                    <a:pt x="1890" y="473"/>
                  </a:lnTo>
                  <a:lnTo>
                    <a:pt x="1887" y="477"/>
                  </a:lnTo>
                  <a:lnTo>
                    <a:pt x="1890" y="483"/>
                  </a:lnTo>
                  <a:lnTo>
                    <a:pt x="1890" y="488"/>
                  </a:lnTo>
                  <a:lnTo>
                    <a:pt x="1886" y="490"/>
                  </a:lnTo>
                  <a:lnTo>
                    <a:pt x="1883" y="488"/>
                  </a:lnTo>
                  <a:lnTo>
                    <a:pt x="1880" y="480"/>
                  </a:lnTo>
                  <a:lnTo>
                    <a:pt x="1876" y="480"/>
                  </a:lnTo>
                  <a:lnTo>
                    <a:pt x="1871" y="482"/>
                  </a:lnTo>
                  <a:lnTo>
                    <a:pt x="1864" y="483"/>
                  </a:lnTo>
                  <a:lnTo>
                    <a:pt x="1859" y="481"/>
                  </a:lnTo>
                  <a:lnTo>
                    <a:pt x="1854" y="482"/>
                  </a:lnTo>
                  <a:lnTo>
                    <a:pt x="1853" y="485"/>
                  </a:lnTo>
                  <a:lnTo>
                    <a:pt x="1856" y="489"/>
                  </a:lnTo>
                  <a:lnTo>
                    <a:pt x="1863" y="493"/>
                  </a:lnTo>
                  <a:lnTo>
                    <a:pt x="1868" y="497"/>
                  </a:lnTo>
                  <a:lnTo>
                    <a:pt x="1871" y="501"/>
                  </a:lnTo>
                  <a:lnTo>
                    <a:pt x="1871" y="504"/>
                  </a:lnTo>
                  <a:lnTo>
                    <a:pt x="1868" y="505"/>
                  </a:lnTo>
                  <a:lnTo>
                    <a:pt x="1862" y="505"/>
                  </a:lnTo>
                  <a:lnTo>
                    <a:pt x="1860" y="502"/>
                  </a:lnTo>
                  <a:lnTo>
                    <a:pt x="1856" y="501"/>
                  </a:lnTo>
                  <a:lnTo>
                    <a:pt x="1852" y="501"/>
                  </a:lnTo>
                  <a:lnTo>
                    <a:pt x="1847" y="504"/>
                  </a:lnTo>
                  <a:lnTo>
                    <a:pt x="1843" y="502"/>
                  </a:lnTo>
                  <a:lnTo>
                    <a:pt x="1844" y="499"/>
                  </a:lnTo>
                  <a:lnTo>
                    <a:pt x="1845" y="496"/>
                  </a:lnTo>
                  <a:lnTo>
                    <a:pt x="1844" y="493"/>
                  </a:lnTo>
                  <a:lnTo>
                    <a:pt x="1842" y="491"/>
                  </a:lnTo>
                  <a:lnTo>
                    <a:pt x="1838" y="488"/>
                  </a:lnTo>
                  <a:lnTo>
                    <a:pt x="1836" y="485"/>
                  </a:lnTo>
                  <a:lnTo>
                    <a:pt x="1834" y="482"/>
                  </a:lnTo>
                  <a:lnTo>
                    <a:pt x="1831" y="480"/>
                  </a:lnTo>
                  <a:lnTo>
                    <a:pt x="1827" y="478"/>
                  </a:lnTo>
                  <a:lnTo>
                    <a:pt x="1823" y="478"/>
                  </a:lnTo>
                  <a:lnTo>
                    <a:pt x="1822" y="483"/>
                  </a:lnTo>
                  <a:lnTo>
                    <a:pt x="1826" y="486"/>
                  </a:lnTo>
                  <a:lnTo>
                    <a:pt x="1830" y="488"/>
                  </a:lnTo>
                  <a:lnTo>
                    <a:pt x="1834" y="491"/>
                  </a:lnTo>
                  <a:lnTo>
                    <a:pt x="1830" y="494"/>
                  </a:lnTo>
                  <a:lnTo>
                    <a:pt x="1826" y="493"/>
                  </a:lnTo>
                  <a:lnTo>
                    <a:pt x="1822" y="491"/>
                  </a:lnTo>
                  <a:lnTo>
                    <a:pt x="1819" y="490"/>
                  </a:lnTo>
                  <a:lnTo>
                    <a:pt x="1818" y="491"/>
                  </a:lnTo>
                  <a:lnTo>
                    <a:pt x="1819" y="493"/>
                  </a:lnTo>
                  <a:lnTo>
                    <a:pt x="1823" y="499"/>
                  </a:lnTo>
                  <a:lnTo>
                    <a:pt x="1820" y="500"/>
                  </a:lnTo>
                  <a:lnTo>
                    <a:pt x="1813" y="499"/>
                  </a:lnTo>
                  <a:lnTo>
                    <a:pt x="1811" y="501"/>
                  </a:lnTo>
                  <a:lnTo>
                    <a:pt x="1806" y="500"/>
                  </a:lnTo>
                  <a:lnTo>
                    <a:pt x="1806" y="496"/>
                  </a:lnTo>
                  <a:lnTo>
                    <a:pt x="1806" y="493"/>
                  </a:lnTo>
                  <a:lnTo>
                    <a:pt x="1800" y="488"/>
                  </a:lnTo>
                  <a:lnTo>
                    <a:pt x="1797" y="492"/>
                  </a:lnTo>
                  <a:lnTo>
                    <a:pt x="1797" y="498"/>
                  </a:lnTo>
                  <a:lnTo>
                    <a:pt x="1800" y="502"/>
                  </a:lnTo>
                  <a:lnTo>
                    <a:pt x="1806" y="506"/>
                  </a:lnTo>
                  <a:lnTo>
                    <a:pt x="1808" y="509"/>
                  </a:lnTo>
                  <a:lnTo>
                    <a:pt x="1812" y="513"/>
                  </a:lnTo>
                  <a:lnTo>
                    <a:pt x="1812" y="517"/>
                  </a:lnTo>
                  <a:lnTo>
                    <a:pt x="1806" y="515"/>
                  </a:lnTo>
                  <a:lnTo>
                    <a:pt x="1797" y="514"/>
                  </a:lnTo>
                  <a:lnTo>
                    <a:pt x="1794" y="524"/>
                  </a:lnTo>
                  <a:lnTo>
                    <a:pt x="1787" y="525"/>
                  </a:lnTo>
                  <a:lnTo>
                    <a:pt x="1783" y="522"/>
                  </a:lnTo>
                  <a:lnTo>
                    <a:pt x="1782" y="517"/>
                  </a:lnTo>
                  <a:lnTo>
                    <a:pt x="1780" y="513"/>
                  </a:lnTo>
                  <a:lnTo>
                    <a:pt x="1780" y="510"/>
                  </a:lnTo>
                  <a:lnTo>
                    <a:pt x="1781" y="508"/>
                  </a:lnTo>
                  <a:lnTo>
                    <a:pt x="1787" y="508"/>
                  </a:lnTo>
                  <a:lnTo>
                    <a:pt x="1791" y="510"/>
                  </a:lnTo>
                  <a:lnTo>
                    <a:pt x="1796" y="509"/>
                  </a:lnTo>
                  <a:lnTo>
                    <a:pt x="1792" y="502"/>
                  </a:lnTo>
                  <a:lnTo>
                    <a:pt x="1786" y="501"/>
                  </a:lnTo>
                  <a:lnTo>
                    <a:pt x="1781" y="497"/>
                  </a:lnTo>
                  <a:lnTo>
                    <a:pt x="1776" y="497"/>
                  </a:lnTo>
                  <a:lnTo>
                    <a:pt x="1772" y="500"/>
                  </a:lnTo>
                  <a:lnTo>
                    <a:pt x="1766" y="504"/>
                  </a:lnTo>
                  <a:lnTo>
                    <a:pt x="1762" y="505"/>
                  </a:lnTo>
                  <a:lnTo>
                    <a:pt x="1760" y="507"/>
                  </a:lnTo>
                  <a:lnTo>
                    <a:pt x="1764" y="512"/>
                  </a:lnTo>
                  <a:lnTo>
                    <a:pt x="1766" y="516"/>
                  </a:lnTo>
                  <a:lnTo>
                    <a:pt x="1763" y="517"/>
                  </a:lnTo>
                  <a:lnTo>
                    <a:pt x="1759" y="515"/>
                  </a:lnTo>
                  <a:lnTo>
                    <a:pt x="1755" y="512"/>
                  </a:lnTo>
                  <a:lnTo>
                    <a:pt x="1754" y="515"/>
                  </a:lnTo>
                  <a:lnTo>
                    <a:pt x="1752" y="518"/>
                  </a:lnTo>
                  <a:lnTo>
                    <a:pt x="1749" y="521"/>
                  </a:lnTo>
                  <a:lnTo>
                    <a:pt x="1742" y="521"/>
                  </a:lnTo>
                  <a:lnTo>
                    <a:pt x="1740" y="517"/>
                  </a:lnTo>
                  <a:lnTo>
                    <a:pt x="1736" y="514"/>
                  </a:lnTo>
                  <a:lnTo>
                    <a:pt x="1732" y="510"/>
                  </a:lnTo>
                  <a:lnTo>
                    <a:pt x="1728" y="507"/>
                  </a:lnTo>
                  <a:lnTo>
                    <a:pt x="1727" y="504"/>
                  </a:lnTo>
                  <a:lnTo>
                    <a:pt x="1731" y="500"/>
                  </a:lnTo>
                  <a:lnTo>
                    <a:pt x="1734" y="502"/>
                  </a:lnTo>
                  <a:lnTo>
                    <a:pt x="1740" y="504"/>
                  </a:lnTo>
                  <a:lnTo>
                    <a:pt x="1747" y="504"/>
                  </a:lnTo>
                  <a:lnTo>
                    <a:pt x="1750" y="501"/>
                  </a:lnTo>
                  <a:lnTo>
                    <a:pt x="1752" y="498"/>
                  </a:lnTo>
                  <a:lnTo>
                    <a:pt x="1756" y="494"/>
                  </a:lnTo>
                  <a:lnTo>
                    <a:pt x="1760" y="490"/>
                  </a:lnTo>
                  <a:lnTo>
                    <a:pt x="1763" y="486"/>
                  </a:lnTo>
                  <a:lnTo>
                    <a:pt x="1767" y="483"/>
                  </a:lnTo>
                  <a:lnTo>
                    <a:pt x="1772" y="477"/>
                  </a:lnTo>
                  <a:lnTo>
                    <a:pt x="1772" y="475"/>
                  </a:lnTo>
                  <a:lnTo>
                    <a:pt x="1771" y="472"/>
                  </a:lnTo>
                  <a:lnTo>
                    <a:pt x="1772" y="467"/>
                  </a:lnTo>
                  <a:lnTo>
                    <a:pt x="1771" y="464"/>
                  </a:lnTo>
                  <a:lnTo>
                    <a:pt x="1766" y="460"/>
                  </a:lnTo>
                  <a:lnTo>
                    <a:pt x="1763" y="458"/>
                  </a:lnTo>
                  <a:lnTo>
                    <a:pt x="1760" y="456"/>
                  </a:lnTo>
                  <a:lnTo>
                    <a:pt x="1759" y="452"/>
                  </a:lnTo>
                  <a:lnTo>
                    <a:pt x="1757" y="449"/>
                  </a:lnTo>
                  <a:lnTo>
                    <a:pt x="1751" y="437"/>
                  </a:lnTo>
                  <a:lnTo>
                    <a:pt x="1748" y="428"/>
                  </a:lnTo>
                  <a:lnTo>
                    <a:pt x="1747" y="421"/>
                  </a:lnTo>
                  <a:lnTo>
                    <a:pt x="1746" y="416"/>
                  </a:lnTo>
                  <a:lnTo>
                    <a:pt x="1741" y="412"/>
                  </a:lnTo>
                  <a:lnTo>
                    <a:pt x="1736" y="409"/>
                  </a:lnTo>
                  <a:lnTo>
                    <a:pt x="1734" y="405"/>
                  </a:lnTo>
                  <a:lnTo>
                    <a:pt x="1731" y="405"/>
                  </a:lnTo>
                  <a:lnTo>
                    <a:pt x="1726" y="408"/>
                  </a:lnTo>
                  <a:lnTo>
                    <a:pt x="1720" y="408"/>
                  </a:lnTo>
                  <a:lnTo>
                    <a:pt x="1717" y="405"/>
                  </a:lnTo>
                  <a:lnTo>
                    <a:pt x="1712" y="409"/>
                  </a:lnTo>
                  <a:lnTo>
                    <a:pt x="1710" y="413"/>
                  </a:lnTo>
                  <a:lnTo>
                    <a:pt x="1709" y="417"/>
                  </a:lnTo>
                  <a:lnTo>
                    <a:pt x="1703" y="417"/>
                  </a:lnTo>
                  <a:lnTo>
                    <a:pt x="1700" y="420"/>
                  </a:lnTo>
                  <a:lnTo>
                    <a:pt x="1696" y="424"/>
                  </a:lnTo>
                  <a:lnTo>
                    <a:pt x="1692" y="424"/>
                  </a:lnTo>
                  <a:lnTo>
                    <a:pt x="1687" y="424"/>
                  </a:lnTo>
                  <a:lnTo>
                    <a:pt x="1684" y="425"/>
                  </a:lnTo>
                  <a:lnTo>
                    <a:pt x="1678" y="427"/>
                  </a:lnTo>
                  <a:lnTo>
                    <a:pt x="1672" y="429"/>
                  </a:lnTo>
                  <a:lnTo>
                    <a:pt x="1669" y="434"/>
                  </a:lnTo>
                  <a:lnTo>
                    <a:pt x="1666" y="436"/>
                  </a:lnTo>
                  <a:lnTo>
                    <a:pt x="1655" y="443"/>
                  </a:lnTo>
                  <a:lnTo>
                    <a:pt x="1650" y="444"/>
                  </a:lnTo>
                  <a:lnTo>
                    <a:pt x="1644" y="446"/>
                  </a:lnTo>
                  <a:lnTo>
                    <a:pt x="1640" y="450"/>
                  </a:lnTo>
                  <a:lnTo>
                    <a:pt x="1637" y="452"/>
                  </a:lnTo>
                  <a:lnTo>
                    <a:pt x="1632" y="453"/>
                  </a:lnTo>
                  <a:lnTo>
                    <a:pt x="1629" y="452"/>
                  </a:lnTo>
                  <a:lnTo>
                    <a:pt x="1626" y="451"/>
                  </a:lnTo>
                  <a:lnTo>
                    <a:pt x="1623" y="452"/>
                  </a:lnTo>
                  <a:lnTo>
                    <a:pt x="1616" y="454"/>
                  </a:lnTo>
                  <a:lnTo>
                    <a:pt x="1615" y="459"/>
                  </a:lnTo>
                  <a:lnTo>
                    <a:pt x="1618" y="460"/>
                  </a:lnTo>
                  <a:lnTo>
                    <a:pt x="1619" y="470"/>
                  </a:lnTo>
                  <a:lnTo>
                    <a:pt x="1623" y="474"/>
                  </a:lnTo>
                  <a:lnTo>
                    <a:pt x="1623" y="478"/>
                  </a:lnTo>
                  <a:lnTo>
                    <a:pt x="1620" y="482"/>
                  </a:lnTo>
                  <a:lnTo>
                    <a:pt x="1615" y="483"/>
                  </a:lnTo>
                  <a:lnTo>
                    <a:pt x="1612" y="485"/>
                  </a:lnTo>
                  <a:lnTo>
                    <a:pt x="1611" y="489"/>
                  </a:lnTo>
                  <a:lnTo>
                    <a:pt x="1608" y="490"/>
                  </a:lnTo>
                  <a:lnTo>
                    <a:pt x="1605" y="490"/>
                  </a:lnTo>
                  <a:lnTo>
                    <a:pt x="1600" y="488"/>
                  </a:lnTo>
                  <a:lnTo>
                    <a:pt x="1598" y="485"/>
                  </a:lnTo>
                  <a:lnTo>
                    <a:pt x="1596" y="482"/>
                  </a:lnTo>
                  <a:lnTo>
                    <a:pt x="1592" y="480"/>
                  </a:lnTo>
                  <a:lnTo>
                    <a:pt x="1589" y="480"/>
                  </a:lnTo>
                  <a:lnTo>
                    <a:pt x="1586" y="482"/>
                  </a:lnTo>
                  <a:lnTo>
                    <a:pt x="1575" y="482"/>
                  </a:lnTo>
                  <a:lnTo>
                    <a:pt x="1571" y="483"/>
                  </a:lnTo>
                  <a:lnTo>
                    <a:pt x="1565" y="485"/>
                  </a:lnTo>
                  <a:lnTo>
                    <a:pt x="1559" y="486"/>
                  </a:lnTo>
                  <a:lnTo>
                    <a:pt x="1554" y="483"/>
                  </a:lnTo>
                  <a:lnTo>
                    <a:pt x="1550" y="480"/>
                  </a:lnTo>
                  <a:lnTo>
                    <a:pt x="1543" y="478"/>
                  </a:lnTo>
                  <a:lnTo>
                    <a:pt x="1541" y="475"/>
                  </a:lnTo>
                  <a:lnTo>
                    <a:pt x="1535" y="473"/>
                  </a:lnTo>
                  <a:lnTo>
                    <a:pt x="1535" y="476"/>
                  </a:lnTo>
                  <a:lnTo>
                    <a:pt x="1530" y="480"/>
                  </a:lnTo>
                  <a:lnTo>
                    <a:pt x="1526" y="485"/>
                  </a:lnTo>
                  <a:lnTo>
                    <a:pt x="1522" y="490"/>
                  </a:lnTo>
                  <a:lnTo>
                    <a:pt x="1519" y="494"/>
                  </a:lnTo>
                  <a:lnTo>
                    <a:pt x="1514" y="496"/>
                  </a:lnTo>
                  <a:lnTo>
                    <a:pt x="1509" y="492"/>
                  </a:lnTo>
                  <a:lnTo>
                    <a:pt x="1509" y="488"/>
                  </a:lnTo>
                  <a:lnTo>
                    <a:pt x="1507" y="485"/>
                  </a:lnTo>
                  <a:lnTo>
                    <a:pt x="1506" y="488"/>
                  </a:lnTo>
                  <a:lnTo>
                    <a:pt x="1499" y="491"/>
                  </a:lnTo>
                  <a:lnTo>
                    <a:pt x="1494" y="491"/>
                  </a:lnTo>
                  <a:lnTo>
                    <a:pt x="1490" y="496"/>
                  </a:lnTo>
                  <a:lnTo>
                    <a:pt x="1488" y="501"/>
                  </a:lnTo>
                  <a:lnTo>
                    <a:pt x="1486" y="506"/>
                  </a:lnTo>
                  <a:lnTo>
                    <a:pt x="1483" y="506"/>
                  </a:lnTo>
                  <a:lnTo>
                    <a:pt x="1479" y="502"/>
                  </a:lnTo>
                  <a:lnTo>
                    <a:pt x="1477" y="499"/>
                  </a:lnTo>
                  <a:lnTo>
                    <a:pt x="1477" y="494"/>
                  </a:lnTo>
                  <a:lnTo>
                    <a:pt x="1479" y="488"/>
                  </a:lnTo>
                  <a:lnTo>
                    <a:pt x="1480" y="483"/>
                  </a:lnTo>
                  <a:lnTo>
                    <a:pt x="1485" y="477"/>
                  </a:lnTo>
                  <a:lnTo>
                    <a:pt x="1488" y="470"/>
                  </a:lnTo>
                  <a:lnTo>
                    <a:pt x="1493" y="465"/>
                  </a:lnTo>
                  <a:lnTo>
                    <a:pt x="1499" y="459"/>
                  </a:lnTo>
                  <a:lnTo>
                    <a:pt x="1504" y="452"/>
                  </a:lnTo>
                  <a:lnTo>
                    <a:pt x="1510" y="448"/>
                  </a:lnTo>
                  <a:lnTo>
                    <a:pt x="1510" y="443"/>
                  </a:lnTo>
                  <a:lnTo>
                    <a:pt x="1510" y="438"/>
                  </a:lnTo>
                  <a:lnTo>
                    <a:pt x="1507" y="437"/>
                  </a:lnTo>
                  <a:lnTo>
                    <a:pt x="1503" y="441"/>
                  </a:lnTo>
                  <a:lnTo>
                    <a:pt x="1500" y="444"/>
                  </a:lnTo>
                  <a:lnTo>
                    <a:pt x="1494" y="446"/>
                  </a:lnTo>
                  <a:lnTo>
                    <a:pt x="1488" y="446"/>
                  </a:lnTo>
                  <a:lnTo>
                    <a:pt x="1484" y="444"/>
                  </a:lnTo>
                  <a:lnTo>
                    <a:pt x="1479" y="441"/>
                  </a:lnTo>
                  <a:lnTo>
                    <a:pt x="1476" y="440"/>
                  </a:lnTo>
                  <a:lnTo>
                    <a:pt x="1471" y="446"/>
                  </a:lnTo>
                  <a:lnTo>
                    <a:pt x="1474" y="449"/>
                  </a:lnTo>
                  <a:lnTo>
                    <a:pt x="1476" y="451"/>
                  </a:lnTo>
                  <a:lnTo>
                    <a:pt x="1477" y="454"/>
                  </a:lnTo>
                  <a:lnTo>
                    <a:pt x="1475" y="454"/>
                  </a:lnTo>
                  <a:lnTo>
                    <a:pt x="1470" y="457"/>
                  </a:lnTo>
                  <a:lnTo>
                    <a:pt x="1472" y="460"/>
                  </a:lnTo>
                  <a:lnTo>
                    <a:pt x="1471" y="462"/>
                  </a:lnTo>
                  <a:lnTo>
                    <a:pt x="1468" y="461"/>
                  </a:lnTo>
                  <a:lnTo>
                    <a:pt x="1466" y="459"/>
                  </a:lnTo>
                  <a:lnTo>
                    <a:pt x="1463" y="456"/>
                  </a:lnTo>
                  <a:lnTo>
                    <a:pt x="1460" y="454"/>
                  </a:lnTo>
                  <a:lnTo>
                    <a:pt x="1458" y="458"/>
                  </a:lnTo>
                  <a:lnTo>
                    <a:pt x="1460" y="461"/>
                  </a:lnTo>
                  <a:lnTo>
                    <a:pt x="1460" y="466"/>
                  </a:lnTo>
                  <a:lnTo>
                    <a:pt x="1461" y="470"/>
                  </a:lnTo>
                  <a:lnTo>
                    <a:pt x="1462" y="475"/>
                  </a:lnTo>
                  <a:lnTo>
                    <a:pt x="1462" y="478"/>
                  </a:lnTo>
                  <a:lnTo>
                    <a:pt x="1462" y="482"/>
                  </a:lnTo>
                  <a:lnTo>
                    <a:pt x="1461" y="484"/>
                  </a:lnTo>
                  <a:lnTo>
                    <a:pt x="1456" y="483"/>
                  </a:lnTo>
                  <a:lnTo>
                    <a:pt x="1454" y="482"/>
                  </a:lnTo>
                  <a:lnTo>
                    <a:pt x="1452" y="478"/>
                  </a:lnTo>
                  <a:lnTo>
                    <a:pt x="1448" y="475"/>
                  </a:lnTo>
                  <a:lnTo>
                    <a:pt x="1446" y="475"/>
                  </a:lnTo>
                  <a:lnTo>
                    <a:pt x="1444" y="476"/>
                  </a:lnTo>
                  <a:lnTo>
                    <a:pt x="1445" y="481"/>
                  </a:lnTo>
                  <a:lnTo>
                    <a:pt x="1444" y="486"/>
                  </a:lnTo>
                  <a:lnTo>
                    <a:pt x="1438" y="485"/>
                  </a:lnTo>
                  <a:lnTo>
                    <a:pt x="1434" y="483"/>
                  </a:lnTo>
                  <a:lnTo>
                    <a:pt x="1432" y="480"/>
                  </a:lnTo>
                  <a:lnTo>
                    <a:pt x="1431" y="476"/>
                  </a:lnTo>
                  <a:lnTo>
                    <a:pt x="1428" y="476"/>
                  </a:lnTo>
                  <a:lnTo>
                    <a:pt x="1427" y="478"/>
                  </a:lnTo>
                  <a:lnTo>
                    <a:pt x="1428" y="483"/>
                  </a:lnTo>
                  <a:lnTo>
                    <a:pt x="1430" y="486"/>
                  </a:lnTo>
                  <a:lnTo>
                    <a:pt x="1428" y="490"/>
                  </a:lnTo>
                  <a:lnTo>
                    <a:pt x="1424" y="490"/>
                  </a:lnTo>
                  <a:lnTo>
                    <a:pt x="1420" y="490"/>
                  </a:lnTo>
                  <a:lnTo>
                    <a:pt x="1416" y="489"/>
                  </a:lnTo>
                  <a:lnTo>
                    <a:pt x="1413" y="485"/>
                  </a:lnTo>
                  <a:lnTo>
                    <a:pt x="1413" y="481"/>
                  </a:lnTo>
                  <a:lnTo>
                    <a:pt x="1413" y="477"/>
                  </a:lnTo>
                  <a:lnTo>
                    <a:pt x="1412" y="474"/>
                  </a:lnTo>
                  <a:lnTo>
                    <a:pt x="1407" y="473"/>
                  </a:lnTo>
                  <a:lnTo>
                    <a:pt x="1400" y="474"/>
                  </a:lnTo>
                  <a:lnTo>
                    <a:pt x="1398" y="478"/>
                  </a:lnTo>
                  <a:lnTo>
                    <a:pt x="1395" y="483"/>
                  </a:lnTo>
                  <a:lnTo>
                    <a:pt x="1390" y="484"/>
                  </a:lnTo>
                  <a:lnTo>
                    <a:pt x="1386" y="481"/>
                  </a:lnTo>
                  <a:lnTo>
                    <a:pt x="1387" y="476"/>
                  </a:lnTo>
                  <a:lnTo>
                    <a:pt x="1386" y="472"/>
                  </a:lnTo>
                  <a:lnTo>
                    <a:pt x="1386" y="467"/>
                  </a:lnTo>
                  <a:lnTo>
                    <a:pt x="1388" y="466"/>
                  </a:lnTo>
                  <a:lnTo>
                    <a:pt x="1396" y="465"/>
                  </a:lnTo>
                  <a:lnTo>
                    <a:pt x="1398" y="460"/>
                  </a:lnTo>
                  <a:lnTo>
                    <a:pt x="1394" y="457"/>
                  </a:lnTo>
                  <a:lnTo>
                    <a:pt x="1390" y="453"/>
                  </a:lnTo>
                  <a:lnTo>
                    <a:pt x="1386" y="451"/>
                  </a:lnTo>
                  <a:lnTo>
                    <a:pt x="1381" y="449"/>
                  </a:lnTo>
                  <a:lnTo>
                    <a:pt x="1378" y="446"/>
                  </a:lnTo>
                  <a:lnTo>
                    <a:pt x="1375" y="449"/>
                  </a:lnTo>
                  <a:lnTo>
                    <a:pt x="1375" y="452"/>
                  </a:lnTo>
                  <a:lnTo>
                    <a:pt x="1378" y="457"/>
                  </a:lnTo>
                  <a:lnTo>
                    <a:pt x="1381" y="460"/>
                  </a:lnTo>
                  <a:lnTo>
                    <a:pt x="1382" y="464"/>
                  </a:lnTo>
                  <a:lnTo>
                    <a:pt x="1381" y="465"/>
                  </a:lnTo>
                  <a:lnTo>
                    <a:pt x="1378" y="465"/>
                  </a:lnTo>
                  <a:lnTo>
                    <a:pt x="1373" y="462"/>
                  </a:lnTo>
                  <a:lnTo>
                    <a:pt x="1368" y="462"/>
                  </a:lnTo>
                  <a:lnTo>
                    <a:pt x="1365" y="461"/>
                  </a:lnTo>
                  <a:lnTo>
                    <a:pt x="1360" y="462"/>
                  </a:lnTo>
                  <a:lnTo>
                    <a:pt x="1355" y="472"/>
                  </a:lnTo>
                  <a:lnTo>
                    <a:pt x="1350" y="475"/>
                  </a:lnTo>
                  <a:lnTo>
                    <a:pt x="1346" y="475"/>
                  </a:lnTo>
                  <a:lnTo>
                    <a:pt x="1346" y="473"/>
                  </a:lnTo>
                  <a:lnTo>
                    <a:pt x="1344" y="469"/>
                  </a:lnTo>
                  <a:lnTo>
                    <a:pt x="1343" y="461"/>
                  </a:lnTo>
                  <a:lnTo>
                    <a:pt x="1342" y="457"/>
                  </a:lnTo>
                  <a:lnTo>
                    <a:pt x="1346" y="451"/>
                  </a:lnTo>
                  <a:lnTo>
                    <a:pt x="1349" y="448"/>
                  </a:lnTo>
                  <a:lnTo>
                    <a:pt x="1357" y="448"/>
                  </a:lnTo>
                  <a:lnTo>
                    <a:pt x="1362" y="445"/>
                  </a:lnTo>
                  <a:lnTo>
                    <a:pt x="1366" y="442"/>
                  </a:lnTo>
                  <a:lnTo>
                    <a:pt x="1365" y="437"/>
                  </a:lnTo>
                  <a:lnTo>
                    <a:pt x="1364" y="430"/>
                  </a:lnTo>
                  <a:lnTo>
                    <a:pt x="1359" y="429"/>
                  </a:lnTo>
                  <a:lnTo>
                    <a:pt x="1355" y="428"/>
                  </a:lnTo>
                  <a:lnTo>
                    <a:pt x="1350" y="428"/>
                  </a:lnTo>
                  <a:lnTo>
                    <a:pt x="1347" y="430"/>
                  </a:lnTo>
                  <a:lnTo>
                    <a:pt x="1343" y="436"/>
                  </a:lnTo>
                  <a:lnTo>
                    <a:pt x="1343" y="443"/>
                  </a:lnTo>
                  <a:lnTo>
                    <a:pt x="1342" y="450"/>
                  </a:lnTo>
                  <a:lnTo>
                    <a:pt x="1336" y="454"/>
                  </a:lnTo>
                  <a:lnTo>
                    <a:pt x="1332" y="456"/>
                  </a:lnTo>
                  <a:lnTo>
                    <a:pt x="1327" y="453"/>
                  </a:lnTo>
                  <a:lnTo>
                    <a:pt x="1325" y="450"/>
                  </a:lnTo>
                  <a:lnTo>
                    <a:pt x="1324" y="443"/>
                  </a:lnTo>
                  <a:lnTo>
                    <a:pt x="1326" y="437"/>
                  </a:lnTo>
                  <a:lnTo>
                    <a:pt x="1330" y="430"/>
                  </a:lnTo>
                  <a:lnTo>
                    <a:pt x="1332" y="425"/>
                  </a:lnTo>
                  <a:lnTo>
                    <a:pt x="1335" y="421"/>
                  </a:lnTo>
                  <a:lnTo>
                    <a:pt x="1340" y="418"/>
                  </a:lnTo>
                  <a:lnTo>
                    <a:pt x="1344" y="417"/>
                  </a:lnTo>
                  <a:lnTo>
                    <a:pt x="1356" y="420"/>
                  </a:lnTo>
                  <a:lnTo>
                    <a:pt x="1360" y="422"/>
                  </a:lnTo>
                  <a:lnTo>
                    <a:pt x="1365" y="422"/>
                  </a:lnTo>
                  <a:lnTo>
                    <a:pt x="1368" y="421"/>
                  </a:lnTo>
                  <a:lnTo>
                    <a:pt x="1366" y="414"/>
                  </a:lnTo>
                  <a:lnTo>
                    <a:pt x="1368" y="412"/>
                  </a:lnTo>
                  <a:lnTo>
                    <a:pt x="1371" y="408"/>
                  </a:lnTo>
                  <a:lnTo>
                    <a:pt x="1371" y="403"/>
                  </a:lnTo>
                  <a:lnTo>
                    <a:pt x="1368" y="402"/>
                  </a:lnTo>
                  <a:lnTo>
                    <a:pt x="1365" y="398"/>
                  </a:lnTo>
                  <a:lnTo>
                    <a:pt x="1360" y="400"/>
                  </a:lnTo>
                  <a:lnTo>
                    <a:pt x="1356" y="398"/>
                  </a:lnTo>
                  <a:lnTo>
                    <a:pt x="1356" y="390"/>
                  </a:lnTo>
                  <a:lnTo>
                    <a:pt x="1358" y="385"/>
                  </a:lnTo>
                  <a:lnTo>
                    <a:pt x="1365" y="377"/>
                  </a:lnTo>
                  <a:lnTo>
                    <a:pt x="1363" y="371"/>
                  </a:lnTo>
                  <a:lnTo>
                    <a:pt x="1358" y="368"/>
                  </a:lnTo>
                  <a:lnTo>
                    <a:pt x="1354" y="366"/>
                  </a:lnTo>
                  <a:lnTo>
                    <a:pt x="1349" y="368"/>
                  </a:lnTo>
                  <a:lnTo>
                    <a:pt x="1344" y="370"/>
                  </a:lnTo>
                  <a:lnTo>
                    <a:pt x="1344" y="372"/>
                  </a:lnTo>
                  <a:lnTo>
                    <a:pt x="1340" y="387"/>
                  </a:lnTo>
                  <a:lnTo>
                    <a:pt x="1341" y="393"/>
                  </a:lnTo>
                  <a:lnTo>
                    <a:pt x="1340" y="397"/>
                  </a:lnTo>
                  <a:lnTo>
                    <a:pt x="1333" y="397"/>
                  </a:lnTo>
                  <a:lnTo>
                    <a:pt x="1328" y="394"/>
                  </a:lnTo>
                  <a:lnTo>
                    <a:pt x="1326" y="389"/>
                  </a:lnTo>
                  <a:lnTo>
                    <a:pt x="1322" y="387"/>
                  </a:lnTo>
                  <a:lnTo>
                    <a:pt x="1317" y="387"/>
                  </a:lnTo>
                  <a:lnTo>
                    <a:pt x="1312" y="390"/>
                  </a:lnTo>
                  <a:lnTo>
                    <a:pt x="1312" y="394"/>
                  </a:lnTo>
                  <a:lnTo>
                    <a:pt x="1317" y="397"/>
                  </a:lnTo>
                  <a:lnTo>
                    <a:pt x="1320" y="402"/>
                  </a:lnTo>
                  <a:lnTo>
                    <a:pt x="1319" y="405"/>
                  </a:lnTo>
                  <a:lnTo>
                    <a:pt x="1316" y="406"/>
                  </a:lnTo>
                  <a:lnTo>
                    <a:pt x="1312" y="404"/>
                  </a:lnTo>
                  <a:lnTo>
                    <a:pt x="1309" y="403"/>
                  </a:lnTo>
                  <a:lnTo>
                    <a:pt x="1308" y="409"/>
                  </a:lnTo>
                  <a:lnTo>
                    <a:pt x="1309" y="412"/>
                  </a:lnTo>
                  <a:lnTo>
                    <a:pt x="1314" y="414"/>
                  </a:lnTo>
                  <a:lnTo>
                    <a:pt x="1316" y="418"/>
                  </a:lnTo>
                  <a:lnTo>
                    <a:pt x="1315" y="421"/>
                  </a:lnTo>
                  <a:lnTo>
                    <a:pt x="1311" y="425"/>
                  </a:lnTo>
                  <a:lnTo>
                    <a:pt x="1308" y="426"/>
                  </a:lnTo>
                  <a:lnTo>
                    <a:pt x="1304" y="426"/>
                  </a:lnTo>
                  <a:lnTo>
                    <a:pt x="1301" y="425"/>
                  </a:lnTo>
                  <a:lnTo>
                    <a:pt x="1299" y="421"/>
                  </a:lnTo>
                  <a:lnTo>
                    <a:pt x="1294" y="420"/>
                  </a:lnTo>
                  <a:lnTo>
                    <a:pt x="1287" y="420"/>
                  </a:lnTo>
                  <a:lnTo>
                    <a:pt x="1286" y="416"/>
                  </a:lnTo>
                  <a:lnTo>
                    <a:pt x="1277" y="411"/>
                  </a:lnTo>
                  <a:lnTo>
                    <a:pt x="1274" y="408"/>
                  </a:lnTo>
                  <a:lnTo>
                    <a:pt x="1270" y="405"/>
                  </a:lnTo>
                  <a:lnTo>
                    <a:pt x="1268" y="405"/>
                  </a:lnTo>
                  <a:lnTo>
                    <a:pt x="1264" y="409"/>
                  </a:lnTo>
                  <a:lnTo>
                    <a:pt x="1261" y="412"/>
                  </a:lnTo>
                  <a:lnTo>
                    <a:pt x="1260" y="417"/>
                  </a:lnTo>
                  <a:lnTo>
                    <a:pt x="1260" y="420"/>
                  </a:lnTo>
                  <a:lnTo>
                    <a:pt x="1256" y="421"/>
                  </a:lnTo>
                  <a:lnTo>
                    <a:pt x="1253" y="420"/>
                  </a:lnTo>
                  <a:lnTo>
                    <a:pt x="1250" y="420"/>
                  </a:lnTo>
                  <a:lnTo>
                    <a:pt x="1247" y="424"/>
                  </a:lnTo>
                  <a:lnTo>
                    <a:pt x="1248" y="429"/>
                  </a:lnTo>
                  <a:lnTo>
                    <a:pt x="1250" y="434"/>
                  </a:lnTo>
                  <a:lnTo>
                    <a:pt x="1245" y="436"/>
                  </a:lnTo>
                  <a:lnTo>
                    <a:pt x="1237" y="434"/>
                  </a:lnTo>
                  <a:lnTo>
                    <a:pt x="1232" y="434"/>
                  </a:lnTo>
                  <a:lnTo>
                    <a:pt x="1224" y="437"/>
                  </a:lnTo>
                  <a:lnTo>
                    <a:pt x="1222" y="441"/>
                  </a:lnTo>
                  <a:lnTo>
                    <a:pt x="1222" y="442"/>
                  </a:lnTo>
                  <a:lnTo>
                    <a:pt x="1226" y="444"/>
                  </a:lnTo>
                  <a:lnTo>
                    <a:pt x="1228" y="445"/>
                  </a:lnTo>
                  <a:lnTo>
                    <a:pt x="1246" y="450"/>
                  </a:lnTo>
                  <a:lnTo>
                    <a:pt x="1252" y="452"/>
                  </a:lnTo>
                  <a:lnTo>
                    <a:pt x="1258" y="454"/>
                  </a:lnTo>
                  <a:lnTo>
                    <a:pt x="1263" y="458"/>
                  </a:lnTo>
                  <a:lnTo>
                    <a:pt x="1268" y="460"/>
                  </a:lnTo>
                  <a:lnTo>
                    <a:pt x="1271" y="464"/>
                  </a:lnTo>
                  <a:lnTo>
                    <a:pt x="1271" y="469"/>
                  </a:lnTo>
                  <a:lnTo>
                    <a:pt x="1271" y="474"/>
                  </a:lnTo>
                  <a:lnTo>
                    <a:pt x="1269" y="480"/>
                  </a:lnTo>
                  <a:lnTo>
                    <a:pt x="1268" y="490"/>
                  </a:lnTo>
                  <a:lnTo>
                    <a:pt x="1272" y="496"/>
                  </a:lnTo>
                  <a:lnTo>
                    <a:pt x="1277" y="500"/>
                  </a:lnTo>
                  <a:lnTo>
                    <a:pt x="1283" y="504"/>
                  </a:lnTo>
                  <a:lnTo>
                    <a:pt x="1287" y="507"/>
                  </a:lnTo>
                  <a:lnTo>
                    <a:pt x="1291" y="510"/>
                  </a:lnTo>
                  <a:lnTo>
                    <a:pt x="1291" y="515"/>
                  </a:lnTo>
                  <a:lnTo>
                    <a:pt x="1290" y="518"/>
                  </a:lnTo>
                  <a:lnTo>
                    <a:pt x="1287" y="523"/>
                  </a:lnTo>
                  <a:lnTo>
                    <a:pt x="1285" y="526"/>
                  </a:lnTo>
                  <a:lnTo>
                    <a:pt x="1283" y="530"/>
                  </a:lnTo>
                  <a:lnTo>
                    <a:pt x="1282" y="532"/>
                  </a:lnTo>
                  <a:lnTo>
                    <a:pt x="1282" y="536"/>
                  </a:lnTo>
                  <a:lnTo>
                    <a:pt x="1284" y="545"/>
                  </a:lnTo>
                  <a:lnTo>
                    <a:pt x="1288" y="549"/>
                  </a:lnTo>
                  <a:lnTo>
                    <a:pt x="1296" y="549"/>
                  </a:lnTo>
                  <a:lnTo>
                    <a:pt x="1303" y="550"/>
                  </a:lnTo>
                  <a:lnTo>
                    <a:pt x="1309" y="553"/>
                  </a:lnTo>
                  <a:lnTo>
                    <a:pt x="1312" y="555"/>
                  </a:lnTo>
                  <a:lnTo>
                    <a:pt x="1315" y="560"/>
                  </a:lnTo>
                  <a:lnTo>
                    <a:pt x="1316" y="563"/>
                  </a:lnTo>
                  <a:lnTo>
                    <a:pt x="1312" y="571"/>
                  </a:lnTo>
                  <a:lnTo>
                    <a:pt x="1310" y="577"/>
                  </a:lnTo>
                  <a:lnTo>
                    <a:pt x="1310" y="584"/>
                  </a:lnTo>
                  <a:lnTo>
                    <a:pt x="1312" y="592"/>
                  </a:lnTo>
                  <a:lnTo>
                    <a:pt x="1317" y="597"/>
                  </a:lnTo>
                  <a:lnTo>
                    <a:pt x="1319" y="602"/>
                  </a:lnTo>
                  <a:lnTo>
                    <a:pt x="1315" y="612"/>
                  </a:lnTo>
                  <a:lnTo>
                    <a:pt x="1314" y="614"/>
                  </a:lnTo>
                  <a:lnTo>
                    <a:pt x="1312" y="618"/>
                  </a:lnTo>
                  <a:lnTo>
                    <a:pt x="1312" y="620"/>
                  </a:lnTo>
                  <a:lnTo>
                    <a:pt x="1314" y="622"/>
                  </a:lnTo>
                  <a:lnTo>
                    <a:pt x="1314" y="625"/>
                  </a:lnTo>
                  <a:lnTo>
                    <a:pt x="1315" y="626"/>
                  </a:lnTo>
                  <a:lnTo>
                    <a:pt x="1318" y="627"/>
                  </a:lnTo>
                  <a:lnTo>
                    <a:pt x="1324" y="626"/>
                  </a:lnTo>
                  <a:lnTo>
                    <a:pt x="1326" y="627"/>
                  </a:lnTo>
                  <a:lnTo>
                    <a:pt x="1336" y="626"/>
                  </a:lnTo>
                  <a:lnTo>
                    <a:pt x="1343" y="622"/>
                  </a:lnTo>
                  <a:lnTo>
                    <a:pt x="1348" y="622"/>
                  </a:lnTo>
                  <a:lnTo>
                    <a:pt x="1351" y="627"/>
                  </a:lnTo>
                  <a:lnTo>
                    <a:pt x="1352" y="635"/>
                  </a:lnTo>
                  <a:lnTo>
                    <a:pt x="1356" y="642"/>
                  </a:lnTo>
                  <a:lnTo>
                    <a:pt x="1359" y="646"/>
                  </a:lnTo>
                  <a:lnTo>
                    <a:pt x="1359" y="651"/>
                  </a:lnTo>
                  <a:lnTo>
                    <a:pt x="1358" y="656"/>
                  </a:lnTo>
                  <a:lnTo>
                    <a:pt x="1355" y="660"/>
                  </a:lnTo>
                  <a:lnTo>
                    <a:pt x="1354" y="666"/>
                  </a:lnTo>
                  <a:lnTo>
                    <a:pt x="1355" y="670"/>
                  </a:lnTo>
                  <a:lnTo>
                    <a:pt x="1364" y="676"/>
                  </a:lnTo>
                  <a:lnTo>
                    <a:pt x="1368" y="680"/>
                  </a:lnTo>
                  <a:lnTo>
                    <a:pt x="1370" y="685"/>
                  </a:lnTo>
                  <a:lnTo>
                    <a:pt x="1373" y="691"/>
                  </a:lnTo>
                  <a:lnTo>
                    <a:pt x="1378" y="697"/>
                  </a:lnTo>
                  <a:lnTo>
                    <a:pt x="1376" y="702"/>
                  </a:lnTo>
                  <a:lnTo>
                    <a:pt x="1372" y="707"/>
                  </a:lnTo>
                  <a:lnTo>
                    <a:pt x="1366" y="709"/>
                  </a:lnTo>
                  <a:lnTo>
                    <a:pt x="1362" y="712"/>
                  </a:lnTo>
                  <a:lnTo>
                    <a:pt x="1355" y="714"/>
                  </a:lnTo>
                  <a:lnTo>
                    <a:pt x="1349" y="716"/>
                  </a:lnTo>
                  <a:lnTo>
                    <a:pt x="1348" y="721"/>
                  </a:lnTo>
                  <a:lnTo>
                    <a:pt x="1342" y="729"/>
                  </a:lnTo>
                  <a:lnTo>
                    <a:pt x="1336" y="733"/>
                  </a:lnTo>
                  <a:lnTo>
                    <a:pt x="1331" y="736"/>
                  </a:lnTo>
                  <a:lnTo>
                    <a:pt x="1327" y="738"/>
                  </a:lnTo>
                  <a:lnTo>
                    <a:pt x="1320" y="740"/>
                  </a:lnTo>
                  <a:lnTo>
                    <a:pt x="1317" y="738"/>
                  </a:lnTo>
                  <a:lnTo>
                    <a:pt x="1315" y="733"/>
                  </a:lnTo>
                  <a:lnTo>
                    <a:pt x="1312" y="729"/>
                  </a:lnTo>
                  <a:lnTo>
                    <a:pt x="1310" y="725"/>
                  </a:lnTo>
                  <a:lnTo>
                    <a:pt x="1307" y="728"/>
                  </a:lnTo>
                  <a:lnTo>
                    <a:pt x="1302" y="731"/>
                  </a:lnTo>
                  <a:lnTo>
                    <a:pt x="1301" y="733"/>
                  </a:lnTo>
                  <a:lnTo>
                    <a:pt x="1295" y="732"/>
                  </a:lnTo>
                  <a:lnTo>
                    <a:pt x="1292" y="730"/>
                  </a:lnTo>
                  <a:lnTo>
                    <a:pt x="1288" y="728"/>
                  </a:lnTo>
                  <a:lnTo>
                    <a:pt x="1284" y="728"/>
                  </a:lnTo>
                  <a:lnTo>
                    <a:pt x="1279" y="726"/>
                  </a:lnTo>
                  <a:lnTo>
                    <a:pt x="1276" y="723"/>
                  </a:lnTo>
                  <a:lnTo>
                    <a:pt x="1274" y="718"/>
                  </a:lnTo>
                  <a:lnTo>
                    <a:pt x="1269" y="715"/>
                  </a:lnTo>
                  <a:lnTo>
                    <a:pt x="1266" y="712"/>
                  </a:lnTo>
                  <a:lnTo>
                    <a:pt x="1263" y="708"/>
                  </a:lnTo>
                  <a:lnTo>
                    <a:pt x="1259" y="701"/>
                  </a:lnTo>
                  <a:lnTo>
                    <a:pt x="1255" y="689"/>
                  </a:lnTo>
                  <a:lnTo>
                    <a:pt x="1252" y="685"/>
                  </a:lnTo>
                  <a:lnTo>
                    <a:pt x="1247" y="685"/>
                  </a:lnTo>
                  <a:lnTo>
                    <a:pt x="1243" y="686"/>
                  </a:lnTo>
                  <a:lnTo>
                    <a:pt x="1239" y="686"/>
                  </a:lnTo>
                  <a:lnTo>
                    <a:pt x="1236" y="689"/>
                  </a:lnTo>
                  <a:lnTo>
                    <a:pt x="1234" y="692"/>
                  </a:lnTo>
                  <a:lnTo>
                    <a:pt x="1231" y="697"/>
                  </a:lnTo>
                  <a:lnTo>
                    <a:pt x="1230" y="700"/>
                  </a:lnTo>
                  <a:lnTo>
                    <a:pt x="1228" y="704"/>
                  </a:lnTo>
                  <a:lnTo>
                    <a:pt x="1227" y="707"/>
                  </a:lnTo>
                  <a:lnTo>
                    <a:pt x="1220" y="716"/>
                  </a:lnTo>
                  <a:lnTo>
                    <a:pt x="1218" y="718"/>
                  </a:lnTo>
                  <a:lnTo>
                    <a:pt x="1216" y="720"/>
                  </a:lnTo>
                  <a:lnTo>
                    <a:pt x="1213" y="720"/>
                  </a:lnTo>
                  <a:lnTo>
                    <a:pt x="1205" y="716"/>
                  </a:lnTo>
                  <a:lnTo>
                    <a:pt x="1198" y="713"/>
                  </a:lnTo>
                  <a:lnTo>
                    <a:pt x="1192" y="710"/>
                  </a:lnTo>
                  <a:lnTo>
                    <a:pt x="1189" y="708"/>
                  </a:lnTo>
                  <a:lnTo>
                    <a:pt x="1187" y="705"/>
                  </a:lnTo>
                  <a:lnTo>
                    <a:pt x="1187" y="702"/>
                  </a:lnTo>
                  <a:lnTo>
                    <a:pt x="1192" y="700"/>
                  </a:lnTo>
                  <a:lnTo>
                    <a:pt x="1196" y="699"/>
                  </a:lnTo>
                  <a:lnTo>
                    <a:pt x="1199" y="697"/>
                  </a:lnTo>
                  <a:lnTo>
                    <a:pt x="1202" y="692"/>
                  </a:lnTo>
                  <a:lnTo>
                    <a:pt x="1199" y="689"/>
                  </a:lnTo>
                  <a:lnTo>
                    <a:pt x="1196" y="685"/>
                  </a:lnTo>
                  <a:lnTo>
                    <a:pt x="1192" y="683"/>
                  </a:lnTo>
                  <a:lnTo>
                    <a:pt x="1189" y="680"/>
                  </a:lnTo>
                  <a:lnTo>
                    <a:pt x="1183" y="677"/>
                  </a:lnTo>
                  <a:lnTo>
                    <a:pt x="1181" y="674"/>
                  </a:lnTo>
                  <a:lnTo>
                    <a:pt x="1179" y="670"/>
                  </a:lnTo>
                  <a:lnTo>
                    <a:pt x="1176" y="667"/>
                  </a:lnTo>
                  <a:lnTo>
                    <a:pt x="1174" y="665"/>
                  </a:lnTo>
                  <a:lnTo>
                    <a:pt x="1168" y="659"/>
                  </a:lnTo>
                  <a:lnTo>
                    <a:pt x="1167" y="653"/>
                  </a:lnTo>
                  <a:lnTo>
                    <a:pt x="1165" y="649"/>
                  </a:lnTo>
                  <a:lnTo>
                    <a:pt x="1165" y="645"/>
                  </a:lnTo>
                  <a:lnTo>
                    <a:pt x="1165" y="641"/>
                  </a:lnTo>
                  <a:lnTo>
                    <a:pt x="1167" y="637"/>
                  </a:lnTo>
                  <a:lnTo>
                    <a:pt x="1166" y="634"/>
                  </a:lnTo>
                  <a:lnTo>
                    <a:pt x="1165" y="630"/>
                  </a:lnTo>
                  <a:lnTo>
                    <a:pt x="1167" y="625"/>
                  </a:lnTo>
                  <a:lnTo>
                    <a:pt x="1171" y="620"/>
                  </a:lnTo>
                  <a:lnTo>
                    <a:pt x="1170" y="609"/>
                  </a:lnTo>
                  <a:lnTo>
                    <a:pt x="1167" y="605"/>
                  </a:lnTo>
                  <a:lnTo>
                    <a:pt x="1167" y="600"/>
                  </a:lnTo>
                  <a:lnTo>
                    <a:pt x="1171" y="593"/>
                  </a:lnTo>
                  <a:lnTo>
                    <a:pt x="1174" y="586"/>
                  </a:lnTo>
                  <a:lnTo>
                    <a:pt x="1168" y="576"/>
                  </a:lnTo>
                  <a:lnTo>
                    <a:pt x="1162" y="573"/>
                  </a:lnTo>
                  <a:lnTo>
                    <a:pt x="1157" y="572"/>
                  </a:lnTo>
                  <a:lnTo>
                    <a:pt x="1154" y="570"/>
                  </a:lnTo>
                  <a:lnTo>
                    <a:pt x="1150" y="564"/>
                  </a:lnTo>
                  <a:lnTo>
                    <a:pt x="1150" y="555"/>
                  </a:lnTo>
                  <a:lnTo>
                    <a:pt x="1152" y="550"/>
                  </a:lnTo>
                  <a:lnTo>
                    <a:pt x="1154" y="548"/>
                  </a:lnTo>
                  <a:lnTo>
                    <a:pt x="1158" y="546"/>
                  </a:lnTo>
                  <a:lnTo>
                    <a:pt x="1162" y="547"/>
                  </a:lnTo>
                  <a:lnTo>
                    <a:pt x="1166" y="548"/>
                  </a:lnTo>
                  <a:lnTo>
                    <a:pt x="1173" y="548"/>
                  </a:lnTo>
                  <a:lnTo>
                    <a:pt x="1176" y="547"/>
                  </a:lnTo>
                  <a:lnTo>
                    <a:pt x="1181" y="542"/>
                  </a:lnTo>
                  <a:lnTo>
                    <a:pt x="1187" y="538"/>
                  </a:lnTo>
                  <a:lnTo>
                    <a:pt x="1190" y="533"/>
                  </a:lnTo>
                  <a:lnTo>
                    <a:pt x="1191" y="529"/>
                  </a:lnTo>
                  <a:lnTo>
                    <a:pt x="1191" y="524"/>
                  </a:lnTo>
                  <a:lnTo>
                    <a:pt x="1191" y="520"/>
                  </a:lnTo>
                  <a:lnTo>
                    <a:pt x="1192" y="515"/>
                  </a:lnTo>
                  <a:lnTo>
                    <a:pt x="1192" y="512"/>
                  </a:lnTo>
                  <a:lnTo>
                    <a:pt x="1194" y="507"/>
                  </a:lnTo>
                  <a:lnTo>
                    <a:pt x="1197" y="504"/>
                  </a:lnTo>
                  <a:lnTo>
                    <a:pt x="1202" y="500"/>
                  </a:lnTo>
                  <a:lnTo>
                    <a:pt x="1204" y="494"/>
                  </a:lnTo>
                  <a:lnTo>
                    <a:pt x="1207" y="491"/>
                  </a:lnTo>
                  <a:lnTo>
                    <a:pt x="1213" y="489"/>
                  </a:lnTo>
                  <a:lnTo>
                    <a:pt x="1216" y="484"/>
                  </a:lnTo>
                  <a:lnTo>
                    <a:pt x="1215" y="478"/>
                  </a:lnTo>
                  <a:lnTo>
                    <a:pt x="1214" y="477"/>
                  </a:lnTo>
                  <a:lnTo>
                    <a:pt x="1212" y="476"/>
                  </a:lnTo>
                  <a:lnTo>
                    <a:pt x="1206" y="475"/>
                  </a:lnTo>
                  <a:lnTo>
                    <a:pt x="1204" y="474"/>
                  </a:lnTo>
                  <a:lnTo>
                    <a:pt x="1205" y="472"/>
                  </a:lnTo>
                  <a:lnTo>
                    <a:pt x="1203" y="462"/>
                  </a:lnTo>
                  <a:lnTo>
                    <a:pt x="1200" y="460"/>
                  </a:lnTo>
                  <a:lnTo>
                    <a:pt x="1196" y="454"/>
                  </a:lnTo>
                  <a:lnTo>
                    <a:pt x="1195" y="451"/>
                  </a:lnTo>
                  <a:lnTo>
                    <a:pt x="1194" y="448"/>
                  </a:lnTo>
                  <a:lnTo>
                    <a:pt x="1192" y="445"/>
                  </a:lnTo>
                  <a:lnTo>
                    <a:pt x="1190" y="444"/>
                  </a:lnTo>
                  <a:lnTo>
                    <a:pt x="1186" y="442"/>
                  </a:lnTo>
                  <a:lnTo>
                    <a:pt x="1184" y="438"/>
                  </a:lnTo>
                  <a:lnTo>
                    <a:pt x="1186" y="434"/>
                  </a:lnTo>
                  <a:lnTo>
                    <a:pt x="1187" y="429"/>
                  </a:lnTo>
                  <a:lnTo>
                    <a:pt x="1183" y="422"/>
                  </a:lnTo>
                  <a:lnTo>
                    <a:pt x="1181" y="419"/>
                  </a:lnTo>
                  <a:lnTo>
                    <a:pt x="1183" y="414"/>
                  </a:lnTo>
                  <a:lnTo>
                    <a:pt x="1186" y="411"/>
                  </a:lnTo>
                  <a:lnTo>
                    <a:pt x="1190" y="409"/>
                  </a:lnTo>
                  <a:lnTo>
                    <a:pt x="1196" y="404"/>
                  </a:lnTo>
                  <a:lnTo>
                    <a:pt x="1199" y="401"/>
                  </a:lnTo>
                  <a:lnTo>
                    <a:pt x="1205" y="396"/>
                  </a:lnTo>
                  <a:lnTo>
                    <a:pt x="1211" y="390"/>
                  </a:lnTo>
                  <a:lnTo>
                    <a:pt x="1215" y="386"/>
                  </a:lnTo>
                  <a:lnTo>
                    <a:pt x="1215" y="380"/>
                  </a:lnTo>
                  <a:lnTo>
                    <a:pt x="1216" y="376"/>
                  </a:lnTo>
                  <a:lnTo>
                    <a:pt x="1218" y="372"/>
                  </a:lnTo>
                  <a:lnTo>
                    <a:pt x="1224" y="370"/>
                  </a:lnTo>
                  <a:lnTo>
                    <a:pt x="1230" y="369"/>
                  </a:lnTo>
                  <a:lnTo>
                    <a:pt x="1235" y="368"/>
                  </a:lnTo>
                  <a:lnTo>
                    <a:pt x="1239" y="366"/>
                  </a:lnTo>
                  <a:lnTo>
                    <a:pt x="1244" y="364"/>
                  </a:lnTo>
                  <a:lnTo>
                    <a:pt x="1247" y="364"/>
                  </a:lnTo>
                  <a:lnTo>
                    <a:pt x="1252" y="364"/>
                  </a:lnTo>
                  <a:lnTo>
                    <a:pt x="1256" y="365"/>
                  </a:lnTo>
                  <a:lnTo>
                    <a:pt x="1260" y="366"/>
                  </a:lnTo>
                  <a:lnTo>
                    <a:pt x="1264" y="368"/>
                  </a:lnTo>
                  <a:lnTo>
                    <a:pt x="1269" y="368"/>
                  </a:lnTo>
                  <a:lnTo>
                    <a:pt x="1275" y="368"/>
                  </a:lnTo>
                  <a:lnTo>
                    <a:pt x="1278" y="366"/>
                  </a:lnTo>
                  <a:lnTo>
                    <a:pt x="1284" y="363"/>
                  </a:lnTo>
                  <a:lnTo>
                    <a:pt x="1292" y="358"/>
                  </a:lnTo>
                  <a:lnTo>
                    <a:pt x="1298" y="354"/>
                  </a:lnTo>
                  <a:lnTo>
                    <a:pt x="1302" y="352"/>
                  </a:lnTo>
                  <a:lnTo>
                    <a:pt x="1308" y="350"/>
                  </a:lnTo>
                  <a:lnTo>
                    <a:pt x="1316" y="349"/>
                  </a:lnTo>
                  <a:lnTo>
                    <a:pt x="1324" y="345"/>
                  </a:lnTo>
                  <a:lnTo>
                    <a:pt x="1325" y="338"/>
                  </a:lnTo>
                  <a:lnTo>
                    <a:pt x="1323" y="334"/>
                  </a:lnTo>
                  <a:lnTo>
                    <a:pt x="1320" y="330"/>
                  </a:lnTo>
                  <a:lnTo>
                    <a:pt x="1318" y="325"/>
                  </a:lnTo>
                  <a:lnTo>
                    <a:pt x="1316" y="323"/>
                  </a:lnTo>
                  <a:lnTo>
                    <a:pt x="1315" y="318"/>
                  </a:lnTo>
                  <a:lnTo>
                    <a:pt x="1316" y="315"/>
                  </a:lnTo>
                  <a:lnTo>
                    <a:pt x="1323" y="306"/>
                  </a:lnTo>
                  <a:lnTo>
                    <a:pt x="1323" y="301"/>
                  </a:lnTo>
                  <a:lnTo>
                    <a:pt x="1327" y="298"/>
                  </a:lnTo>
                  <a:lnTo>
                    <a:pt x="1331" y="297"/>
                  </a:lnTo>
                  <a:lnTo>
                    <a:pt x="1334" y="297"/>
                  </a:lnTo>
                  <a:lnTo>
                    <a:pt x="1339" y="294"/>
                  </a:lnTo>
                  <a:lnTo>
                    <a:pt x="1341" y="293"/>
                  </a:lnTo>
                  <a:lnTo>
                    <a:pt x="1341" y="288"/>
                  </a:lnTo>
                  <a:lnTo>
                    <a:pt x="1341" y="283"/>
                  </a:lnTo>
                  <a:lnTo>
                    <a:pt x="1342" y="281"/>
                  </a:lnTo>
                  <a:lnTo>
                    <a:pt x="1346" y="278"/>
                  </a:lnTo>
                  <a:lnTo>
                    <a:pt x="1348" y="277"/>
                  </a:lnTo>
                  <a:lnTo>
                    <a:pt x="1352" y="274"/>
                  </a:lnTo>
                  <a:lnTo>
                    <a:pt x="1358" y="269"/>
                  </a:lnTo>
                  <a:lnTo>
                    <a:pt x="1362" y="267"/>
                  </a:lnTo>
                  <a:lnTo>
                    <a:pt x="1364" y="264"/>
                  </a:lnTo>
                  <a:lnTo>
                    <a:pt x="1366" y="258"/>
                  </a:lnTo>
                  <a:lnTo>
                    <a:pt x="1367" y="256"/>
                  </a:lnTo>
                  <a:lnTo>
                    <a:pt x="1368" y="251"/>
                  </a:lnTo>
                  <a:lnTo>
                    <a:pt x="1368" y="250"/>
                  </a:lnTo>
                  <a:lnTo>
                    <a:pt x="1367" y="245"/>
                  </a:lnTo>
                  <a:lnTo>
                    <a:pt x="1366" y="240"/>
                  </a:lnTo>
                  <a:lnTo>
                    <a:pt x="1364" y="237"/>
                  </a:lnTo>
                  <a:lnTo>
                    <a:pt x="1363" y="236"/>
                  </a:lnTo>
                  <a:lnTo>
                    <a:pt x="1362" y="234"/>
                  </a:lnTo>
                  <a:lnTo>
                    <a:pt x="1363" y="233"/>
                  </a:lnTo>
                  <a:lnTo>
                    <a:pt x="1365" y="230"/>
                  </a:lnTo>
                  <a:lnTo>
                    <a:pt x="1367" y="230"/>
                  </a:lnTo>
                  <a:lnTo>
                    <a:pt x="1371" y="229"/>
                  </a:lnTo>
                  <a:lnTo>
                    <a:pt x="1374" y="227"/>
                  </a:lnTo>
                  <a:lnTo>
                    <a:pt x="1376" y="225"/>
                  </a:lnTo>
                  <a:lnTo>
                    <a:pt x="1378" y="222"/>
                  </a:lnTo>
                  <a:lnTo>
                    <a:pt x="1378" y="221"/>
                  </a:lnTo>
                  <a:lnTo>
                    <a:pt x="1376" y="219"/>
                  </a:lnTo>
                  <a:lnTo>
                    <a:pt x="1374" y="217"/>
                  </a:lnTo>
                  <a:lnTo>
                    <a:pt x="1372" y="216"/>
                  </a:lnTo>
                  <a:lnTo>
                    <a:pt x="1367" y="212"/>
                  </a:lnTo>
                  <a:lnTo>
                    <a:pt x="1365" y="211"/>
                  </a:lnTo>
                  <a:lnTo>
                    <a:pt x="1364" y="208"/>
                  </a:lnTo>
                  <a:lnTo>
                    <a:pt x="1363" y="206"/>
                  </a:lnTo>
                  <a:lnTo>
                    <a:pt x="1364" y="204"/>
                  </a:lnTo>
                  <a:lnTo>
                    <a:pt x="1366" y="203"/>
                  </a:lnTo>
                  <a:lnTo>
                    <a:pt x="1371" y="203"/>
                  </a:lnTo>
                  <a:lnTo>
                    <a:pt x="1374" y="203"/>
                  </a:lnTo>
                  <a:lnTo>
                    <a:pt x="1379" y="202"/>
                  </a:lnTo>
                  <a:lnTo>
                    <a:pt x="1379" y="200"/>
                  </a:lnTo>
                  <a:lnTo>
                    <a:pt x="1381" y="196"/>
                  </a:lnTo>
                  <a:lnTo>
                    <a:pt x="1383" y="192"/>
                  </a:lnTo>
                  <a:lnTo>
                    <a:pt x="1382" y="188"/>
                  </a:lnTo>
                  <a:lnTo>
                    <a:pt x="1381" y="187"/>
                  </a:lnTo>
                  <a:lnTo>
                    <a:pt x="1379" y="186"/>
                  </a:lnTo>
                  <a:lnTo>
                    <a:pt x="1376" y="185"/>
                  </a:lnTo>
                  <a:lnTo>
                    <a:pt x="1375" y="182"/>
                  </a:lnTo>
                  <a:lnTo>
                    <a:pt x="1376" y="181"/>
                  </a:lnTo>
                  <a:lnTo>
                    <a:pt x="1381" y="179"/>
                  </a:lnTo>
                  <a:lnTo>
                    <a:pt x="1386" y="178"/>
                  </a:lnTo>
                  <a:lnTo>
                    <a:pt x="1391" y="177"/>
                  </a:lnTo>
                  <a:lnTo>
                    <a:pt x="1394" y="174"/>
                  </a:lnTo>
                  <a:lnTo>
                    <a:pt x="1394" y="171"/>
                  </a:lnTo>
                  <a:lnTo>
                    <a:pt x="1396" y="166"/>
                  </a:lnTo>
                  <a:lnTo>
                    <a:pt x="1399" y="164"/>
                  </a:lnTo>
                  <a:lnTo>
                    <a:pt x="1406" y="153"/>
                  </a:lnTo>
                  <a:lnTo>
                    <a:pt x="1404" y="145"/>
                  </a:lnTo>
                  <a:lnTo>
                    <a:pt x="1403" y="141"/>
                  </a:lnTo>
                  <a:lnTo>
                    <a:pt x="1403" y="131"/>
                  </a:lnTo>
                  <a:lnTo>
                    <a:pt x="1403" y="122"/>
                  </a:lnTo>
                  <a:lnTo>
                    <a:pt x="1403" y="120"/>
                  </a:lnTo>
                  <a:lnTo>
                    <a:pt x="1403" y="115"/>
                  </a:lnTo>
                  <a:lnTo>
                    <a:pt x="1399" y="110"/>
                  </a:lnTo>
                  <a:lnTo>
                    <a:pt x="1396" y="101"/>
                  </a:lnTo>
                  <a:lnTo>
                    <a:pt x="1394" y="97"/>
                  </a:lnTo>
                  <a:lnTo>
                    <a:pt x="1387" y="88"/>
                  </a:lnTo>
                  <a:lnTo>
                    <a:pt x="1380" y="86"/>
                  </a:lnTo>
                  <a:lnTo>
                    <a:pt x="1373" y="85"/>
                  </a:lnTo>
                  <a:lnTo>
                    <a:pt x="1368" y="83"/>
                  </a:lnTo>
                  <a:lnTo>
                    <a:pt x="1371" y="75"/>
                  </a:lnTo>
                  <a:lnTo>
                    <a:pt x="1376" y="75"/>
                  </a:lnTo>
                  <a:lnTo>
                    <a:pt x="1379" y="73"/>
                  </a:lnTo>
                  <a:lnTo>
                    <a:pt x="1380" y="70"/>
                  </a:lnTo>
                  <a:lnTo>
                    <a:pt x="1379" y="61"/>
                  </a:lnTo>
                  <a:lnTo>
                    <a:pt x="1378" y="56"/>
                  </a:lnTo>
                  <a:lnTo>
                    <a:pt x="1376" y="50"/>
                  </a:lnTo>
                  <a:lnTo>
                    <a:pt x="1375" y="49"/>
                  </a:lnTo>
                  <a:lnTo>
                    <a:pt x="1372" y="48"/>
                  </a:lnTo>
                  <a:lnTo>
                    <a:pt x="1365" y="49"/>
                  </a:lnTo>
                  <a:lnTo>
                    <a:pt x="1364" y="53"/>
                  </a:lnTo>
                  <a:lnTo>
                    <a:pt x="1362" y="57"/>
                  </a:lnTo>
                  <a:lnTo>
                    <a:pt x="1357" y="58"/>
                  </a:lnTo>
                  <a:lnTo>
                    <a:pt x="1351" y="57"/>
                  </a:lnTo>
                  <a:lnTo>
                    <a:pt x="1349" y="54"/>
                  </a:lnTo>
                  <a:lnTo>
                    <a:pt x="1347" y="52"/>
                  </a:lnTo>
                  <a:lnTo>
                    <a:pt x="1343" y="49"/>
                  </a:lnTo>
                  <a:lnTo>
                    <a:pt x="1342" y="44"/>
                  </a:lnTo>
                  <a:lnTo>
                    <a:pt x="1341" y="41"/>
                  </a:lnTo>
                  <a:lnTo>
                    <a:pt x="1339" y="34"/>
                  </a:lnTo>
                  <a:lnTo>
                    <a:pt x="1333" y="27"/>
                  </a:lnTo>
                  <a:lnTo>
                    <a:pt x="1330" y="25"/>
                  </a:lnTo>
                  <a:lnTo>
                    <a:pt x="1327" y="22"/>
                  </a:lnTo>
                  <a:lnTo>
                    <a:pt x="1324" y="21"/>
                  </a:lnTo>
                  <a:lnTo>
                    <a:pt x="1320" y="25"/>
                  </a:lnTo>
                  <a:lnTo>
                    <a:pt x="1318" y="28"/>
                  </a:lnTo>
                  <a:lnTo>
                    <a:pt x="1315" y="30"/>
                  </a:lnTo>
                  <a:lnTo>
                    <a:pt x="1307" y="33"/>
                  </a:lnTo>
                  <a:lnTo>
                    <a:pt x="1302" y="33"/>
                  </a:lnTo>
                  <a:lnTo>
                    <a:pt x="1298" y="28"/>
                  </a:lnTo>
                  <a:lnTo>
                    <a:pt x="1295" y="26"/>
                  </a:lnTo>
                  <a:lnTo>
                    <a:pt x="1290" y="27"/>
                  </a:lnTo>
                  <a:lnTo>
                    <a:pt x="1284" y="26"/>
                  </a:lnTo>
                  <a:lnTo>
                    <a:pt x="1279" y="24"/>
                  </a:lnTo>
                  <a:lnTo>
                    <a:pt x="1277" y="22"/>
                  </a:lnTo>
                  <a:lnTo>
                    <a:pt x="1272" y="22"/>
                  </a:lnTo>
                  <a:lnTo>
                    <a:pt x="1266" y="24"/>
                  </a:lnTo>
                  <a:lnTo>
                    <a:pt x="1260" y="22"/>
                  </a:lnTo>
                  <a:lnTo>
                    <a:pt x="1254" y="22"/>
                  </a:lnTo>
                  <a:lnTo>
                    <a:pt x="1251" y="25"/>
                  </a:lnTo>
                  <a:lnTo>
                    <a:pt x="1248" y="29"/>
                  </a:lnTo>
                  <a:lnTo>
                    <a:pt x="1243" y="30"/>
                  </a:lnTo>
                  <a:lnTo>
                    <a:pt x="1237" y="30"/>
                  </a:lnTo>
                  <a:lnTo>
                    <a:pt x="1229" y="24"/>
                  </a:lnTo>
                  <a:lnTo>
                    <a:pt x="1224" y="20"/>
                  </a:lnTo>
                  <a:lnTo>
                    <a:pt x="1223" y="14"/>
                  </a:lnTo>
                  <a:lnTo>
                    <a:pt x="1221" y="10"/>
                  </a:lnTo>
                  <a:lnTo>
                    <a:pt x="1216" y="8"/>
                  </a:lnTo>
                  <a:lnTo>
                    <a:pt x="1212" y="5"/>
                  </a:lnTo>
                  <a:lnTo>
                    <a:pt x="1207" y="2"/>
                  </a:lnTo>
                  <a:lnTo>
                    <a:pt x="1204" y="0"/>
                  </a:lnTo>
                  <a:lnTo>
                    <a:pt x="1202" y="0"/>
                  </a:lnTo>
                  <a:lnTo>
                    <a:pt x="1199" y="2"/>
                  </a:lnTo>
                  <a:lnTo>
                    <a:pt x="1195" y="5"/>
                  </a:lnTo>
                  <a:lnTo>
                    <a:pt x="1191" y="10"/>
                  </a:lnTo>
                  <a:lnTo>
                    <a:pt x="1188" y="13"/>
                  </a:lnTo>
                  <a:lnTo>
                    <a:pt x="1182" y="18"/>
                  </a:lnTo>
                  <a:lnTo>
                    <a:pt x="1175" y="18"/>
                  </a:lnTo>
                  <a:lnTo>
                    <a:pt x="1170" y="20"/>
                  </a:lnTo>
                  <a:lnTo>
                    <a:pt x="1159" y="22"/>
                  </a:lnTo>
                  <a:lnTo>
                    <a:pt x="1155" y="22"/>
                  </a:lnTo>
                  <a:lnTo>
                    <a:pt x="1149" y="21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35" name="OS"/>
            <p:cNvSpPr>
              <a:spLocks/>
            </p:cNvSpPr>
            <p:nvPr/>
          </p:nvSpPr>
          <p:spPr bwMode="auto">
            <a:xfrm>
              <a:off x="6794154" y="3474129"/>
              <a:ext cx="675566" cy="509264"/>
            </a:xfrm>
            <a:custGeom>
              <a:avLst/>
              <a:gdLst>
                <a:gd name="T0" fmla="*/ 537 w 791"/>
                <a:gd name="T1" fmla="*/ 375 h 617"/>
                <a:gd name="T2" fmla="*/ 563 w 791"/>
                <a:gd name="T3" fmla="*/ 370 h 617"/>
                <a:gd name="T4" fmla="*/ 623 w 791"/>
                <a:gd name="T5" fmla="*/ 351 h 617"/>
                <a:gd name="T6" fmla="*/ 654 w 791"/>
                <a:gd name="T7" fmla="*/ 327 h 617"/>
                <a:gd name="T8" fmla="*/ 699 w 791"/>
                <a:gd name="T9" fmla="*/ 289 h 617"/>
                <a:gd name="T10" fmla="*/ 696 w 791"/>
                <a:gd name="T11" fmla="*/ 283 h 617"/>
                <a:gd name="T12" fmla="*/ 722 w 791"/>
                <a:gd name="T13" fmla="*/ 250 h 617"/>
                <a:gd name="T14" fmla="*/ 724 w 791"/>
                <a:gd name="T15" fmla="*/ 242 h 617"/>
                <a:gd name="T16" fmla="*/ 710 w 791"/>
                <a:gd name="T17" fmla="*/ 232 h 617"/>
                <a:gd name="T18" fmla="*/ 706 w 791"/>
                <a:gd name="T19" fmla="*/ 189 h 617"/>
                <a:gd name="T20" fmla="*/ 765 w 791"/>
                <a:gd name="T21" fmla="*/ 133 h 617"/>
                <a:gd name="T22" fmla="*/ 790 w 791"/>
                <a:gd name="T23" fmla="*/ 127 h 617"/>
                <a:gd name="T24" fmla="*/ 760 w 791"/>
                <a:gd name="T25" fmla="*/ 82 h 617"/>
                <a:gd name="T26" fmla="*/ 726 w 791"/>
                <a:gd name="T27" fmla="*/ 80 h 617"/>
                <a:gd name="T28" fmla="*/ 696 w 791"/>
                <a:gd name="T29" fmla="*/ 56 h 617"/>
                <a:gd name="T30" fmla="*/ 651 w 791"/>
                <a:gd name="T31" fmla="*/ 31 h 617"/>
                <a:gd name="T32" fmla="*/ 603 w 791"/>
                <a:gd name="T33" fmla="*/ 2 h 617"/>
                <a:gd name="T34" fmla="*/ 600 w 791"/>
                <a:gd name="T35" fmla="*/ 37 h 617"/>
                <a:gd name="T36" fmla="*/ 569 w 791"/>
                <a:gd name="T37" fmla="*/ 66 h 617"/>
                <a:gd name="T38" fmla="*/ 508 w 791"/>
                <a:gd name="T39" fmla="*/ 60 h 617"/>
                <a:gd name="T40" fmla="*/ 473 w 791"/>
                <a:gd name="T41" fmla="*/ 45 h 617"/>
                <a:gd name="T42" fmla="*/ 466 w 791"/>
                <a:gd name="T43" fmla="*/ 15 h 617"/>
                <a:gd name="T44" fmla="*/ 419 w 791"/>
                <a:gd name="T45" fmla="*/ 18 h 617"/>
                <a:gd name="T46" fmla="*/ 329 w 791"/>
                <a:gd name="T47" fmla="*/ 8 h 617"/>
                <a:gd name="T48" fmla="*/ 286 w 791"/>
                <a:gd name="T49" fmla="*/ 45 h 617"/>
                <a:gd name="T50" fmla="*/ 278 w 791"/>
                <a:gd name="T51" fmla="*/ 98 h 617"/>
                <a:gd name="T52" fmla="*/ 255 w 791"/>
                <a:gd name="T53" fmla="*/ 160 h 617"/>
                <a:gd name="T54" fmla="*/ 194 w 791"/>
                <a:gd name="T55" fmla="*/ 183 h 617"/>
                <a:gd name="T56" fmla="*/ 117 w 791"/>
                <a:gd name="T57" fmla="*/ 229 h 617"/>
                <a:gd name="T58" fmla="*/ 126 w 791"/>
                <a:gd name="T59" fmla="*/ 317 h 617"/>
                <a:gd name="T60" fmla="*/ 154 w 791"/>
                <a:gd name="T61" fmla="*/ 366 h 617"/>
                <a:gd name="T62" fmla="*/ 105 w 791"/>
                <a:gd name="T63" fmla="*/ 335 h 617"/>
                <a:gd name="T64" fmla="*/ 57 w 791"/>
                <a:gd name="T65" fmla="*/ 333 h 617"/>
                <a:gd name="T66" fmla="*/ 84 w 791"/>
                <a:gd name="T67" fmla="*/ 379 h 617"/>
                <a:gd name="T68" fmla="*/ 97 w 791"/>
                <a:gd name="T69" fmla="*/ 417 h 617"/>
                <a:gd name="T70" fmla="*/ 107 w 791"/>
                <a:gd name="T71" fmla="*/ 476 h 617"/>
                <a:gd name="T72" fmla="*/ 66 w 791"/>
                <a:gd name="T73" fmla="*/ 511 h 617"/>
                <a:gd name="T74" fmla="*/ 41 w 791"/>
                <a:gd name="T75" fmla="*/ 546 h 617"/>
                <a:gd name="T76" fmla="*/ 12 w 791"/>
                <a:gd name="T77" fmla="*/ 578 h 617"/>
                <a:gd name="T78" fmla="*/ 26 w 791"/>
                <a:gd name="T79" fmla="*/ 611 h 617"/>
                <a:gd name="T80" fmla="*/ 86 w 791"/>
                <a:gd name="T81" fmla="*/ 586 h 617"/>
                <a:gd name="T82" fmla="*/ 114 w 791"/>
                <a:gd name="T83" fmla="*/ 587 h 617"/>
                <a:gd name="T84" fmla="*/ 117 w 791"/>
                <a:gd name="T85" fmla="*/ 564 h 617"/>
                <a:gd name="T86" fmla="*/ 121 w 791"/>
                <a:gd name="T87" fmla="*/ 539 h 617"/>
                <a:gd name="T88" fmla="*/ 145 w 791"/>
                <a:gd name="T89" fmla="*/ 539 h 617"/>
                <a:gd name="T90" fmla="*/ 169 w 791"/>
                <a:gd name="T91" fmla="*/ 553 h 617"/>
                <a:gd name="T92" fmla="*/ 197 w 791"/>
                <a:gd name="T93" fmla="*/ 546 h 617"/>
                <a:gd name="T94" fmla="*/ 217 w 791"/>
                <a:gd name="T95" fmla="*/ 527 h 617"/>
                <a:gd name="T96" fmla="*/ 225 w 791"/>
                <a:gd name="T97" fmla="*/ 493 h 617"/>
                <a:gd name="T98" fmla="*/ 246 w 791"/>
                <a:gd name="T99" fmla="*/ 489 h 617"/>
                <a:gd name="T100" fmla="*/ 245 w 791"/>
                <a:gd name="T101" fmla="*/ 469 h 617"/>
                <a:gd name="T102" fmla="*/ 272 w 791"/>
                <a:gd name="T103" fmla="*/ 465 h 617"/>
                <a:gd name="T104" fmla="*/ 288 w 791"/>
                <a:gd name="T105" fmla="*/ 449 h 617"/>
                <a:gd name="T106" fmla="*/ 305 w 791"/>
                <a:gd name="T107" fmla="*/ 469 h 617"/>
                <a:gd name="T108" fmla="*/ 324 w 791"/>
                <a:gd name="T109" fmla="*/ 490 h 617"/>
                <a:gd name="T110" fmla="*/ 371 w 791"/>
                <a:gd name="T111" fmla="*/ 493 h 617"/>
                <a:gd name="T112" fmla="*/ 396 w 791"/>
                <a:gd name="T113" fmla="*/ 467 h 617"/>
                <a:gd name="T114" fmla="*/ 436 w 791"/>
                <a:gd name="T115" fmla="*/ 459 h 617"/>
                <a:gd name="T116" fmla="*/ 458 w 791"/>
                <a:gd name="T117" fmla="*/ 430 h 617"/>
                <a:gd name="T118" fmla="*/ 518 w 791"/>
                <a:gd name="T119" fmla="*/ 388 h 617"/>
                <a:gd name="T120" fmla="*/ 497 w 791"/>
                <a:gd name="T121" fmla="*/ 385 h 617"/>
                <a:gd name="T122" fmla="*/ 489 w 791"/>
                <a:gd name="T123" fmla="*/ 401 h 617"/>
                <a:gd name="T124" fmla="*/ 489 w 791"/>
                <a:gd name="T125" fmla="*/ 384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91" h="617">
                  <a:moveTo>
                    <a:pt x="541" y="365"/>
                  </a:moveTo>
                  <a:lnTo>
                    <a:pt x="541" y="366"/>
                  </a:lnTo>
                  <a:lnTo>
                    <a:pt x="539" y="366"/>
                  </a:lnTo>
                  <a:lnTo>
                    <a:pt x="538" y="367"/>
                  </a:lnTo>
                  <a:lnTo>
                    <a:pt x="538" y="367"/>
                  </a:lnTo>
                  <a:lnTo>
                    <a:pt x="535" y="368"/>
                  </a:lnTo>
                  <a:lnTo>
                    <a:pt x="529" y="373"/>
                  </a:lnTo>
                  <a:lnTo>
                    <a:pt x="526" y="375"/>
                  </a:lnTo>
                  <a:lnTo>
                    <a:pt x="525" y="375"/>
                  </a:lnTo>
                  <a:lnTo>
                    <a:pt x="525" y="376"/>
                  </a:lnTo>
                  <a:lnTo>
                    <a:pt x="525" y="377"/>
                  </a:lnTo>
                  <a:lnTo>
                    <a:pt x="525" y="377"/>
                  </a:lnTo>
                  <a:lnTo>
                    <a:pt x="526" y="377"/>
                  </a:lnTo>
                  <a:lnTo>
                    <a:pt x="526" y="377"/>
                  </a:lnTo>
                  <a:lnTo>
                    <a:pt x="527" y="377"/>
                  </a:lnTo>
                  <a:lnTo>
                    <a:pt x="527" y="377"/>
                  </a:lnTo>
                  <a:lnTo>
                    <a:pt x="529" y="376"/>
                  </a:lnTo>
                  <a:lnTo>
                    <a:pt x="530" y="375"/>
                  </a:lnTo>
                  <a:lnTo>
                    <a:pt x="530" y="375"/>
                  </a:lnTo>
                  <a:lnTo>
                    <a:pt x="531" y="375"/>
                  </a:lnTo>
                  <a:lnTo>
                    <a:pt x="533" y="373"/>
                  </a:lnTo>
                  <a:lnTo>
                    <a:pt x="538" y="369"/>
                  </a:lnTo>
                  <a:lnTo>
                    <a:pt x="539" y="369"/>
                  </a:lnTo>
                  <a:lnTo>
                    <a:pt x="540" y="368"/>
                  </a:lnTo>
                  <a:lnTo>
                    <a:pt x="541" y="368"/>
                  </a:lnTo>
                  <a:lnTo>
                    <a:pt x="542" y="369"/>
                  </a:lnTo>
                  <a:lnTo>
                    <a:pt x="542" y="370"/>
                  </a:lnTo>
                  <a:lnTo>
                    <a:pt x="541" y="371"/>
                  </a:lnTo>
                  <a:lnTo>
                    <a:pt x="541" y="372"/>
                  </a:lnTo>
                  <a:lnTo>
                    <a:pt x="539" y="373"/>
                  </a:lnTo>
                  <a:lnTo>
                    <a:pt x="537" y="375"/>
                  </a:lnTo>
                  <a:lnTo>
                    <a:pt x="537" y="375"/>
                  </a:lnTo>
                  <a:lnTo>
                    <a:pt x="536" y="375"/>
                  </a:lnTo>
                  <a:lnTo>
                    <a:pt x="535" y="375"/>
                  </a:lnTo>
                  <a:lnTo>
                    <a:pt x="535" y="376"/>
                  </a:lnTo>
                  <a:lnTo>
                    <a:pt x="534" y="376"/>
                  </a:lnTo>
                  <a:lnTo>
                    <a:pt x="535" y="377"/>
                  </a:lnTo>
                  <a:lnTo>
                    <a:pt x="535" y="377"/>
                  </a:lnTo>
                  <a:lnTo>
                    <a:pt x="537" y="377"/>
                  </a:lnTo>
                  <a:lnTo>
                    <a:pt x="538" y="377"/>
                  </a:lnTo>
                  <a:lnTo>
                    <a:pt x="539" y="376"/>
                  </a:lnTo>
                  <a:lnTo>
                    <a:pt x="541" y="376"/>
                  </a:lnTo>
                  <a:lnTo>
                    <a:pt x="541" y="376"/>
                  </a:lnTo>
                  <a:lnTo>
                    <a:pt x="542" y="376"/>
                  </a:lnTo>
                  <a:lnTo>
                    <a:pt x="543" y="376"/>
                  </a:lnTo>
                  <a:lnTo>
                    <a:pt x="544" y="376"/>
                  </a:lnTo>
                  <a:lnTo>
                    <a:pt x="545" y="376"/>
                  </a:lnTo>
                  <a:lnTo>
                    <a:pt x="546" y="376"/>
                  </a:lnTo>
                  <a:lnTo>
                    <a:pt x="548" y="376"/>
                  </a:lnTo>
                  <a:lnTo>
                    <a:pt x="549" y="375"/>
                  </a:lnTo>
                  <a:lnTo>
                    <a:pt x="549" y="375"/>
                  </a:lnTo>
                  <a:lnTo>
                    <a:pt x="550" y="375"/>
                  </a:lnTo>
                  <a:lnTo>
                    <a:pt x="550" y="375"/>
                  </a:lnTo>
                  <a:lnTo>
                    <a:pt x="552" y="373"/>
                  </a:lnTo>
                  <a:lnTo>
                    <a:pt x="553" y="373"/>
                  </a:lnTo>
                  <a:lnTo>
                    <a:pt x="554" y="372"/>
                  </a:lnTo>
                  <a:lnTo>
                    <a:pt x="556" y="372"/>
                  </a:lnTo>
                  <a:lnTo>
                    <a:pt x="557" y="372"/>
                  </a:lnTo>
                  <a:lnTo>
                    <a:pt x="559" y="372"/>
                  </a:lnTo>
                  <a:lnTo>
                    <a:pt x="560" y="371"/>
                  </a:lnTo>
                  <a:lnTo>
                    <a:pt x="561" y="371"/>
                  </a:lnTo>
                  <a:lnTo>
                    <a:pt x="563" y="370"/>
                  </a:lnTo>
                  <a:lnTo>
                    <a:pt x="564" y="369"/>
                  </a:lnTo>
                  <a:lnTo>
                    <a:pt x="566" y="369"/>
                  </a:lnTo>
                  <a:lnTo>
                    <a:pt x="568" y="368"/>
                  </a:lnTo>
                  <a:lnTo>
                    <a:pt x="570" y="368"/>
                  </a:lnTo>
                  <a:lnTo>
                    <a:pt x="572" y="367"/>
                  </a:lnTo>
                  <a:lnTo>
                    <a:pt x="573" y="367"/>
                  </a:lnTo>
                  <a:lnTo>
                    <a:pt x="576" y="366"/>
                  </a:lnTo>
                  <a:lnTo>
                    <a:pt x="577" y="365"/>
                  </a:lnTo>
                  <a:lnTo>
                    <a:pt x="580" y="365"/>
                  </a:lnTo>
                  <a:lnTo>
                    <a:pt x="581" y="364"/>
                  </a:lnTo>
                  <a:lnTo>
                    <a:pt x="584" y="364"/>
                  </a:lnTo>
                  <a:lnTo>
                    <a:pt x="587" y="362"/>
                  </a:lnTo>
                  <a:lnTo>
                    <a:pt x="591" y="361"/>
                  </a:lnTo>
                  <a:lnTo>
                    <a:pt x="592" y="361"/>
                  </a:lnTo>
                  <a:lnTo>
                    <a:pt x="594" y="360"/>
                  </a:lnTo>
                  <a:lnTo>
                    <a:pt x="596" y="360"/>
                  </a:lnTo>
                  <a:lnTo>
                    <a:pt x="598" y="360"/>
                  </a:lnTo>
                  <a:lnTo>
                    <a:pt x="600" y="359"/>
                  </a:lnTo>
                  <a:lnTo>
                    <a:pt x="602" y="358"/>
                  </a:lnTo>
                  <a:lnTo>
                    <a:pt x="603" y="358"/>
                  </a:lnTo>
                  <a:lnTo>
                    <a:pt x="605" y="357"/>
                  </a:lnTo>
                  <a:lnTo>
                    <a:pt x="606" y="356"/>
                  </a:lnTo>
                  <a:lnTo>
                    <a:pt x="608" y="356"/>
                  </a:lnTo>
                  <a:lnTo>
                    <a:pt x="610" y="355"/>
                  </a:lnTo>
                  <a:lnTo>
                    <a:pt x="612" y="354"/>
                  </a:lnTo>
                  <a:lnTo>
                    <a:pt x="613" y="354"/>
                  </a:lnTo>
                  <a:lnTo>
                    <a:pt x="615" y="353"/>
                  </a:lnTo>
                  <a:lnTo>
                    <a:pt x="616" y="353"/>
                  </a:lnTo>
                  <a:lnTo>
                    <a:pt x="619" y="352"/>
                  </a:lnTo>
                  <a:lnTo>
                    <a:pt x="622" y="351"/>
                  </a:lnTo>
                  <a:lnTo>
                    <a:pt x="623" y="351"/>
                  </a:lnTo>
                  <a:lnTo>
                    <a:pt x="625" y="349"/>
                  </a:lnTo>
                  <a:lnTo>
                    <a:pt x="627" y="349"/>
                  </a:lnTo>
                  <a:lnTo>
                    <a:pt x="629" y="349"/>
                  </a:lnTo>
                  <a:lnTo>
                    <a:pt x="631" y="348"/>
                  </a:lnTo>
                  <a:lnTo>
                    <a:pt x="632" y="348"/>
                  </a:lnTo>
                  <a:lnTo>
                    <a:pt x="634" y="347"/>
                  </a:lnTo>
                  <a:lnTo>
                    <a:pt x="636" y="347"/>
                  </a:lnTo>
                  <a:lnTo>
                    <a:pt x="637" y="346"/>
                  </a:lnTo>
                  <a:lnTo>
                    <a:pt x="639" y="345"/>
                  </a:lnTo>
                  <a:lnTo>
                    <a:pt x="640" y="344"/>
                  </a:lnTo>
                  <a:lnTo>
                    <a:pt x="643" y="343"/>
                  </a:lnTo>
                  <a:lnTo>
                    <a:pt x="643" y="343"/>
                  </a:lnTo>
                  <a:lnTo>
                    <a:pt x="644" y="342"/>
                  </a:lnTo>
                  <a:lnTo>
                    <a:pt x="644" y="342"/>
                  </a:lnTo>
                  <a:lnTo>
                    <a:pt x="644" y="341"/>
                  </a:lnTo>
                  <a:lnTo>
                    <a:pt x="644" y="340"/>
                  </a:lnTo>
                  <a:lnTo>
                    <a:pt x="646" y="339"/>
                  </a:lnTo>
                  <a:lnTo>
                    <a:pt x="646" y="339"/>
                  </a:lnTo>
                  <a:lnTo>
                    <a:pt x="647" y="339"/>
                  </a:lnTo>
                  <a:lnTo>
                    <a:pt x="647" y="339"/>
                  </a:lnTo>
                  <a:lnTo>
                    <a:pt x="650" y="338"/>
                  </a:lnTo>
                  <a:lnTo>
                    <a:pt x="651" y="338"/>
                  </a:lnTo>
                  <a:lnTo>
                    <a:pt x="651" y="337"/>
                  </a:lnTo>
                  <a:lnTo>
                    <a:pt x="652" y="335"/>
                  </a:lnTo>
                  <a:lnTo>
                    <a:pt x="652" y="333"/>
                  </a:lnTo>
                  <a:lnTo>
                    <a:pt x="652" y="332"/>
                  </a:lnTo>
                  <a:lnTo>
                    <a:pt x="652" y="331"/>
                  </a:lnTo>
                  <a:lnTo>
                    <a:pt x="652" y="330"/>
                  </a:lnTo>
                  <a:lnTo>
                    <a:pt x="653" y="328"/>
                  </a:lnTo>
                  <a:lnTo>
                    <a:pt x="654" y="328"/>
                  </a:lnTo>
                  <a:lnTo>
                    <a:pt x="654" y="327"/>
                  </a:lnTo>
                  <a:lnTo>
                    <a:pt x="655" y="327"/>
                  </a:lnTo>
                  <a:lnTo>
                    <a:pt x="657" y="326"/>
                  </a:lnTo>
                  <a:lnTo>
                    <a:pt x="658" y="325"/>
                  </a:lnTo>
                  <a:lnTo>
                    <a:pt x="659" y="323"/>
                  </a:lnTo>
                  <a:lnTo>
                    <a:pt x="660" y="322"/>
                  </a:lnTo>
                  <a:lnTo>
                    <a:pt x="661" y="322"/>
                  </a:lnTo>
                  <a:lnTo>
                    <a:pt x="662" y="320"/>
                  </a:lnTo>
                  <a:lnTo>
                    <a:pt x="663" y="317"/>
                  </a:lnTo>
                  <a:lnTo>
                    <a:pt x="664" y="314"/>
                  </a:lnTo>
                  <a:lnTo>
                    <a:pt x="665" y="313"/>
                  </a:lnTo>
                  <a:lnTo>
                    <a:pt x="666" y="312"/>
                  </a:lnTo>
                  <a:lnTo>
                    <a:pt x="667" y="311"/>
                  </a:lnTo>
                  <a:lnTo>
                    <a:pt x="668" y="311"/>
                  </a:lnTo>
                  <a:lnTo>
                    <a:pt x="669" y="310"/>
                  </a:lnTo>
                  <a:lnTo>
                    <a:pt x="670" y="309"/>
                  </a:lnTo>
                  <a:lnTo>
                    <a:pt x="672" y="308"/>
                  </a:lnTo>
                  <a:lnTo>
                    <a:pt x="674" y="307"/>
                  </a:lnTo>
                  <a:lnTo>
                    <a:pt x="676" y="306"/>
                  </a:lnTo>
                  <a:lnTo>
                    <a:pt x="678" y="305"/>
                  </a:lnTo>
                  <a:lnTo>
                    <a:pt x="681" y="303"/>
                  </a:lnTo>
                  <a:lnTo>
                    <a:pt x="681" y="302"/>
                  </a:lnTo>
                  <a:lnTo>
                    <a:pt x="684" y="301"/>
                  </a:lnTo>
                  <a:lnTo>
                    <a:pt x="685" y="301"/>
                  </a:lnTo>
                  <a:lnTo>
                    <a:pt x="689" y="298"/>
                  </a:lnTo>
                  <a:lnTo>
                    <a:pt x="691" y="297"/>
                  </a:lnTo>
                  <a:lnTo>
                    <a:pt x="693" y="297"/>
                  </a:lnTo>
                  <a:lnTo>
                    <a:pt x="694" y="297"/>
                  </a:lnTo>
                  <a:lnTo>
                    <a:pt x="696" y="294"/>
                  </a:lnTo>
                  <a:lnTo>
                    <a:pt x="697" y="292"/>
                  </a:lnTo>
                  <a:lnTo>
                    <a:pt x="698" y="291"/>
                  </a:lnTo>
                  <a:lnTo>
                    <a:pt x="699" y="289"/>
                  </a:lnTo>
                  <a:lnTo>
                    <a:pt x="699" y="289"/>
                  </a:lnTo>
                  <a:lnTo>
                    <a:pt x="700" y="289"/>
                  </a:lnTo>
                  <a:lnTo>
                    <a:pt x="701" y="289"/>
                  </a:lnTo>
                  <a:lnTo>
                    <a:pt x="701" y="287"/>
                  </a:lnTo>
                  <a:lnTo>
                    <a:pt x="702" y="286"/>
                  </a:lnTo>
                  <a:lnTo>
                    <a:pt x="702" y="286"/>
                  </a:lnTo>
                  <a:lnTo>
                    <a:pt x="702" y="285"/>
                  </a:lnTo>
                  <a:lnTo>
                    <a:pt x="701" y="284"/>
                  </a:lnTo>
                  <a:lnTo>
                    <a:pt x="701" y="283"/>
                  </a:lnTo>
                  <a:lnTo>
                    <a:pt x="701" y="282"/>
                  </a:lnTo>
                  <a:lnTo>
                    <a:pt x="701" y="281"/>
                  </a:lnTo>
                  <a:lnTo>
                    <a:pt x="701" y="280"/>
                  </a:lnTo>
                  <a:lnTo>
                    <a:pt x="701" y="279"/>
                  </a:lnTo>
                  <a:lnTo>
                    <a:pt x="701" y="279"/>
                  </a:lnTo>
                  <a:lnTo>
                    <a:pt x="701" y="277"/>
                  </a:lnTo>
                  <a:lnTo>
                    <a:pt x="701" y="276"/>
                  </a:lnTo>
                  <a:lnTo>
                    <a:pt x="701" y="275"/>
                  </a:lnTo>
                  <a:lnTo>
                    <a:pt x="701" y="274"/>
                  </a:lnTo>
                  <a:lnTo>
                    <a:pt x="701" y="273"/>
                  </a:lnTo>
                  <a:lnTo>
                    <a:pt x="700" y="273"/>
                  </a:lnTo>
                  <a:lnTo>
                    <a:pt x="700" y="272"/>
                  </a:lnTo>
                  <a:lnTo>
                    <a:pt x="699" y="272"/>
                  </a:lnTo>
                  <a:lnTo>
                    <a:pt x="699" y="273"/>
                  </a:lnTo>
                  <a:lnTo>
                    <a:pt x="699" y="274"/>
                  </a:lnTo>
                  <a:lnTo>
                    <a:pt x="699" y="276"/>
                  </a:lnTo>
                  <a:lnTo>
                    <a:pt x="699" y="277"/>
                  </a:lnTo>
                  <a:lnTo>
                    <a:pt x="698" y="278"/>
                  </a:lnTo>
                  <a:lnTo>
                    <a:pt x="698" y="279"/>
                  </a:lnTo>
                  <a:lnTo>
                    <a:pt x="697" y="280"/>
                  </a:lnTo>
                  <a:lnTo>
                    <a:pt x="697" y="282"/>
                  </a:lnTo>
                  <a:lnTo>
                    <a:pt x="696" y="283"/>
                  </a:lnTo>
                  <a:lnTo>
                    <a:pt x="695" y="283"/>
                  </a:lnTo>
                  <a:lnTo>
                    <a:pt x="694" y="283"/>
                  </a:lnTo>
                  <a:lnTo>
                    <a:pt x="693" y="283"/>
                  </a:lnTo>
                  <a:lnTo>
                    <a:pt x="692" y="283"/>
                  </a:lnTo>
                  <a:lnTo>
                    <a:pt x="691" y="282"/>
                  </a:lnTo>
                  <a:lnTo>
                    <a:pt x="691" y="281"/>
                  </a:lnTo>
                  <a:lnTo>
                    <a:pt x="691" y="280"/>
                  </a:lnTo>
                  <a:lnTo>
                    <a:pt x="691" y="278"/>
                  </a:lnTo>
                  <a:lnTo>
                    <a:pt x="691" y="278"/>
                  </a:lnTo>
                  <a:lnTo>
                    <a:pt x="692" y="276"/>
                  </a:lnTo>
                  <a:lnTo>
                    <a:pt x="692" y="275"/>
                  </a:lnTo>
                  <a:lnTo>
                    <a:pt x="694" y="274"/>
                  </a:lnTo>
                  <a:lnTo>
                    <a:pt x="695" y="273"/>
                  </a:lnTo>
                  <a:lnTo>
                    <a:pt x="696" y="271"/>
                  </a:lnTo>
                  <a:lnTo>
                    <a:pt x="697" y="270"/>
                  </a:lnTo>
                  <a:lnTo>
                    <a:pt x="698" y="268"/>
                  </a:lnTo>
                  <a:lnTo>
                    <a:pt x="699" y="267"/>
                  </a:lnTo>
                  <a:lnTo>
                    <a:pt x="701" y="265"/>
                  </a:lnTo>
                  <a:lnTo>
                    <a:pt x="702" y="264"/>
                  </a:lnTo>
                  <a:lnTo>
                    <a:pt x="705" y="262"/>
                  </a:lnTo>
                  <a:lnTo>
                    <a:pt x="707" y="261"/>
                  </a:lnTo>
                  <a:lnTo>
                    <a:pt x="708" y="260"/>
                  </a:lnTo>
                  <a:lnTo>
                    <a:pt x="710" y="258"/>
                  </a:lnTo>
                  <a:lnTo>
                    <a:pt x="712" y="257"/>
                  </a:lnTo>
                  <a:lnTo>
                    <a:pt x="714" y="256"/>
                  </a:lnTo>
                  <a:lnTo>
                    <a:pt x="716" y="255"/>
                  </a:lnTo>
                  <a:lnTo>
                    <a:pt x="718" y="253"/>
                  </a:lnTo>
                  <a:lnTo>
                    <a:pt x="719" y="252"/>
                  </a:lnTo>
                  <a:lnTo>
                    <a:pt x="719" y="251"/>
                  </a:lnTo>
                  <a:lnTo>
                    <a:pt x="721" y="251"/>
                  </a:lnTo>
                  <a:lnTo>
                    <a:pt x="722" y="250"/>
                  </a:lnTo>
                  <a:lnTo>
                    <a:pt x="723" y="249"/>
                  </a:lnTo>
                  <a:lnTo>
                    <a:pt x="725" y="249"/>
                  </a:lnTo>
                  <a:lnTo>
                    <a:pt x="726" y="248"/>
                  </a:lnTo>
                  <a:lnTo>
                    <a:pt x="726" y="247"/>
                  </a:lnTo>
                  <a:lnTo>
                    <a:pt x="728" y="246"/>
                  </a:lnTo>
                  <a:lnTo>
                    <a:pt x="729" y="245"/>
                  </a:lnTo>
                  <a:lnTo>
                    <a:pt x="730" y="244"/>
                  </a:lnTo>
                  <a:lnTo>
                    <a:pt x="731" y="244"/>
                  </a:lnTo>
                  <a:lnTo>
                    <a:pt x="731" y="243"/>
                  </a:lnTo>
                  <a:lnTo>
                    <a:pt x="731" y="242"/>
                  </a:lnTo>
                  <a:lnTo>
                    <a:pt x="731" y="242"/>
                  </a:lnTo>
                  <a:lnTo>
                    <a:pt x="731" y="241"/>
                  </a:lnTo>
                  <a:lnTo>
                    <a:pt x="731" y="241"/>
                  </a:lnTo>
                  <a:lnTo>
                    <a:pt x="729" y="242"/>
                  </a:lnTo>
                  <a:lnTo>
                    <a:pt x="727" y="242"/>
                  </a:lnTo>
                  <a:lnTo>
                    <a:pt x="726" y="243"/>
                  </a:lnTo>
                  <a:lnTo>
                    <a:pt x="725" y="244"/>
                  </a:lnTo>
                  <a:lnTo>
                    <a:pt x="725" y="244"/>
                  </a:lnTo>
                  <a:lnTo>
                    <a:pt x="723" y="245"/>
                  </a:lnTo>
                  <a:lnTo>
                    <a:pt x="722" y="247"/>
                  </a:lnTo>
                  <a:lnTo>
                    <a:pt x="720" y="247"/>
                  </a:lnTo>
                  <a:lnTo>
                    <a:pt x="719" y="248"/>
                  </a:lnTo>
                  <a:lnTo>
                    <a:pt x="718" y="248"/>
                  </a:lnTo>
                  <a:lnTo>
                    <a:pt x="718" y="248"/>
                  </a:lnTo>
                  <a:lnTo>
                    <a:pt x="718" y="247"/>
                  </a:lnTo>
                  <a:lnTo>
                    <a:pt x="718" y="245"/>
                  </a:lnTo>
                  <a:lnTo>
                    <a:pt x="719" y="245"/>
                  </a:lnTo>
                  <a:lnTo>
                    <a:pt x="721" y="244"/>
                  </a:lnTo>
                  <a:lnTo>
                    <a:pt x="722" y="243"/>
                  </a:lnTo>
                  <a:lnTo>
                    <a:pt x="723" y="242"/>
                  </a:lnTo>
                  <a:lnTo>
                    <a:pt x="724" y="242"/>
                  </a:lnTo>
                  <a:lnTo>
                    <a:pt x="725" y="241"/>
                  </a:lnTo>
                  <a:lnTo>
                    <a:pt x="726" y="240"/>
                  </a:lnTo>
                  <a:lnTo>
                    <a:pt x="726" y="239"/>
                  </a:lnTo>
                  <a:lnTo>
                    <a:pt x="726" y="237"/>
                  </a:lnTo>
                  <a:lnTo>
                    <a:pt x="725" y="237"/>
                  </a:lnTo>
                  <a:lnTo>
                    <a:pt x="724" y="236"/>
                  </a:lnTo>
                  <a:lnTo>
                    <a:pt x="722" y="235"/>
                  </a:lnTo>
                  <a:lnTo>
                    <a:pt x="721" y="235"/>
                  </a:lnTo>
                  <a:lnTo>
                    <a:pt x="719" y="235"/>
                  </a:lnTo>
                  <a:lnTo>
                    <a:pt x="717" y="236"/>
                  </a:lnTo>
                  <a:lnTo>
                    <a:pt x="715" y="237"/>
                  </a:lnTo>
                  <a:lnTo>
                    <a:pt x="714" y="238"/>
                  </a:lnTo>
                  <a:lnTo>
                    <a:pt x="712" y="238"/>
                  </a:lnTo>
                  <a:lnTo>
                    <a:pt x="712" y="240"/>
                  </a:lnTo>
                  <a:lnTo>
                    <a:pt x="711" y="241"/>
                  </a:lnTo>
                  <a:lnTo>
                    <a:pt x="710" y="241"/>
                  </a:lnTo>
                  <a:lnTo>
                    <a:pt x="710" y="241"/>
                  </a:lnTo>
                  <a:lnTo>
                    <a:pt x="710" y="242"/>
                  </a:lnTo>
                  <a:lnTo>
                    <a:pt x="710" y="242"/>
                  </a:lnTo>
                  <a:lnTo>
                    <a:pt x="708" y="242"/>
                  </a:lnTo>
                  <a:lnTo>
                    <a:pt x="707" y="241"/>
                  </a:lnTo>
                  <a:lnTo>
                    <a:pt x="707" y="240"/>
                  </a:lnTo>
                  <a:lnTo>
                    <a:pt x="706" y="239"/>
                  </a:lnTo>
                  <a:lnTo>
                    <a:pt x="705" y="238"/>
                  </a:lnTo>
                  <a:lnTo>
                    <a:pt x="706" y="237"/>
                  </a:lnTo>
                  <a:lnTo>
                    <a:pt x="706" y="236"/>
                  </a:lnTo>
                  <a:lnTo>
                    <a:pt x="706" y="235"/>
                  </a:lnTo>
                  <a:lnTo>
                    <a:pt x="706" y="234"/>
                  </a:lnTo>
                  <a:lnTo>
                    <a:pt x="708" y="234"/>
                  </a:lnTo>
                  <a:lnTo>
                    <a:pt x="709" y="233"/>
                  </a:lnTo>
                  <a:lnTo>
                    <a:pt x="710" y="232"/>
                  </a:lnTo>
                  <a:lnTo>
                    <a:pt x="711" y="232"/>
                  </a:lnTo>
                  <a:lnTo>
                    <a:pt x="712" y="232"/>
                  </a:lnTo>
                  <a:lnTo>
                    <a:pt x="713" y="232"/>
                  </a:lnTo>
                  <a:lnTo>
                    <a:pt x="714" y="232"/>
                  </a:lnTo>
                  <a:lnTo>
                    <a:pt x="716" y="232"/>
                  </a:lnTo>
                  <a:lnTo>
                    <a:pt x="717" y="232"/>
                  </a:lnTo>
                  <a:lnTo>
                    <a:pt x="718" y="232"/>
                  </a:lnTo>
                  <a:lnTo>
                    <a:pt x="718" y="232"/>
                  </a:lnTo>
                  <a:lnTo>
                    <a:pt x="719" y="232"/>
                  </a:lnTo>
                  <a:lnTo>
                    <a:pt x="721" y="232"/>
                  </a:lnTo>
                  <a:lnTo>
                    <a:pt x="721" y="232"/>
                  </a:lnTo>
                  <a:lnTo>
                    <a:pt x="722" y="231"/>
                  </a:lnTo>
                  <a:lnTo>
                    <a:pt x="722" y="230"/>
                  </a:lnTo>
                  <a:lnTo>
                    <a:pt x="722" y="229"/>
                  </a:lnTo>
                  <a:lnTo>
                    <a:pt x="722" y="228"/>
                  </a:lnTo>
                  <a:lnTo>
                    <a:pt x="722" y="226"/>
                  </a:lnTo>
                  <a:lnTo>
                    <a:pt x="723" y="226"/>
                  </a:lnTo>
                  <a:lnTo>
                    <a:pt x="723" y="224"/>
                  </a:lnTo>
                  <a:lnTo>
                    <a:pt x="719" y="219"/>
                  </a:lnTo>
                  <a:lnTo>
                    <a:pt x="715" y="213"/>
                  </a:lnTo>
                  <a:lnTo>
                    <a:pt x="714" y="210"/>
                  </a:lnTo>
                  <a:lnTo>
                    <a:pt x="713" y="208"/>
                  </a:lnTo>
                  <a:lnTo>
                    <a:pt x="712" y="207"/>
                  </a:lnTo>
                  <a:lnTo>
                    <a:pt x="712" y="207"/>
                  </a:lnTo>
                  <a:lnTo>
                    <a:pt x="711" y="204"/>
                  </a:lnTo>
                  <a:lnTo>
                    <a:pt x="710" y="203"/>
                  </a:lnTo>
                  <a:lnTo>
                    <a:pt x="710" y="202"/>
                  </a:lnTo>
                  <a:lnTo>
                    <a:pt x="708" y="199"/>
                  </a:lnTo>
                  <a:lnTo>
                    <a:pt x="706" y="193"/>
                  </a:lnTo>
                  <a:lnTo>
                    <a:pt x="706" y="191"/>
                  </a:lnTo>
                  <a:lnTo>
                    <a:pt x="706" y="189"/>
                  </a:lnTo>
                  <a:lnTo>
                    <a:pt x="705" y="187"/>
                  </a:lnTo>
                  <a:lnTo>
                    <a:pt x="705" y="184"/>
                  </a:lnTo>
                  <a:lnTo>
                    <a:pt x="706" y="183"/>
                  </a:lnTo>
                  <a:lnTo>
                    <a:pt x="707" y="178"/>
                  </a:lnTo>
                  <a:lnTo>
                    <a:pt x="714" y="169"/>
                  </a:lnTo>
                  <a:lnTo>
                    <a:pt x="718" y="162"/>
                  </a:lnTo>
                  <a:lnTo>
                    <a:pt x="721" y="157"/>
                  </a:lnTo>
                  <a:lnTo>
                    <a:pt x="722" y="156"/>
                  </a:lnTo>
                  <a:lnTo>
                    <a:pt x="723" y="155"/>
                  </a:lnTo>
                  <a:lnTo>
                    <a:pt x="725" y="153"/>
                  </a:lnTo>
                  <a:lnTo>
                    <a:pt x="730" y="149"/>
                  </a:lnTo>
                  <a:lnTo>
                    <a:pt x="731" y="148"/>
                  </a:lnTo>
                  <a:lnTo>
                    <a:pt x="733" y="146"/>
                  </a:lnTo>
                  <a:lnTo>
                    <a:pt x="735" y="145"/>
                  </a:lnTo>
                  <a:lnTo>
                    <a:pt x="737" y="144"/>
                  </a:lnTo>
                  <a:lnTo>
                    <a:pt x="738" y="143"/>
                  </a:lnTo>
                  <a:lnTo>
                    <a:pt x="741" y="143"/>
                  </a:lnTo>
                  <a:lnTo>
                    <a:pt x="742" y="141"/>
                  </a:lnTo>
                  <a:lnTo>
                    <a:pt x="746" y="139"/>
                  </a:lnTo>
                  <a:lnTo>
                    <a:pt x="747" y="138"/>
                  </a:lnTo>
                  <a:lnTo>
                    <a:pt x="748" y="137"/>
                  </a:lnTo>
                  <a:lnTo>
                    <a:pt x="750" y="136"/>
                  </a:lnTo>
                  <a:lnTo>
                    <a:pt x="752" y="136"/>
                  </a:lnTo>
                  <a:lnTo>
                    <a:pt x="753" y="136"/>
                  </a:lnTo>
                  <a:lnTo>
                    <a:pt x="755" y="136"/>
                  </a:lnTo>
                  <a:lnTo>
                    <a:pt x="757" y="135"/>
                  </a:lnTo>
                  <a:lnTo>
                    <a:pt x="760" y="135"/>
                  </a:lnTo>
                  <a:lnTo>
                    <a:pt x="761" y="134"/>
                  </a:lnTo>
                  <a:lnTo>
                    <a:pt x="763" y="134"/>
                  </a:lnTo>
                  <a:lnTo>
                    <a:pt x="764" y="133"/>
                  </a:lnTo>
                  <a:lnTo>
                    <a:pt x="765" y="133"/>
                  </a:lnTo>
                  <a:lnTo>
                    <a:pt x="766" y="133"/>
                  </a:lnTo>
                  <a:lnTo>
                    <a:pt x="767" y="134"/>
                  </a:lnTo>
                  <a:lnTo>
                    <a:pt x="768" y="134"/>
                  </a:lnTo>
                  <a:lnTo>
                    <a:pt x="770" y="135"/>
                  </a:lnTo>
                  <a:lnTo>
                    <a:pt x="771" y="135"/>
                  </a:lnTo>
                  <a:lnTo>
                    <a:pt x="772" y="135"/>
                  </a:lnTo>
                  <a:lnTo>
                    <a:pt x="773" y="134"/>
                  </a:lnTo>
                  <a:lnTo>
                    <a:pt x="774" y="134"/>
                  </a:lnTo>
                  <a:lnTo>
                    <a:pt x="774" y="133"/>
                  </a:lnTo>
                  <a:lnTo>
                    <a:pt x="773" y="132"/>
                  </a:lnTo>
                  <a:lnTo>
                    <a:pt x="772" y="132"/>
                  </a:lnTo>
                  <a:lnTo>
                    <a:pt x="773" y="131"/>
                  </a:lnTo>
                  <a:lnTo>
                    <a:pt x="774" y="131"/>
                  </a:lnTo>
                  <a:lnTo>
                    <a:pt x="775" y="132"/>
                  </a:lnTo>
                  <a:lnTo>
                    <a:pt x="775" y="133"/>
                  </a:lnTo>
                  <a:lnTo>
                    <a:pt x="776" y="133"/>
                  </a:lnTo>
                  <a:lnTo>
                    <a:pt x="776" y="134"/>
                  </a:lnTo>
                  <a:lnTo>
                    <a:pt x="777" y="134"/>
                  </a:lnTo>
                  <a:lnTo>
                    <a:pt x="778" y="134"/>
                  </a:lnTo>
                  <a:lnTo>
                    <a:pt x="778" y="134"/>
                  </a:lnTo>
                  <a:lnTo>
                    <a:pt x="778" y="133"/>
                  </a:lnTo>
                  <a:lnTo>
                    <a:pt x="779" y="132"/>
                  </a:lnTo>
                  <a:lnTo>
                    <a:pt x="782" y="131"/>
                  </a:lnTo>
                  <a:lnTo>
                    <a:pt x="783" y="130"/>
                  </a:lnTo>
                  <a:lnTo>
                    <a:pt x="785" y="129"/>
                  </a:lnTo>
                  <a:lnTo>
                    <a:pt x="786" y="128"/>
                  </a:lnTo>
                  <a:lnTo>
                    <a:pt x="787" y="128"/>
                  </a:lnTo>
                  <a:lnTo>
                    <a:pt x="789" y="128"/>
                  </a:lnTo>
                  <a:lnTo>
                    <a:pt x="790" y="128"/>
                  </a:lnTo>
                  <a:lnTo>
                    <a:pt x="791" y="127"/>
                  </a:lnTo>
                  <a:lnTo>
                    <a:pt x="790" y="127"/>
                  </a:lnTo>
                  <a:lnTo>
                    <a:pt x="788" y="125"/>
                  </a:lnTo>
                  <a:lnTo>
                    <a:pt x="786" y="123"/>
                  </a:lnTo>
                  <a:lnTo>
                    <a:pt x="785" y="120"/>
                  </a:lnTo>
                  <a:lnTo>
                    <a:pt x="785" y="117"/>
                  </a:lnTo>
                  <a:lnTo>
                    <a:pt x="785" y="115"/>
                  </a:lnTo>
                  <a:lnTo>
                    <a:pt x="785" y="113"/>
                  </a:lnTo>
                  <a:lnTo>
                    <a:pt x="785" y="111"/>
                  </a:lnTo>
                  <a:lnTo>
                    <a:pt x="785" y="108"/>
                  </a:lnTo>
                  <a:lnTo>
                    <a:pt x="784" y="105"/>
                  </a:lnTo>
                  <a:lnTo>
                    <a:pt x="783" y="104"/>
                  </a:lnTo>
                  <a:lnTo>
                    <a:pt x="782" y="103"/>
                  </a:lnTo>
                  <a:lnTo>
                    <a:pt x="780" y="102"/>
                  </a:lnTo>
                  <a:lnTo>
                    <a:pt x="778" y="102"/>
                  </a:lnTo>
                  <a:lnTo>
                    <a:pt x="775" y="101"/>
                  </a:lnTo>
                  <a:lnTo>
                    <a:pt x="772" y="101"/>
                  </a:lnTo>
                  <a:lnTo>
                    <a:pt x="771" y="101"/>
                  </a:lnTo>
                  <a:lnTo>
                    <a:pt x="769" y="100"/>
                  </a:lnTo>
                  <a:lnTo>
                    <a:pt x="767" y="99"/>
                  </a:lnTo>
                  <a:lnTo>
                    <a:pt x="764" y="99"/>
                  </a:lnTo>
                  <a:lnTo>
                    <a:pt x="761" y="98"/>
                  </a:lnTo>
                  <a:lnTo>
                    <a:pt x="760" y="98"/>
                  </a:lnTo>
                  <a:lnTo>
                    <a:pt x="759" y="97"/>
                  </a:lnTo>
                  <a:lnTo>
                    <a:pt x="759" y="96"/>
                  </a:lnTo>
                  <a:lnTo>
                    <a:pt x="758" y="95"/>
                  </a:lnTo>
                  <a:lnTo>
                    <a:pt x="759" y="94"/>
                  </a:lnTo>
                  <a:lnTo>
                    <a:pt x="759" y="91"/>
                  </a:lnTo>
                  <a:lnTo>
                    <a:pt x="760" y="89"/>
                  </a:lnTo>
                  <a:lnTo>
                    <a:pt x="761" y="86"/>
                  </a:lnTo>
                  <a:lnTo>
                    <a:pt x="761" y="84"/>
                  </a:lnTo>
                  <a:lnTo>
                    <a:pt x="760" y="83"/>
                  </a:lnTo>
                  <a:lnTo>
                    <a:pt x="760" y="82"/>
                  </a:lnTo>
                  <a:lnTo>
                    <a:pt x="759" y="82"/>
                  </a:lnTo>
                  <a:lnTo>
                    <a:pt x="757" y="81"/>
                  </a:lnTo>
                  <a:lnTo>
                    <a:pt x="757" y="80"/>
                  </a:lnTo>
                  <a:lnTo>
                    <a:pt x="755" y="80"/>
                  </a:lnTo>
                  <a:lnTo>
                    <a:pt x="753" y="80"/>
                  </a:lnTo>
                  <a:lnTo>
                    <a:pt x="751" y="79"/>
                  </a:lnTo>
                  <a:lnTo>
                    <a:pt x="748" y="78"/>
                  </a:lnTo>
                  <a:lnTo>
                    <a:pt x="746" y="78"/>
                  </a:lnTo>
                  <a:lnTo>
                    <a:pt x="745" y="78"/>
                  </a:lnTo>
                  <a:lnTo>
                    <a:pt x="744" y="79"/>
                  </a:lnTo>
                  <a:lnTo>
                    <a:pt x="743" y="80"/>
                  </a:lnTo>
                  <a:lnTo>
                    <a:pt x="743" y="82"/>
                  </a:lnTo>
                  <a:lnTo>
                    <a:pt x="742" y="83"/>
                  </a:lnTo>
                  <a:lnTo>
                    <a:pt x="741" y="84"/>
                  </a:lnTo>
                  <a:lnTo>
                    <a:pt x="740" y="85"/>
                  </a:lnTo>
                  <a:lnTo>
                    <a:pt x="739" y="85"/>
                  </a:lnTo>
                  <a:lnTo>
                    <a:pt x="738" y="86"/>
                  </a:lnTo>
                  <a:lnTo>
                    <a:pt x="737" y="86"/>
                  </a:lnTo>
                  <a:lnTo>
                    <a:pt x="736" y="89"/>
                  </a:lnTo>
                  <a:lnTo>
                    <a:pt x="736" y="90"/>
                  </a:lnTo>
                  <a:lnTo>
                    <a:pt x="736" y="91"/>
                  </a:lnTo>
                  <a:lnTo>
                    <a:pt x="735" y="93"/>
                  </a:lnTo>
                  <a:lnTo>
                    <a:pt x="734" y="92"/>
                  </a:lnTo>
                  <a:lnTo>
                    <a:pt x="734" y="92"/>
                  </a:lnTo>
                  <a:lnTo>
                    <a:pt x="733" y="90"/>
                  </a:lnTo>
                  <a:lnTo>
                    <a:pt x="731" y="88"/>
                  </a:lnTo>
                  <a:lnTo>
                    <a:pt x="730" y="87"/>
                  </a:lnTo>
                  <a:lnTo>
                    <a:pt x="727" y="86"/>
                  </a:lnTo>
                  <a:lnTo>
                    <a:pt x="726" y="85"/>
                  </a:lnTo>
                  <a:lnTo>
                    <a:pt x="726" y="83"/>
                  </a:lnTo>
                  <a:lnTo>
                    <a:pt x="726" y="80"/>
                  </a:lnTo>
                  <a:lnTo>
                    <a:pt x="726" y="79"/>
                  </a:lnTo>
                  <a:lnTo>
                    <a:pt x="727" y="78"/>
                  </a:lnTo>
                  <a:lnTo>
                    <a:pt x="727" y="76"/>
                  </a:lnTo>
                  <a:lnTo>
                    <a:pt x="728" y="75"/>
                  </a:lnTo>
                  <a:lnTo>
                    <a:pt x="730" y="73"/>
                  </a:lnTo>
                  <a:lnTo>
                    <a:pt x="730" y="71"/>
                  </a:lnTo>
                  <a:lnTo>
                    <a:pt x="729" y="70"/>
                  </a:lnTo>
                  <a:lnTo>
                    <a:pt x="729" y="70"/>
                  </a:lnTo>
                  <a:lnTo>
                    <a:pt x="727" y="69"/>
                  </a:lnTo>
                  <a:lnTo>
                    <a:pt x="726" y="69"/>
                  </a:lnTo>
                  <a:lnTo>
                    <a:pt x="725" y="68"/>
                  </a:lnTo>
                  <a:lnTo>
                    <a:pt x="723" y="67"/>
                  </a:lnTo>
                  <a:lnTo>
                    <a:pt x="723" y="66"/>
                  </a:lnTo>
                  <a:lnTo>
                    <a:pt x="720" y="64"/>
                  </a:lnTo>
                  <a:lnTo>
                    <a:pt x="720" y="63"/>
                  </a:lnTo>
                  <a:lnTo>
                    <a:pt x="719" y="63"/>
                  </a:lnTo>
                  <a:lnTo>
                    <a:pt x="717" y="62"/>
                  </a:lnTo>
                  <a:lnTo>
                    <a:pt x="716" y="62"/>
                  </a:lnTo>
                  <a:lnTo>
                    <a:pt x="714" y="62"/>
                  </a:lnTo>
                  <a:lnTo>
                    <a:pt x="710" y="62"/>
                  </a:lnTo>
                  <a:lnTo>
                    <a:pt x="710" y="62"/>
                  </a:lnTo>
                  <a:lnTo>
                    <a:pt x="707" y="61"/>
                  </a:lnTo>
                  <a:lnTo>
                    <a:pt x="706" y="60"/>
                  </a:lnTo>
                  <a:lnTo>
                    <a:pt x="704" y="60"/>
                  </a:lnTo>
                  <a:lnTo>
                    <a:pt x="703" y="59"/>
                  </a:lnTo>
                  <a:lnTo>
                    <a:pt x="702" y="57"/>
                  </a:lnTo>
                  <a:lnTo>
                    <a:pt x="701" y="56"/>
                  </a:lnTo>
                  <a:lnTo>
                    <a:pt x="699" y="55"/>
                  </a:lnTo>
                  <a:lnTo>
                    <a:pt x="697" y="55"/>
                  </a:lnTo>
                  <a:lnTo>
                    <a:pt x="696" y="55"/>
                  </a:lnTo>
                  <a:lnTo>
                    <a:pt x="696" y="56"/>
                  </a:lnTo>
                  <a:lnTo>
                    <a:pt x="695" y="56"/>
                  </a:lnTo>
                  <a:lnTo>
                    <a:pt x="693" y="56"/>
                  </a:lnTo>
                  <a:lnTo>
                    <a:pt x="692" y="56"/>
                  </a:lnTo>
                  <a:lnTo>
                    <a:pt x="691" y="55"/>
                  </a:lnTo>
                  <a:lnTo>
                    <a:pt x="691" y="53"/>
                  </a:lnTo>
                  <a:lnTo>
                    <a:pt x="690" y="51"/>
                  </a:lnTo>
                  <a:lnTo>
                    <a:pt x="689" y="49"/>
                  </a:lnTo>
                  <a:lnTo>
                    <a:pt x="688" y="48"/>
                  </a:lnTo>
                  <a:lnTo>
                    <a:pt x="687" y="46"/>
                  </a:lnTo>
                  <a:lnTo>
                    <a:pt x="688" y="43"/>
                  </a:lnTo>
                  <a:lnTo>
                    <a:pt x="685" y="42"/>
                  </a:lnTo>
                  <a:lnTo>
                    <a:pt x="680" y="40"/>
                  </a:lnTo>
                  <a:lnTo>
                    <a:pt x="678" y="39"/>
                  </a:lnTo>
                  <a:lnTo>
                    <a:pt x="677" y="39"/>
                  </a:lnTo>
                  <a:lnTo>
                    <a:pt x="677" y="38"/>
                  </a:lnTo>
                  <a:lnTo>
                    <a:pt x="675" y="38"/>
                  </a:lnTo>
                  <a:lnTo>
                    <a:pt x="673" y="37"/>
                  </a:lnTo>
                  <a:lnTo>
                    <a:pt x="671" y="35"/>
                  </a:lnTo>
                  <a:lnTo>
                    <a:pt x="670" y="34"/>
                  </a:lnTo>
                  <a:lnTo>
                    <a:pt x="668" y="33"/>
                  </a:lnTo>
                  <a:lnTo>
                    <a:pt x="667" y="33"/>
                  </a:lnTo>
                  <a:lnTo>
                    <a:pt x="665" y="31"/>
                  </a:lnTo>
                  <a:lnTo>
                    <a:pt x="663" y="31"/>
                  </a:lnTo>
                  <a:lnTo>
                    <a:pt x="662" y="31"/>
                  </a:lnTo>
                  <a:lnTo>
                    <a:pt x="661" y="31"/>
                  </a:lnTo>
                  <a:lnTo>
                    <a:pt x="659" y="31"/>
                  </a:lnTo>
                  <a:lnTo>
                    <a:pt x="658" y="31"/>
                  </a:lnTo>
                  <a:lnTo>
                    <a:pt x="657" y="31"/>
                  </a:lnTo>
                  <a:lnTo>
                    <a:pt x="654" y="31"/>
                  </a:lnTo>
                  <a:lnTo>
                    <a:pt x="653" y="31"/>
                  </a:lnTo>
                  <a:lnTo>
                    <a:pt x="651" y="31"/>
                  </a:lnTo>
                  <a:lnTo>
                    <a:pt x="649" y="31"/>
                  </a:lnTo>
                  <a:lnTo>
                    <a:pt x="648" y="31"/>
                  </a:lnTo>
                  <a:lnTo>
                    <a:pt x="647" y="30"/>
                  </a:lnTo>
                  <a:lnTo>
                    <a:pt x="646" y="29"/>
                  </a:lnTo>
                  <a:lnTo>
                    <a:pt x="644" y="29"/>
                  </a:lnTo>
                  <a:lnTo>
                    <a:pt x="643" y="27"/>
                  </a:lnTo>
                  <a:lnTo>
                    <a:pt x="642" y="27"/>
                  </a:lnTo>
                  <a:lnTo>
                    <a:pt x="638" y="22"/>
                  </a:lnTo>
                  <a:lnTo>
                    <a:pt x="635" y="19"/>
                  </a:lnTo>
                  <a:lnTo>
                    <a:pt x="634" y="18"/>
                  </a:lnTo>
                  <a:lnTo>
                    <a:pt x="633" y="17"/>
                  </a:lnTo>
                  <a:lnTo>
                    <a:pt x="632" y="16"/>
                  </a:lnTo>
                  <a:lnTo>
                    <a:pt x="630" y="16"/>
                  </a:lnTo>
                  <a:lnTo>
                    <a:pt x="628" y="16"/>
                  </a:lnTo>
                  <a:lnTo>
                    <a:pt x="627" y="16"/>
                  </a:lnTo>
                  <a:lnTo>
                    <a:pt x="625" y="16"/>
                  </a:lnTo>
                  <a:lnTo>
                    <a:pt x="624" y="15"/>
                  </a:lnTo>
                  <a:lnTo>
                    <a:pt x="623" y="14"/>
                  </a:lnTo>
                  <a:lnTo>
                    <a:pt x="622" y="12"/>
                  </a:lnTo>
                  <a:lnTo>
                    <a:pt x="621" y="12"/>
                  </a:lnTo>
                  <a:lnTo>
                    <a:pt x="620" y="12"/>
                  </a:lnTo>
                  <a:lnTo>
                    <a:pt x="618" y="12"/>
                  </a:lnTo>
                  <a:lnTo>
                    <a:pt x="617" y="12"/>
                  </a:lnTo>
                  <a:lnTo>
                    <a:pt x="616" y="12"/>
                  </a:lnTo>
                  <a:lnTo>
                    <a:pt x="614" y="12"/>
                  </a:lnTo>
                  <a:lnTo>
                    <a:pt x="613" y="12"/>
                  </a:lnTo>
                  <a:lnTo>
                    <a:pt x="611" y="11"/>
                  </a:lnTo>
                  <a:lnTo>
                    <a:pt x="609" y="10"/>
                  </a:lnTo>
                  <a:lnTo>
                    <a:pt x="608" y="8"/>
                  </a:lnTo>
                  <a:lnTo>
                    <a:pt x="605" y="5"/>
                  </a:lnTo>
                  <a:lnTo>
                    <a:pt x="603" y="2"/>
                  </a:lnTo>
                  <a:lnTo>
                    <a:pt x="602" y="0"/>
                  </a:lnTo>
                  <a:lnTo>
                    <a:pt x="601" y="0"/>
                  </a:lnTo>
                  <a:lnTo>
                    <a:pt x="599" y="0"/>
                  </a:lnTo>
                  <a:lnTo>
                    <a:pt x="598" y="0"/>
                  </a:lnTo>
                  <a:lnTo>
                    <a:pt x="598" y="2"/>
                  </a:lnTo>
                  <a:lnTo>
                    <a:pt x="597" y="3"/>
                  </a:lnTo>
                  <a:lnTo>
                    <a:pt x="597" y="5"/>
                  </a:lnTo>
                  <a:lnTo>
                    <a:pt x="595" y="6"/>
                  </a:lnTo>
                  <a:lnTo>
                    <a:pt x="594" y="7"/>
                  </a:lnTo>
                  <a:lnTo>
                    <a:pt x="592" y="7"/>
                  </a:lnTo>
                  <a:lnTo>
                    <a:pt x="591" y="6"/>
                  </a:lnTo>
                  <a:lnTo>
                    <a:pt x="590" y="7"/>
                  </a:lnTo>
                  <a:lnTo>
                    <a:pt x="590" y="7"/>
                  </a:lnTo>
                  <a:lnTo>
                    <a:pt x="590" y="8"/>
                  </a:lnTo>
                  <a:lnTo>
                    <a:pt x="591" y="10"/>
                  </a:lnTo>
                  <a:lnTo>
                    <a:pt x="593" y="10"/>
                  </a:lnTo>
                  <a:lnTo>
                    <a:pt x="595" y="11"/>
                  </a:lnTo>
                  <a:lnTo>
                    <a:pt x="596" y="15"/>
                  </a:lnTo>
                  <a:lnTo>
                    <a:pt x="597" y="18"/>
                  </a:lnTo>
                  <a:lnTo>
                    <a:pt x="597" y="20"/>
                  </a:lnTo>
                  <a:lnTo>
                    <a:pt x="597" y="23"/>
                  </a:lnTo>
                  <a:lnTo>
                    <a:pt x="597" y="26"/>
                  </a:lnTo>
                  <a:lnTo>
                    <a:pt x="597" y="29"/>
                  </a:lnTo>
                  <a:lnTo>
                    <a:pt x="597" y="31"/>
                  </a:lnTo>
                  <a:lnTo>
                    <a:pt x="597" y="32"/>
                  </a:lnTo>
                  <a:lnTo>
                    <a:pt x="598" y="33"/>
                  </a:lnTo>
                  <a:lnTo>
                    <a:pt x="600" y="33"/>
                  </a:lnTo>
                  <a:lnTo>
                    <a:pt x="601" y="34"/>
                  </a:lnTo>
                  <a:lnTo>
                    <a:pt x="601" y="35"/>
                  </a:lnTo>
                  <a:lnTo>
                    <a:pt x="601" y="37"/>
                  </a:lnTo>
                  <a:lnTo>
                    <a:pt x="600" y="37"/>
                  </a:lnTo>
                  <a:lnTo>
                    <a:pt x="599" y="37"/>
                  </a:lnTo>
                  <a:lnTo>
                    <a:pt x="598" y="38"/>
                  </a:lnTo>
                  <a:lnTo>
                    <a:pt x="597" y="39"/>
                  </a:lnTo>
                  <a:lnTo>
                    <a:pt x="595" y="40"/>
                  </a:lnTo>
                  <a:lnTo>
                    <a:pt x="594" y="42"/>
                  </a:lnTo>
                  <a:lnTo>
                    <a:pt x="595" y="44"/>
                  </a:lnTo>
                  <a:lnTo>
                    <a:pt x="597" y="45"/>
                  </a:lnTo>
                  <a:lnTo>
                    <a:pt x="598" y="47"/>
                  </a:lnTo>
                  <a:lnTo>
                    <a:pt x="598" y="48"/>
                  </a:lnTo>
                  <a:lnTo>
                    <a:pt x="597" y="53"/>
                  </a:lnTo>
                  <a:lnTo>
                    <a:pt x="595" y="57"/>
                  </a:lnTo>
                  <a:lnTo>
                    <a:pt x="595" y="59"/>
                  </a:lnTo>
                  <a:lnTo>
                    <a:pt x="594" y="63"/>
                  </a:lnTo>
                  <a:lnTo>
                    <a:pt x="592" y="67"/>
                  </a:lnTo>
                  <a:lnTo>
                    <a:pt x="589" y="72"/>
                  </a:lnTo>
                  <a:lnTo>
                    <a:pt x="585" y="77"/>
                  </a:lnTo>
                  <a:lnTo>
                    <a:pt x="581" y="80"/>
                  </a:lnTo>
                  <a:lnTo>
                    <a:pt x="577" y="82"/>
                  </a:lnTo>
                  <a:lnTo>
                    <a:pt x="574" y="83"/>
                  </a:lnTo>
                  <a:lnTo>
                    <a:pt x="572" y="83"/>
                  </a:lnTo>
                  <a:lnTo>
                    <a:pt x="569" y="82"/>
                  </a:lnTo>
                  <a:lnTo>
                    <a:pt x="567" y="80"/>
                  </a:lnTo>
                  <a:lnTo>
                    <a:pt x="565" y="78"/>
                  </a:lnTo>
                  <a:lnTo>
                    <a:pt x="565" y="74"/>
                  </a:lnTo>
                  <a:lnTo>
                    <a:pt x="565" y="72"/>
                  </a:lnTo>
                  <a:lnTo>
                    <a:pt x="565" y="71"/>
                  </a:lnTo>
                  <a:lnTo>
                    <a:pt x="567" y="70"/>
                  </a:lnTo>
                  <a:lnTo>
                    <a:pt x="567" y="70"/>
                  </a:lnTo>
                  <a:lnTo>
                    <a:pt x="568" y="69"/>
                  </a:lnTo>
                  <a:lnTo>
                    <a:pt x="568" y="68"/>
                  </a:lnTo>
                  <a:lnTo>
                    <a:pt x="569" y="66"/>
                  </a:lnTo>
                  <a:lnTo>
                    <a:pt x="571" y="65"/>
                  </a:lnTo>
                  <a:lnTo>
                    <a:pt x="572" y="65"/>
                  </a:lnTo>
                  <a:lnTo>
                    <a:pt x="573" y="64"/>
                  </a:lnTo>
                  <a:lnTo>
                    <a:pt x="574" y="64"/>
                  </a:lnTo>
                  <a:lnTo>
                    <a:pt x="574" y="63"/>
                  </a:lnTo>
                  <a:lnTo>
                    <a:pt x="573" y="61"/>
                  </a:lnTo>
                  <a:lnTo>
                    <a:pt x="573" y="61"/>
                  </a:lnTo>
                  <a:lnTo>
                    <a:pt x="572" y="59"/>
                  </a:lnTo>
                  <a:lnTo>
                    <a:pt x="572" y="58"/>
                  </a:lnTo>
                  <a:lnTo>
                    <a:pt x="571" y="58"/>
                  </a:lnTo>
                  <a:lnTo>
                    <a:pt x="569" y="59"/>
                  </a:lnTo>
                  <a:lnTo>
                    <a:pt x="568" y="60"/>
                  </a:lnTo>
                  <a:lnTo>
                    <a:pt x="567" y="60"/>
                  </a:lnTo>
                  <a:lnTo>
                    <a:pt x="566" y="62"/>
                  </a:lnTo>
                  <a:lnTo>
                    <a:pt x="565" y="63"/>
                  </a:lnTo>
                  <a:lnTo>
                    <a:pt x="564" y="63"/>
                  </a:lnTo>
                  <a:lnTo>
                    <a:pt x="563" y="63"/>
                  </a:lnTo>
                  <a:lnTo>
                    <a:pt x="562" y="64"/>
                  </a:lnTo>
                  <a:lnTo>
                    <a:pt x="559" y="64"/>
                  </a:lnTo>
                  <a:lnTo>
                    <a:pt x="557" y="64"/>
                  </a:lnTo>
                  <a:lnTo>
                    <a:pt x="548" y="61"/>
                  </a:lnTo>
                  <a:lnTo>
                    <a:pt x="544" y="60"/>
                  </a:lnTo>
                  <a:lnTo>
                    <a:pt x="533" y="57"/>
                  </a:lnTo>
                  <a:lnTo>
                    <a:pt x="528" y="55"/>
                  </a:lnTo>
                  <a:lnTo>
                    <a:pt x="523" y="53"/>
                  </a:lnTo>
                  <a:lnTo>
                    <a:pt x="521" y="52"/>
                  </a:lnTo>
                  <a:lnTo>
                    <a:pt x="519" y="52"/>
                  </a:lnTo>
                  <a:lnTo>
                    <a:pt x="517" y="53"/>
                  </a:lnTo>
                  <a:lnTo>
                    <a:pt x="513" y="56"/>
                  </a:lnTo>
                  <a:lnTo>
                    <a:pt x="510" y="59"/>
                  </a:lnTo>
                  <a:lnTo>
                    <a:pt x="508" y="60"/>
                  </a:lnTo>
                  <a:lnTo>
                    <a:pt x="503" y="62"/>
                  </a:lnTo>
                  <a:lnTo>
                    <a:pt x="501" y="62"/>
                  </a:lnTo>
                  <a:lnTo>
                    <a:pt x="500" y="63"/>
                  </a:lnTo>
                  <a:lnTo>
                    <a:pt x="498" y="63"/>
                  </a:lnTo>
                  <a:lnTo>
                    <a:pt x="496" y="64"/>
                  </a:lnTo>
                  <a:lnTo>
                    <a:pt x="495" y="64"/>
                  </a:lnTo>
                  <a:lnTo>
                    <a:pt x="493" y="64"/>
                  </a:lnTo>
                  <a:lnTo>
                    <a:pt x="492" y="64"/>
                  </a:lnTo>
                  <a:lnTo>
                    <a:pt x="490" y="65"/>
                  </a:lnTo>
                  <a:lnTo>
                    <a:pt x="486" y="65"/>
                  </a:lnTo>
                  <a:lnTo>
                    <a:pt x="484" y="65"/>
                  </a:lnTo>
                  <a:lnTo>
                    <a:pt x="482" y="65"/>
                  </a:lnTo>
                  <a:lnTo>
                    <a:pt x="481" y="65"/>
                  </a:lnTo>
                  <a:lnTo>
                    <a:pt x="480" y="64"/>
                  </a:lnTo>
                  <a:lnTo>
                    <a:pt x="478" y="63"/>
                  </a:lnTo>
                  <a:lnTo>
                    <a:pt x="477" y="62"/>
                  </a:lnTo>
                  <a:lnTo>
                    <a:pt x="476" y="60"/>
                  </a:lnTo>
                  <a:lnTo>
                    <a:pt x="476" y="60"/>
                  </a:lnTo>
                  <a:lnTo>
                    <a:pt x="475" y="59"/>
                  </a:lnTo>
                  <a:lnTo>
                    <a:pt x="474" y="59"/>
                  </a:lnTo>
                  <a:lnTo>
                    <a:pt x="473" y="59"/>
                  </a:lnTo>
                  <a:lnTo>
                    <a:pt x="470" y="61"/>
                  </a:lnTo>
                  <a:lnTo>
                    <a:pt x="467" y="64"/>
                  </a:lnTo>
                  <a:lnTo>
                    <a:pt x="466" y="64"/>
                  </a:lnTo>
                  <a:lnTo>
                    <a:pt x="465" y="64"/>
                  </a:lnTo>
                  <a:lnTo>
                    <a:pt x="466" y="61"/>
                  </a:lnTo>
                  <a:lnTo>
                    <a:pt x="468" y="56"/>
                  </a:lnTo>
                  <a:lnTo>
                    <a:pt x="469" y="52"/>
                  </a:lnTo>
                  <a:lnTo>
                    <a:pt x="471" y="49"/>
                  </a:lnTo>
                  <a:lnTo>
                    <a:pt x="471" y="47"/>
                  </a:lnTo>
                  <a:lnTo>
                    <a:pt x="473" y="45"/>
                  </a:lnTo>
                  <a:lnTo>
                    <a:pt x="474" y="43"/>
                  </a:lnTo>
                  <a:lnTo>
                    <a:pt x="475" y="41"/>
                  </a:lnTo>
                  <a:lnTo>
                    <a:pt x="476" y="40"/>
                  </a:lnTo>
                  <a:lnTo>
                    <a:pt x="477" y="39"/>
                  </a:lnTo>
                  <a:lnTo>
                    <a:pt x="479" y="35"/>
                  </a:lnTo>
                  <a:lnTo>
                    <a:pt x="479" y="35"/>
                  </a:lnTo>
                  <a:lnTo>
                    <a:pt x="479" y="33"/>
                  </a:lnTo>
                  <a:lnTo>
                    <a:pt x="480" y="31"/>
                  </a:lnTo>
                  <a:lnTo>
                    <a:pt x="480" y="31"/>
                  </a:lnTo>
                  <a:lnTo>
                    <a:pt x="479" y="30"/>
                  </a:lnTo>
                  <a:lnTo>
                    <a:pt x="478" y="30"/>
                  </a:lnTo>
                  <a:lnTo>
                    <a:pt x="476" y="27"/>
                  </a:lnTo>
                  <a:lnTo>
                    <a:pt x="476" y="26"/>
                  </a:lnTo>
                  <a:lnTo>
                    <a:pt x="476" y="24"/>
                  </a:lnTo>
                  <a:lnTo>
                    <a:pt x="476" y="23"/>
                  </a:lnTo>
                  <a:lnTo>
                    <a:pt x="476" y="22"/>
                  </a:lnTo>
                  <a:lnTo>
                    <a:pt x="476" y="20"/>
                  </a:lnTo>
                  <a:lnTo>
                    <a:pt x="476" y="19"/>
                  </a:lnTo>
                  <a:lnTo>
                    <a:pt x="475" y="18"/>
                  </a:lnTo>
                  <a:lnTo>
                    <a:pt x="475" y="17"/>
                  </a:lnTo>
                  <a:lnTo>
                    <a:pt x="475" y="16"/>
                  </a:lnTo>
                  <a:lnTo>
                    <a:pt x="475" y="15"/>
                  </a:lnTo>
                  <a:lnTo>
                    <a:pt x="476" y="12"/>
                  </a:lnTo>
                  <a:lnTo>
                    <a:pt x="476" y="12"/>
                  </a:lnTo>
                  <a:lnTo>
                    <a:pt x="474" y="11"/>
                  </a:lnTo>
                  <a:lnTo>
                    <a:pt x="473" y="11"/>
                  </a:lnTo>
                  <a:lnTo>
                    <a:pt x="471" y="11"/>
                  </a:lnTo>
                  <a:lnTo>
                    <a:pt x="469" y="12"/>
                  </a:lnTo>
                  <a:lnTo>
                    <a:pt x="468" y="13"/>
                  </a:lnTo>
                  <a:lnTo>
                    <a:pt x="467" y="14"/>
                  </a:lnTo>
                  <a:lnTo>
                    <a:pt x="466" y="15"/>
                  </a:lnTo>
                  <a:lnTo>
                    <a:pt x="465" y="15"/>
                  </a:lnTo>
                  <a:lnTo>
                    <a:pt x="463" y="15"/>
                  </a:lnTo>
                  <a:lnTo>
                    <a:pt x="461" y="15"/>
                  </a:lnTo>
                  <a:lnTo>
                    <a:pt x="460" y="15"/>
                  </a:lnTo>
                  <a:lnTo>
                    <a:pt x="459" y="15"/>
                  </a:lnTo>
                  <a:lnTo>
                    <a:pt x="458" y="14"/>
                  </a:lnTo>
                  <a:lnTo>
                    <a:pt x="456" y="14"/>
                  </a:lnTo>
                  <a:lnTo>
                    <a:pt x="455" y="14"/>
                  </a:lnTo>
                  <a:lnTo>
                    <a:pt x="455" y="15"/>
                  </a:lnTo>
                  <a:lnTo>
                    <a:pt x="453" y="16"/>
                  </a:lnTo>
                  <a:lnTo>
                    <a:pt x="452" y="17"/>
                  </a:lnTo>
                  <a:lnTo>
                    <a:pt x="452" y="18"/>
                  </a:lnTo>
                  <a:lnTo>
                    <a:pt x="451" y="18"/>
                  </a:lnTo>
                  <a:lnTo>
                    <a:pt x="450" y="18"/>
                  </a:lnTo>
                  <a:lnTo>
                    <a:pt x="449" y="17"/>
                  </a:lnTo>
                  <a:lnTo>
                    <a:pt x="447" y="16"/>
                  </a:lnTo>
                  <a:lnTo>
                    <a:pt x="446" y="15"/>
                  </a:lnTo>
                  <a:lnTo>
                    <a:pt x="445" y="15"/>
                  </a:lnTo>
                  <a:lnTo>
                    <a:pt x="444" y="14"/>
                  </a:lnTo>
                  <a:lnTo>
                    <a:pt x="443" y="14"/>
                  </a:lnTo>
                  <a:lnTo>
                    <a:pt x="441" y="15"/>
                  </a:lnTo>
                  <a:lnTo>
                    <a:pt x="440" y="15"/>
                  </a:lnTo>
                  <a:lnTo>
                    <a:pt x="439" y="16"/>
                  </a:lnTo>
                  <a:lnTo>
                    <a:pt x="438" y="16"/>
                  </a:lnTo>
                  <a:lnTo>
                    <a:pt x="436" y="16"/>
                  </a:lnTo>
                  <a:lnTo>
                    <a:pt x="434" y="18"/>
                  </a:lnTo>
                  <a:lnTo>
                    <a:pt x="431" y="19"/>
                  </a:lnTo>
                  <a:lnTo>
                    <a:pt x="427" y="19"/>
                  </a:lnTo>
                  <a:lnTo>
                    <a:pt x="424" y="19"/>
                  </a:lnTo>
                  <a:lnTo>
                    <a:pt x="421" y="19"/>
                  </a:lnTo>
                  <a:lnTo>
                    <a:pt x="419" y="18"/>
                  </a:lnTo>
                  <a:lnTo>
                    <a:pt x="417" y="18"/>
                  </a:lnTo>
                  <a:lnTo>
                    <a:pt x="414" y="17"/>
                  </a:lnTo>
                  <a:lnTo>
                    <a:pt x="412" y="16"/>
                  </a:lnTo>
                  <a:lnTo>
                    <a:pt x="410" y="16"/>
                  </a:lnTo>
                  <a:lnTo>
                    <a:pt x="407" y="16"/>
                  </a:lnTo>
                  <a:lnTo>
                    <a:pt x="406" y="18"/>
                  </a:lnTo>
                  <a:lnTo>
                    <a:pt x="402" y="19"/>
                  </a:lnTo>
                  <a:lnTo>
                    <a:pt x="398" y="20"/>
                  </a:lnTo>
                  <a:lnTo>
                    <a:pt x="398" y="22"/>
                  </a:lnTo>
                  <a:lnTo>
                    <a:pt x="394" y="26"/>
                  </a:lnTo>
                  <a:lnTo>
                    <a:pt x="392" y="27"/>
                  </a:lnTo>
                  <a:lnTo>
                    <a:pt x="389" y="29"/>
                  </a:lnTo>
                  <a:lnTo>
                    <a:pt x="387" y="30"/>
                  </a:lnTo>
                  <a:lnTo>
                    <a:pt x="383" y="29"/>
                  </a:lnTo>
                  <a:lnTo>
                    <a:pt x="380" y="29"/>
                  </a:lnTo>
                  <a:lnTo>
                    <a:pt x="377" y="30"/>
                  </a:lnTo>
                  <a:lnTo>
                    <a:pt x="374" y="30"/>
                  </a:lnTo>
                  <a:lnTo>
                    <a:pt x="371" y="29"/>
                  </a:lnTo>
                  <a:lnTo>
                    <a:pt x="369" y="27"/>
                  </a:lnTo>
                  <a:lnTo>
                    <a:pt x="364" y="26"/>
                  </a:lnTo>
                  <a:lnTo>
                    <a:pt x="359" y="23"/>
                  </a:lnTo>
                  <a:lnTo>
                    <a:pt x="356" y="22"/>
                  </a:lnTo>
                  <a:lnTo>
                    <a:pt x="354" y="18"/>
                  </a:lnTo>
                  <a:lnTo>
                    <a:pt x="353" y="15"/>
                  </a:lnTo>
                  <a:lnTo>
                    <a:pt x="350" y="10"/>
                  </a:lnTo>
                  <a:lnTo>
                    <a:pt x="345" y="7"/>
                  </a:lnTo>
                  <a:lnTo>
                    <a:pt x="338" y="5"/>
                  </a:lnTo>
                  <a:lnTo>
                    <a:pt x="336" y="4"/>
                  </a:lnTo>
                  <a:lnTo>
                    <a:pt x="333" y="5"/>
                  </a:lnTo>
                  <a:lnTo>
                    <a:pt x="330" y="7"/>
                  </a:lnTo>
                  <a:lnTo>
                    <a:pt x="329" y="8"/>
                  </a:lnTo>
                  <a:lnTo>
                    <a:pt x="330" y="11"/>
                  </a:lnTo>
                  <a:lnTo>
                    <a:pt x="332" y="11"/>
                  </a:lnTo>
                  <a:lnTo>
                    <a:pt x="335" y="12"/>
                  </a:lnTo>
                  <a:lnTo>
                    <a:pt x="338" y="14"/>
                  </a:lnTo>
                  <a:lnTo>
                    <a:pt x="339" y="16"/>
                  </a:lnTo>
                  <a:lnTo>
                    <a:pt x="339" y="18"/>
                  </a:lnTo>
                  <a:lnTo>
                    <a:pt x="339" y="20"/>
                  </a:lnTo>
                  <a:lnTo>
                    <a:pt x="338" y="23"/>
                  </a:lnTo>
                  <a:lnTo>
                    <a:pt x="337" y="23"/>
                  </a:lnTo>
                  <a:lnTo>
                    <a:pt x="336" y="25"/>
                  </a:lnTo>
                  <a:lnTo>
                    <a:pt x="335" y="26"/>
                  </a:lnTo>
                  <a:lnTo>
                    <a:pt x="334" y="26"/>
                  </a:lnTo>
                  <a:lnTo>
                    <a:pt x="331" y="26"/>
                  </a:lnTo>
                  <a:lnTo>
                    <a:pt x="330" y="27"/>
                  </a:lnTo>
                  <a:lnTo>
                    <a:pt x="327" y="27"/>
                  </a:lnTo>
                  <a:lnTo>
                    <a:pt x="324" y="29"/>
                  </a:lnTo>
                  <a:lnTo>
                    <a:pt x="323" y="30"/>
                  </a:lnTo>
                  <a:lnTo>
                    <a:pt x="320" y="31"/>
                  </a:lnTo>
                  <a:lnTo>
                    <a:pt x="318" y="31"/>
                  </a:lnTo>
                  <a:lnTo>
                    <a:pt x="316" y="31"/>
                  </a:lnTo>
                  <a:lnTo>
                    <a:pt x="315" y="31"/>
                  </a:lnTo>
                  <a:lnTo>
                    <a:pt x="313" y="33"/>
                  </a:lnTo>
                  <a:lnTo>
                    <a:pt x="311" y="35"/>
                  </a:lnTo>
                  <a:lnTo>
                    <a:pt x="308" y="37"/>
                  </a:lnTo>
                  <a:lnTo>
                    <a:pt x="306" y="39"/>
                  </a:lnTo>
                  <a:lnTo>
                    <a:pt x="304" y="41"/>
                  </a:lnTo>
                  <a:lnTo>
                    <a:pt x="302" y="42"/>
                  </a:lnTo>
                  <a:lnTo>
                    <a:pt x="299" y="42"/>
                  </a:lnTo>
                  <a:lnTo>
                    <a:pt x="297" y="42"/>
                  </a:lnTo>
                  <a:lnTo>
                    <a:pt x="290" y="44"/>
                  </a:lnTo>
                  <a:lnTo>
                    <a:pt x="286" y="45"/>
                  </a:lnTo>
                  <a:lnTo>
                    <a:pt x="283" y="49"/>
                  </a:lnTo>
                  <a:lnTo>
                    <a:pt x="280" y="54"/>
                  </a:lnTo>
                  <a:lnTo>
                    <a:pt x="278" y="57"/>
                  </a:lnTo>
                  <a:lnTo>
                    <a:pt x="278" y="60"/>
                  </a:lnTo>
                  <a:lnTo>
                    <a:pt x="280" y="62"/>
                  </a:lnTo>
                  <a:lnTo>
                    <a:pt x="283" y="65"/>
                  </a:lnTo>
                  <a:lnTo>
                    <a:pt x="283" y="67"/>
                  </a:lnTo>
                  <a:lnTo>
                    <a:pt x="281" y="67"/>
                  </a:lnTo>
                  <a:lnTo>
                    <a:pt x="279" y="67"/>
                  </a:lnTo>
                  <a:lnTo>
                    <a:pt x="277" y="67"/>
                  </a:lnTo>
                  <a:lnTo>
                    <a:pt x="274" y="67"/>
                  </a:lnTo>
                  <a:lnTo>
                    <a:pt x="273" y="68"/>
                  </a:lnTo>
                  <a:lnTo>
                    <a:pt x="272" y="70"/>
                  </a:lnTo>
                  <a:lnTo>
                    <a:pt x="271" y="71"/>
                  </a:lnTo>
                  <a:lnTo>
                    <a:pt x="273" y="74"/>
                  </a:lnTo>
                  <a:lnTo>
                    <a:pt x="274" y="78"/>
                  </a:lnTo>
                  <a:lnTo>
                    <a:pt x="275" y="79"/>
                  </a:lnTo>
                  <a:lnTo>
                    <a:pt x="275" y="81"/>
                  </a:lnTo>
                  <a:lnTo>
                    <a:pt x="277" y="82"/>
                  </a:lnTo>
                  <a:lnTo>
                    <a:pt x="278" y="83"/>
                  </a:lnTo>
                  <a:lnTo>
                    <a:pt x="280" y="85"/>
                  </a:lnTo>
                  <a:lnTo>
                    <a:pt x="280" y="86"/>
                  </a:lnTo>
                  <a:lnTo>
                    <a:pt x="280" y="88"/>
                  </a:lnTo>
                  <a:lnTo>
                    <a:pt x="279" y="89"/>
                  </a:lnTo>
                  <a:lnTo>
                    <a:pt x="278" y="90"/>
                  </a:lnTo>
                  <a:lnTo>
                    <a:pt x="278" y="92"/>
                  </a:lnTo>
                  <a:lnTo>
                    <a:pt x="278" y="93"/>
                  </a:lnTo>
                  <a:lnTo>
                    <a:pt x="279" y="94"/>
                  </a:lnTo>
                  <a:lnTo>
                    <a:pt x="279" y="95"/>
                  </a:lnTo>
                  <a:lnTo>
                    <a:pt x="279" y="97"/>
                  </a:lnTo>
                  <a:lnTo>
                    <a:pt x="278" y="98"/>
                  </a:lnTo>
                  <a:lnTo>
                    <a:pt x="277" y="98"/>
                  </a:lnTo>
                  <a:lnTo>
                    <a:pt x="275" y="98"/>
                  </a:lnTo>
                  <a:lnTo>
                    <a:pt x="274" y="99"/>
                  </a:lnTo>
                  <a:lnTo>
                    <a:pt x="274" y="101"/>
                  </a:lnTo>
                  <a:lnTo>
                    <a:pt x="275" y="102"/>
                  </a:lnTo>
                  <a:lnTo>
                    <a:pt x="275" y="105"/>
                  </a:lnTo>
                  <a:lnTo>
                    <a:pt x="274" y="107"/>
                  </a:lnTo>
                  <a:lnTo>
                    <a:pt x="273" y="108"/>
                  </a:lnTo>
                  <a:lnTo>
                    <a:pt x="270" y="108"/>
                  </a:lnTo>
                  <a:lnTo>
                    <a:pt x="269" y="109"/>
                  </a:lnTo>
                  <a:lnTo>
                    <a:pt x="269" y="111"/>
                  </a:lnTo>
                  <a:lnTo>
                    <a:pt x="270" y="115"/>
                  </a:lnTo>
                  <a:lnTo>
                    <a:pt x="269" y="117"/>
                  </a:lnTo>
                  <a:lnTo>
                    <a:pt x="267" y="119"/>
                  </a:lnTo>
                  <a:lnTo>
                    <a:pt x="266" y="119"/>
                  </a:lnTo>
                  <a:lnTo>
                    <a:pt x="264" y="119"/>
                  </a:lnTo>
                  <a:lnTo>
                    <a:pt x="263" y="119"/>
                  </a:lnTo>
                  <a:lnTo>
                    <a:pt x="260" y="117"/>
                  </a:lnTo>
                  <a:lnTo>
                    <a:pt x="259" y="118"/>
                  </a:lnTo>
                  <a:lnTo>
                    <a:pt x="258" y="119"/>
                  </a:lnTo>
                  <a:lnTo>
                    <a:pt x="258" y="121"/>
                  </a:lnTo>
                  <a:lnTo>
                    <a:pt x="256" y="124"/>
                  </a:lnTo>
                  <a:lnTo>
                    <a:pt x="253" y="128"/>
                  </a:lnTo>
                  <a:lnTo>
                    <a:pt x="250" y="133"/>
                  </a:lnTo>
                  <a:lnTo>
                    <a:pt x="247" y="139"/>
                  </a:lnTo>
                  <a:lnTo>
                    <a:pt x="248" y="140"/>
                  </a:lnTo>
                  <a:lnTo>
                    <a:pt x="249" y="143"/>
                  </a:lnTo>
                  <a:lnTo>
                    <a:pt x="255" y="151"/>
                  </a:lnTo>
                  <a:lnTo>
                    <a:pt x="256" y="156"/>
                  </a:lnTo>
                  <a:lnTo>
                    <a:pt x="256" y="159"/>
                  </a:lnTo>
                  <a:lnTo>
                    <a:pt x="255" y="160"/>
                  </a:lnTo>
                  <a:lnTo>
                    <a:pt x="253" y="159"/>
                  </a:lnTo>
                  <a:lnTo>
                    <a:pt x="250" y="158"/>
                  </a:lnTo>
                  <a:lnTo>
                    <a:pt x="244" y="154"/>
                  </a:lnTo>
                  <a:lnTo>
                    <a:pt x="242" y="155"/>
                  </a:lnTo>
                  <a:lnTo>
                    <a:pt x="241" y="156"/>
                  </a:lnTo>
                  <a:lnTo>
                    <a:pt x="239" y="157"/>
                  </a:lnTo>
                  <a:lnTo>
                    <a:pt x="238" y="161"/>
                  </a:lnTo>
                  <a:lnTo>
                    <a:pt x="237" y="163"/>
                  </a:lnTo>
                  <a:lnTo>
                    <a:pt x="237" y="165"/>
                  </a:lnTo>
                  <a:lnTo>
                    <a:pt x="236" y="169"/>
                  </a:lnTo>
                  <a:lnTo>
                    <a:pt x="235" y="170"/>
                  </a:lnTo>
                  <a:lnTo>
                    <a:pt x="233" y="172"/>
                  </a:lnTo>
                  <a:lnTo>
                    <a:pt x="232" y="173"/>
                  </a:lnTo>
                  <a:lnTo>
                    <a:pt x="231" y="175"/>
                  </a:lnTo>
                  <a:lnTo>
                    <a:pt x="231" y="178"/>
                  </a:lnTo>
                  <a:lnTo>
                    <a:pt x="231" y="181"/>
                  </a:lnTo>
                  <a:lnTo>
                    <a:pt x="230" y="184"/>
                  </a:lnTo>
                  <a:lnTo>
                    <a:pt x="228" y="188"/>
                  </a:lnTo>
                  <a:lnTo>
                    <a:pt x="226" y="189"/>
                  </a:lnTo>
                  <a:lnTo>
                    <a:pt x="221" y="191"/>
                  </a:lnTo>
                  <a:lnTo>
                    <a:pt x="215" y="191"/>
                  </a:lnTo>
                  <a:lnTo>
                    <a:pt x="210" y="191"/>
                  </a:lnTo>
                  <a:lnTo>
                    <a:pt x="204" y="190"/>
                  </a:lnTo>
                  <a:lnTo>
                    <a:pt x="202" y="188"/>
                  </a:lnTo>
                  <a:lnTo>
                    <a:pt x="202" y="185"/>
                  </a:lnTo>
                  <a:lnTo>
                    <a:pt x="202" y="183"/>
                  </a:lnTo>
                  <a:lnTo>
                    <a:pt x="202" y="181"/>
                  </a:lnTo>
                  <a:lnTo>
                    <a:pt x="201" y="180"/>
                  </a:lnTo>
                  <a:lnTo>
                    <a:pt x="199" y="180"/>
                  </a:lnTo>
                  <a:lnTo>
                    <a:pt x="197" y="180"/>
                  </a:lnTo>
                  <a:lnTo>
                    <a:pt x="194" y="183"/>
                  </a:lnTo>
                  <a:lnTo>
                    <a:pt x="190" y="184"/>
                  </a:lnTo>
                  <a:lnTo>
                    <a:pt x="177" y="185"/>
                  </a:lnTo>
                  <a:lnTo>
                    <a:pt x="170" y="183"/>
                  </a:lnTo>
                  <a:lnTo>
                    <a:pt x="165" y="181"/>
                  </a:lnTo>
                  <a:lnTo>
                    <a:pt x="161" y="181"/>
                  </a:lnTo>
                  <a:lnTo>
                    <a:pt x="158" y="183"/>
                  </a:lnTo>
                  <a:lnTo>
                    <a:pt x="156" y="185"/>
                  </a:lnTo>
                  <a:lnTo>
                    <a:pt x="154" y="188"/>
                  </a:lnTo>
                  <a:lnTo>
                    <a:pt x="155" y="193"/>
                  </a:lnTo>
                  <a:lnTo>
                    <a:pt x="157" y="198"/>
                  </a:lnTo>
                  <a:lnTo>
                    <a:pt x="157" y="201"/>
                  </a:lnTo>
                  <a:lnTo>
                    <a:pt x="155" y="204"/>
                  </a:lnTo>
                  <a:lnTo>
                    <a:pt x="152" y="208"/>
                  </a:lnTo>
                  <a:lnTo>
                    <a:pt x="150" y="211"/>
                  </a:lnTo>
                  <a:lnTo>
                    <a:pt x="147" y="211"/>
                  </a:lnTo>
                  <a:lnTo>
                    <a:pt x="145" y="213"/>
                  </a:lnTo>
                  <a:lnTo>
                    <a:pt x="141" y="215"/>
                  </a:lnTo>
                  <a:lnTo>
                    <a:pt x="138" y="217"/>
                  </a:lnTo>
                  <a:lnTo>
                    <a:pt x="137" y="217"/>
                  </a:lnTo>
                  <a:lnTo>
                    <a:pt x="137" y="220"/>
                  </a:lnTo>
                  <a:lnTo>
                    <a:pt x="138" y="225"/>
                  </a:lnTo>
                  <a:lnTo>
                    <a:pt x="137" y="227"/>
                  </a:lnTo>
                  <a:lnTo>
                    <a:pt x="136" y="228"/>
                  </a:lnTo>
                  <a:lnTo>
                    <a:pt x="132" y="228"/>
                  </a:lnTo>
                  <a:lnTo>
                    <a:pt x="129" y="228"/>
                  </a:lnTo>
                  <a:lnTo>
                    <a:pt x="124" y="225"/>
                  </a:lnTo>
                  <a:lnTo>
                    <a:pt x="123" y="223"/>
                  </a:lnTo>
                  <a:lnTo>
                    <a:pt x="122" y="222"/>
                  </a:lnTo>
                  <a:lnTo>
                    <a:pt x="120" y="222"/>
                  </a:lnTo>
                  <a:lnTo>
                    <a:pt x="119" y="224"/>
                  </a:lnTo>
                  <a:lnTo>
                    <a:pt x="117" y="229"/>
                  </a:lnTo>
                  <a:lnTo>
                    <a:pt x="117" y="232"/>
                  </a:lnTo>
                  <a:lnTo>
                    <a:pt x="119" y="236"/>
                  </a:lnTo>
                  <a:lnTo>
                    <a:pt x="121" y="242"/>
                  </a:lnTo>
                  <a:lnTo>
                    <a:pt x="121" y="248"/>
                  </a:lnTo>
                  <a:lnTo>
                    <a:pt x="121" y="253"/>
                  </a:lnTo>
                  <a:lnTo>
                    <a:pt x="120" y="258"/>
                  </a:lnTo>
                  <a:lnTo>
                    <a:pt x="118" y="262"/>
                  </a:lnTo>
                  <a:lnTo>
                    <a:pt x="117" y="266"/>
                  </a:lnTo>
                  <a:lnTo>
                    <a:pt x="119" y="266"/>
                  </a:lnTo>
                  <a:lnTo>
                    <a:pt x="121" y="266"/>
                  </a:lnTo>
                  <a:lnTo>
                    <a:pt x="122" y="268"/>
                  </a:lnTo>
                  <a:lnTo>
                    <a:pt x="123" y="271"/>
                  </a:lnTo>
                  <a:lnTo>
                    <a:pt x="123" y="273"/>
                  </a:lnTo>
                  <a:lnTo>
                    <a:pt x="124" y="274"/>
                  </a:lnTo>
                  <a:lnTo>
                    <a:pt x="126" y="274"/>
                  </a:lnTo>
                  <a:lnTo>
                    <a:pt x="127" y="273"/>
                  </a:lnTo>
                  <a:lnTo>
                    <a:pt x="129" y="275"/>
                  </a:lnTo>
                  <a:lnTo>
                    <a:pt x="130" y="277"/>
                  </a:lnTo>
                  <a:lnTo>
                    <a:pt x="130" y="279"/>
                  </a:lnTo>
                  <a:lnTo>
                    <a:pt x="129" y="283"/>
                  </a:lnTo>
                  <a:lnTo>
                    <a:pt x="128" y="285"/>
                  </a:lnTo>
                  <a:lnTo>
                    <a:pt x="127" y="289"/>
                  </a:lnTo>
                  <a:lnTo>
                    <a:pt x="127" y="291"/>
                  </a:lnTo>
                  <a:lnTo>
                    <a:pt x="128" y="294"/>
                  </a:lnTo>
                  <a:lnTo>
                    <a:pt x="130" y="297"/>
                  </a:lnTo>
                  <a:lnTo>
                    <a:pt x="131" y="301"/>
                  </a:lnTo>
                  <a:lnTo>
                    <a:pt x="131" y="304"/>
                  </a:lnTo>
                  <a:lnTo>
                    <a:pt x="131" y="307"/>
                  </a:lnTo>
                  <a:lnTo>
                    <a:pt x="129" y="309"/>
                  </a:lnTo>
                  <a:lnTo>
                    <a:pt x="128" y="313"/>
                  </a:lnTo>
                  <a:lnTo>
                    <a:pt x="126" y="317"/>
                  </a:lnTo>
                  <a:lnTo>
                    <a:pt x="127" y="322"/>
                  </a:lnTo>
                  <a:lnTo>
                    <a:pt x="126" y="326"/>
                  </a:lnTo>
                  <a:lnTo>
                    <a:pt x="128" y="328"/>
                  </a:lnTo>
                  <a:lnTo>
                    <a:pt x="128" y="329"/>
                  </a:lnTo>
                  <a:lnTo>
                    <a:pt x="130" y="331"/>
                  </a:lnTo>
                  <a:lnTo>
                    <a:pt x="134" y="333"/>
                  </a:lnTo>
                  <a:lnTo>
                    <a:pt x="136" y="334"/>
                  </a:lnTo>
                  <a:lnTo>
                    <a:pt x="139" y="336"/>
                  </a:lnTo>
                  <a:lnTo>
                    <a:pt x="146" y="337"/>
                  </a:lnTo>
                  <a:lnTo>
                    <a:pt x="161" y="336"/>
                  </a:lnTo>
                  <a:lnTo>
                    <a:pt x="165" y="336"/>
                  </a:lnTo>
                  <a:lnTo>
                    <a:pt x="167" y="337"/>
                  </a:lnTo>
                  <a:lnTo>
                    <a:pt x="169" y="339"/>
                  </a:lnTo>
                  <a:lnTo>
                    <a:pt x="169" y="341"/>
                  </a:lnTo>
                  <a:lnTo>
                    <a:pt x="169" y="343"/>
                  </a:lnTo>
                  <a:lnTo>
                    <a:pt x="169" y="346"/>
                  </a:lnTo>
                  <a:lnTo>
                    <a:pt x="169" y="348"/>
                  </a:lnTo>
                  <a:lnTo>
                    <a:pt x="168" y="351"/>
                  </a:lnTo>
                  <a:lnTo>
                    <a:pt x="168" y="352"/>
                  </a:lnTo>
                  <a:lnTo>
                    <a:pt x="168" y="354"/>
                  </a:lnTo>
                  <a:lnTo>
                    <a:pt x="168" y="356"/>
                  </a:lnTo>
                  <a:lnTo>
                    <a:pt x="167" y="358"/>
                  </a:lnTo>
                  <a:lnTo>
                    <a:pt x="166" y="359"/>
                  </a:lnTo>
                  <a:lnTo>
                    <a:pt x="165" y="359"/>
                  </a:lnTo>
                  <a:lnTo>
                    <a:pt x="163" y="359"/>
                  </a:lnTo>
                  <a:lnTo>
                    <a:pt x="161" y="360"/>
                  </a:lnTo>
                  <a:lnTo>
                    <a:pt x="160" y="360"/>
                  </a:lnTo>
                  <a:lnTo>
                    <a:pt x="159" y="362"/>
                  </a:lnTo>
                  <a:lnTo>
                    <a:pt x="157" y="363"/>
                  </a:lnTo>
                  <a:lnTo>
                    <a:pt x="157" y="364"/>
                  </a:lnTo>
                  <a:lnTo>
                    <a:pt x="154" y="366"/>
                  </a:lnTo>
                  <a:lnTo>
                    <a:pt x="153" y="366"/>
                  </a:lnTo>
                  <a:lnTo>
                    <a:pt x="151" y="366"/>
                  </a:lnTo>
                  <a:lnTo>
                    <a:pt x="150" y="366"/>
                  </a:lnTo>
                  <a:lnTo>
                    <a:pt x="149" y="365"/>
                  </a:lnTo>
                  <a:lnTo>
                    <a:pt x="150" y="362"/>
                  </a:lnTo>
                  <a:lnTo>
                    <a:pt x="150" y="360"/>
                  </a:lnTo>
                  <a:lnTo>
                    <a:pt x="150" y="358"/>
                  </a:lnTo>
                  <a:lnTo>
                    <a:pt x="149" y="357"/>
                  </a:lnTo>
                  <a:lnTo>
                    <a:pt x="146" y="356"/>
                  </a:lnTo>
                  <a:lnTo>
                    <a:pt x="145" y="354"/>
                  </a:lnTo>
                  <a:lnTo>
                    <a:pt x="142" y="353"/>
                  </a:lnTo>
                  <a:lnTo>
                    <a:pt x="139" y="352"/>
                  </a:lnTo>
                  <a:lnTo>
                    <a:pt x="137" y="351"/>
                  </a:lnTo>
                  <a:lnTo>
                    <a:pt x="134" y="349"/>
                  </a:lnTo>
                  <a:lnTo>
                    <a:pt x="132" y="348"/>
                  </a:lnTo>
                  <a:lnTo>
                    <a:pt x="130" y="349"/>
                  </a:lnTo>
                  <a:lnTo>
                    <a:pt x="128" y="351"/>
                  </a:lnTo>
                  <a:lnTo>
                    <a:pt x="124" y="354"/>
                  </a:lnTo>
                  <a:lnTo>
                    <a:pt x="123" y="357"/>
                  </a:lnTo>
                  <a:lnTo>
                    <a:pt x="122" y="358"/>
                  </a:lnTo>
                  <a:lnTo>
                    <a:pt x="120" y="359"/>
                  </a:lnTo>
                  <a:lnTo>
                    <a:pt x="119" y="359"/>
                  </a:lnTo>
                  <a:lnTo>
                    <a:pt x="117" y="356"/>
                  </a:lnTo>
                  <a:lnTo>
                    <a:pt x="117" y="353"/>
                  </a:lnTo>
                  <a:lnTo>
                    <a:pt x="116" y="351"/>
                  </a:lnTo>
                  <a:lnTo>
                    <a:pt x="113" y="349"/>
                  </a:lnTo>
                  <a:lnTo>
                    <a:pt x="112" y="345"/>
                  </a:lnTo>
                  <a:lnTo>
                    <a:pt x="108" y="339"/>
                  </a:lnTo>
                  <a:lnTo>
                    <a:pt x="108" y="337"/>
                  </a:lnTo>
                  <a:lnTo>
                    <a:pt x="107" y="336"/>
                  </a:lnTo>
                  <a:lnTo>
                    <a:pt x="105" y="335"/>
                  </a:lnTo>
                  <a:lnTo>
                    <a:pt x="104" y="335"/>
                  </a:lnTo>
                  <a:lnTo>
                    <a:pt x="102" y="337"/>
                  </a:lnTo>
                  <a:lnTo>
                    <a:pt x="100" y="338"/>
                  </a:lnTo>
                  <a:lnTo>
                    <a:pt x="98" y="339"/>
                  </a:lnTo>
                  <a:lnTo>
                    <a:pt x="97" y="338"/>
                  </a:lnTo>
                  <a:lnTo>
                    <a:pt x="94" y="335"/>
                  </a:lnTo>
                  <a:lnTo>
                    <a:pt x="93" y="333"/>
                  </a:lnTo>
                  <a:lnTo>
                    <a:pt x="91" y="332"/>
                  </a:lnTo>
                  <a:lnTo>
                    <a:pt x="89" y="332"/>
                  </a:lnTo>
                  <a:lnTo>
                    <a:pt x="87" y="333"/>
                  </a:lnTo>
                  <a:lnTo>
                    <a:pt x="84" y="333"/>
                  </a:lnTo>
                  <a:lnTo>
                    <a:pt x="82" y="332"/>
                  </a:lnTo>
                  <a:lnTo>
                    <a:pt x="81" y="333"/>
                  </a:lnTo>
                  <a:lnTo>
                    <a:pt x="79" y="334"/>
                  </a:lnTo>
                  <a:lnTo>
                    <a:pt x="78" y="334"/>
                  </a:lnTo>
                  <a:lnTo>
                    <a:pt x="77" y="334"/>
                  </a:lnTo>
                  <a:lnTo>
                    <a:pt x="77" y="332"/>
                  </a:lnTo>
                  <a:lnTo>
                    <a:pt x="77" y="330"/>
                  </a:lnTo>
                  <a:lnTo>
                    <a:pt x="75" y="328"/>
                  </a:lnTo>
                  <a:lnTo>
                    <a:pt x="73" y="327"/>
                  </a:lnTo>
                  <a:lnTo>
                    <a:pt x="72" y="325"/>
                  </a:lnTo>
                  <a:lnTo>
                    <a:pt x="70" y="323"/>
                  </a:lnTo>
                  <a:lnTo>
                    <a:pt x="69" y="323"/>
                  </a:lnTo>
                  <a:lnTo>
                    <a:pt x="67" y="324"/>
                  </a:lnTo>
                  <a:lnTo>
                    <a:pt x="66" y="326"/>
                  </a:lnTo>
                  <a:lnTo>
                    <a:pt x="64" y="328"/>
                  </a:lnTo>
                  <a:lnTo>
                    <a:pt x="63" y="329"/>
                  </a:lnTo>
                  <a:lnTo>
                    <a:pt x="62" y="330"/>
                  </a:lnTo>
                  <a:lnTo>
                    <a:pt x="60" y="331"/>
                  </a:lnTo>
                  <a:lnTo>
                    <a:pt x="58" y="332"/>
                  </a:lnTo>
                  <a:lnTo>
                    <a:pt x="57" y="333"/>
                  </a:lnTo>
                  <a:lnTo>
                    <a:pt x="57" y="335"/>
                  </a:lnTo>
                  <a:lnTo>
                    <a:pt x="57" y="337"/>
                  </a:lnTo>
                  <a:lnTo>
                    <a:pt x="58" y="338"/>
                  </a:lnTo>
                  <a:lnTo>
                    <a:pt x="58" y="340"/>
                  </a:lnTo>
                  <a:lnTo>
                    <a:pt x="57" y="342"/>
                  </a:lnTo>
                  <a:lnTo>
                    <a:pt x="55" y="344"/>
                  </a:lnTo>
                  <a:lnTo>
                    <a:pt x="55" y="346"/>
                  </a:lnTo>
                  <a:lnTo>
                    <a:pt x="55" y="349"/>
                  </a:lnTo>
                  <a:lnTo>
                    <a:pt x="55" y="350"/>
                  </a:lnTo>
                  <a:lnTo>
                    <a:pt x="57" y="351"/>
                  </a:lnTo>
                  <a:lnTo>
                    <a:pt x="60" y="352"/>
                  </a:lnTo>
                  <a:lnTo>
                    <a:pt x="63" y="352"/>
                  </a:lnTo>
                  <a:lnTo>
                    <a:pt x="66" y="353"/>
                  </a:lnTo>
                  <a:lnTo>
                    <a:pt x="69" y="354"/>
                  </a:lnTo>
                  <a:lnTo>
                    <a:pt x="71" y="356"/>
                  </a:lnTo>
                  <a:lnTo>
                    <a:pt x="72" y="358"/>
                  </a:lnTo>
                  <a:lnTo>
                    <a:pt x="72" y="362"/>
                  </a:lnTo>
                  <a:lnTo>
                    <a:pt x="72" y="362"/>
                  </a:lnTo>
                  <a:lnTo>
                    <a:pt x="74" y="362"/>
                  </a:lnTo>
                  <a:lnTo>
                    <a:pt x="77" y="361"/>
                  </a:lnTo>
                  <a:lnTo>
                    <a:pt x="80" y="361"/>
                  </a:lnTo>
                  <a:lnTo>
                    <a:pt x="82" y="362"/>
                  </a:lnTo>
                  <a:lnTo>
                    <a:pt x="83" y="364"/>
                  </a:lnTo>
                  <a:lnTo>
                    <a:pt x="83" y="366"/>
                  </a:lnTo>
                  <a:lnTo>
                    <a:pt x="83" y="367"/>
                  </a:lnTo>
                  <a:lnTo>
                    <a:pt x="84" y="371"/>
                  </a:lnTo>
                  <a:lnTo>
                    <a:pt x="83" y="373"/>
                  </a:lnTo>
                  <a:lnTo>
                    <a:pt x="83" y="375"/>
                  </a:lnTo>
                  <a:lnTo>
                    <a:pt x="83" y="376"/>
                  </a:lnTo>
                  <a:lnTo>
                    <a:pt x="83" y="378"/>
                  </a:lnTo>
                  <a:lnTo>
                    <a:pt x="84" y="379"/>
                  </a:lnTo>
                  <a:lnTo>
                    <a:pt x="84" y="381"/>
                  </a:lnTo>
                  <a:lnTo>
                    <a:pt x="84" y="385"/>
                  </a:lnTo>
                  <a:lnTo>
                    <a:pt x="84" y="387"/>
                  </a:lnTo>
                  <a:lnTo>
                    <a:pt x="84" y="389"/>
                  </a:lnTo>
                  <a:lnTo>
                    <a:pt x="83" y="391"/>
                  </a:lnTo>
                  <a:lnTo>
                    <a:pt x="83" y="392"/>
                  </a:lnTo>
                  <a:lnTo>
                    <a:pt x="82" y="394"/>
                  </a:lnTo>
                  <a:lnTo>
                    <a:pt x="81" y="397"/>
                  </a:lnTo>
                  <a:lnTo>
                    <a:pt x="81" y="399"/>
                  </a:lnTo>
                  <a:lnTo>
                    <a:pt x="81" y="401"/>
                  </a:lnTo>
                  <a:lnTo>
                    <a:pt x="82" y="402"/>
                  </a:lnTo>
                  <a:lnTo>
                    <a:pt x="83" y="402"/>
                  </a:lnTo>
                  <a:lnTo>
                    <a:pt x="85" y="401"/>
                  </a:lnTo>
                  <a:lnTo>
                    <a:pt x="87" y="401"/>
                  </a:lnTo>
                  <a:lnTo>
                    <a:pt x="87" y="401"/>
                  </a:lnTo>
                  <a:lnTo>
                    <a:pt x="90" y="402"/>
                  </a:lnTo>
                  <a:lnTo>
                    <a:pt x="90" y="403"/>
                  </a:lnTo>
                  <a:lnTo>
                    <a:pt x="90" y="405"/>
                  </a:lnTo>
                  <a:lnTo>
                    <a:pt x="90" y="406"/>
                  </a:lnTo>
                  <a:lnTo>
                    <a:pt x="90" y="406"/>
                  </a:lnTo>
                  <a:lnTo>
                    <a:pt x="91" y="407"/>
                  </a:lnTo>
                  <a:lnTo>
                    <a:pt x="93" y="408"/>
                  </a:lnTo>
                  <a:lnTo>
                    <a:pt x="94" y="408"/>
                  </a:lnTo>
                  <a:lnTo>
                    <a:pt x="95" y="409"/>
                  </a:lnTo>
                  <a:lnTo>
                    <a:pt x="96" y="410"/>
                  </a:lnTo>
                  <a:lnTo>
                    <a:pt x="97" y="411"/>
                  </a:lnTo>
                  <a:lnTo>
                    <a:pt x="97" y="411"/>
                  </a:lnTo>
                  <a:lnTo>
                    <a:pt x="98" y="413"/>
                  </a:lnTo>
                  <a:lnTo>
                    <a:pt x="99" y="414"/>
                  </a:lnTo>
                  <a:lnTo>
                    <a:pt x="98" y="415"/>
                  </a:lnTo>
                  <a:lnTo>
                    <a:pt x="97" y="417"/>
                  </a:lnTo>
                  <a:lnTo>
                    <a:pt x="97" y="418"/>
                  </a:lnTo>
                  <a:lnTo>
                    <a:pt x="97" y="421"/>
                  </a:lnTo>
                  <a:lnTo>
                    <a:pt x="98" y="422"/>
                  </a:lnTo>
                  <a:lnTo>
                    <a:pt x="100" y="423"/>
                  </a:lnTo>
                  <a:lnTo>
                    <a:pt x="101" y="425"/>
                  </a:lnTo>
                  <a:lnTo>
                    <a:pt x="101" y="426"/>
                  </a:lnTo>
                  <a:lnTo>
                    <a:pt x="100" y="428"/>
                  </a:lnTo>
                  <a:lnTo>
                    <a:pt x="99" y="428"/>
                  </a:lnTo>
                  <a:lnTo>
                    <a:pt x="98" y="430"/>
                  </a:lnTo>
                  <a:lnTo>
                    <a:pt x="97" y="431"/>
                  </a:lnTo>
                  <a:lnTo>
                    <a:pt x="97" y="433"/>
                  </a:lnTo>
                  <a:lnTo>
                    <a:pt x="97" y="435"/>
                  </a:lnTo>
                  <a:lnTo>
                    <a:pt x="97" y="437"/>
                  </a:lnTo>
                  <a:lnTo>
                    <a:pt x="98" y="441"/>
                  </a:lnTo>
                  <a:lnTo>
                    <a:pt x="98" y="445"/>
                  </a:lnTo>
                  <a:lnTo>
                    <a:pt x="100" y="447"/>
                  </a:lnTo>
                  <a:lnTo>
                    <a:pt x="100" y="450"/>
                  </a:lnTo>
                  <a:lnTo>
                    <a:pt x="101" y="451"/>
                  </a:lnTo>
                  <a:lnTo>
                    <a:pt x="102" y="454"/>
                  </a:lnTo>
                  <a:lnTo>
                    <a:pt x="102" y="455"/>
                  </a:lnTo>
                  <a:lnTo>
                    <a:pt x="103" y="457"/>
                  </a:lnTo>
                  <a:lnTo>
                    <a:pt x="103" y="458"/>
                  </a:lnTo>
                  <a:lnTo>
                    <a:pt x="103" y="460"/>
                  </a:lnTo>
                  <a:lnTo>
                    <a:pt x="104" y="462"/>
                  </a:lnTo>
                  <a:lnTo>
                    <a:pt x="105" y="466"/>
                  </a:lnTo>
                  <a:lnTo>
                    <a:pt x="106" y="467"/>
                  </a:lnTo>
                  <a:lnTo>
                    <a:pt x="107" y="468"/>
                  </a:lnTo>
                  <a:lnTo>
                    <a:pt x="107" y="469"/>
                  </a:lnTo>
                  <a:lnTo>
                    <a:pt x="108" y="472"/>
                  </a:lnTo>
                  <a:lnTo>
                    <a:pt x="108" y="475"/>
                  </a:lnTo>
                  <a:lnTo>
                    <a:pt x="107" y="476"/>
                  </a:lnTo>
                  <a:lnTo>
                    <a:pt x="105" y="477"/>
                  </a:lnTo>
                  <a:lnTo>
                    <a:pt x="105" y="478"/>
                  </a:lnTo>
                  <a:lnTo>
                    <a:pt x="104" y="479"/>
                  </a:lnTo>
                  <a:lnTo>
                    <a:pt x="102" y="481"/>
                  </a:lnTo>
                  <a:lnTo>
                    <a:pt x="101" y="482"/>
                  </a:lnTo>
                  <a:lnTo>
                    <a:pt x="101" y="484"/>
                  </a:lnTo>
                  <a:lnTo>
                    <a:pt x="100" y="485"/>
                  </a:lnTo>
                  <a:lnTo>
                    <a:pt x="100" y="487"/>
                  </a:lnTo>
                  <a:lnTo>
                    <a:pt x="99" y="489"/>
                  </a:lnTo>
                  <a:lnTo>
                    <a:pt x="97" y="492"/>
                  </a:lnTo>
                  <a:lnTo>
                    <a:pt x="96" y="493"/>
                  </a:lnTo>
                  <a:lnTo>
                    <a:pt x="95" y="494"/>
                  </a:lnTo>
                  <a:lnTo>
                    <a:pt x="94" y="495"/>
                  </a:lnTo>
                  <a:lnTo>
                    <a:pt x="93" y="497"/>
                  </a:lnTo>
                  <a:lnTo>
                    <a:pt x="90" y="500"/>
                  </a:lnTo>
                  <a:lnTo>
                    <a:pt x="89" y="500"/>
                  </a:lnTo>
                  <a:lnTo>
                    <a:pt x="88" y="501"/>
                  </a:lnTo>
                  <a:lnTo>
                    <a:pt x="85" y="503"/>
                  </a:lnTo>
                  <a:lnTo>
                    <a:pt x="83" y="503"/>
                  </a:lnTo>
                  <a:lnTo>
                    <a:pt x="82" y="503"/>
                  </a:lnTo>
                  <a:lnTo>
                    <a:pt x="80" y="503"/>
                  </a:lnTo>
                  <a:lnTo>
                    <a:pt x="78" y="503"/>
                  </a:lnTo>
                  <a:lnTo>
                    <a:pt x="77" y="504"/>
                  </a:lnTo>
                  <a:lnTo>
                    <a:pt x="75" y="505"/>
                  </a:lnTo>
                  <a:lnTo>
                    <a:pt x="73" y="507"/>
                  </a:lnTo>
                  <a:lnTo>
                    <a:pt x="72" y="508"/>
                  </a:lnTo>
                  <a:lnTo>
                    <a:pt x="70" y="508"/>
                  </a:lnTo>
                  <a:lnTo>
                    <a:pt x="69" y="509"/>
                  </a:lnTo>
                  <a:lnTo>
                    <a:pt x="67" y="510"/>
                  </a:lnTo>
                  <a:lnTo>
                    <a:pt x="66" y="510"/>
                  </a:lnTo>
                  <a:lnTo>
                    <a:pt x="66" y="511"/>
                  </a:lnTo>
                  <a:lnTo>
                    <a:pt x="65" y="513"/>
                  </a:lnTo>
                  <a:lnTo>
                    <a:pt x="67" y="515"/>
                  </a:lnTo>
                  <a:lnTo>
                    <a:pt x="70" y="517"/>
                  </a:lnTo>
                  <a:lnTo>
                    <a:pt x="71" y="519"/>
                  </a:lnTo>
                  <a:lnTo>
                    <a:pt x="71" y="521"/>
                  </a:lnTo>
                  <a:lnTo>
                    <a:pt x="71" y="522"/>
                  </a:lnTo>
                  <a:lnTo>
                    <a:pt x="70" y="523"/>
                  </a:lnTo>
                  <a:lnTo>
                    <a:pt x="69" y="523"/>
                  </a:lnTo>
                  <a:lnTo>
                    <a:pt x="67" y="524"/>
                  </a:lnTo>
                  <a:lnTo>
                    <a:pt x="66" y="524"/>
                  </a:lnTo>
                  <a:lnTo>
                    <a:pt x="64" y="524"/>
                  </a:lnTo>
                  <a:lnTo>
                    <a:pt x="63" y="525"/>
                  </a:lnTo>
                  <a:lnTo>
                    <a:pt x="60" y="526"/>
                  </a:lnTo>
                  <a:lnTo>
                    <a:pt x="60" y="526"/>
                  </a:lnTo>
                  <a:lnTo>
                    <a:pt x="59" y="527"/>
                  </a:lnTo>
                  <a:lnTo>
                    <a:pt x="58" y="529"/>
                  </a:lnTo>
                  <a:lnTo>
                    <a:pt x="57" y="530"/>
                  </a:lnTo>
                  <a:lnTo>
                    <a:pt x="57" y="531"/>
                  </a:lnTo>
                  <a:lnTo>
                    <a:pt x="56" y="531"/>
                  </a:lnTo>
                  <a:lnTo>
                    <a:pt x="56" y="532"/>
                  </a:lnTo>
                  <a:lnTo>
                    <a:pt x="54" y="534"/>
                  </a:lnTo>
                  <a:lnTo>
                    <a:pt x="51" y="537"/>
                  </a:lnTo>
                  <a:lnTo>
                    <a:pt x="51" y="538"/>
                  </a:lnTo>
                  <a:lnTo>
                    <a:pt x="49" y="538"/>
                  </a:lnTo>
                  <a:lnTo>
                    <a:pt x="48" y="539"/>
                  </a:lnTo>
                  <a:lnTo>
                    <a:pt x="47" y="539"/>
                  </a:lnTo>
                  <a:lnTo>
                    <a:pt x="45" y="540"/>
                  </a:lnTo>
                  <a:lnTo>
                    <a:pt x="42" y="542"/>
                  </a:lnTo>
                  <a:lnTo>
                    <a:pt x="42" y="544"/>
                  </a:lnTo>
                  <a:lnTo>
                    <a:pt x="41" y="545"/>
                  </a:lnTo>
                  <a:lnTo>
                    <a:pt x="41" y="546"/>
                  </a:lnTo>
                  <a:lnTo>
                    <a:pt x="40" y="547"/>
                  </a:lnTo>
                  <a:lnTo>
                    <a:pt x="40" y="548"/>
                  </a:lnTo>
                  <a:lnTo>
                    <a:pt x="39" y="549"/>
                  </a:lnTo>
                  <a:lnTo>
                    <a:pt x="38" y="550"/>
                  </a:lnTo>
                  <a:lnTo>
                    <a:pt x="37" y="550"/>
                  </a:lnTo>
                  <a:lnTo>
                    <a:pt x="36" y="550"/>
                  </a:lnTo>
                  <a:lnTo>
                    <a:pt x="34" y="550"/>
                  </a:lnTo>
                  <a:lnTo>
                    <a:pt x="34" y="549"/>
                  </a:lnTo>
                  <a:lnTo>
                    <a:pt x="33" y="550"/>
                  </a:lnTo>
                  <a:lnTo>
                    <a:pt x="32" y="550"/>
                  </a:lnTo>
                  <a:lnTo>
                    <a:pt x="32" y="551"/>
                  </a:lnTo>
                  <a:lnTo>
                    <a:pt x="30" y="551"/>
                  </a:lnTo>
                  <a:lnTo>
                    <a:pt x="28" y="553"/>
                  </a:lnTo>
                  <a:lnTo>
                    <a:pt x="27" y="554"/>
                  </a:lnTo>
                  <a:lnTo>
                    <a:pt x="26" y="554"/>
                  </a:lnTo>
                  <a:lnTo>
                    <a:pt x="25" y="556"/>
                  </a:lnTo>
                  <a:lnTo>
                    <a:pt x="24" y="556"/>
                  </a:lnTo>
                  <a:lnTo>
                    <a:pt x="21" y="559"/>
                  </a:lnTo>
                  <a:lnTo>
                    <a:pt x="18" y="560"/>
                  </a:lnTo>
                  <a:lnTo>
                    <a:pt x="17" y="562"/>
                  </a:lnTo>
                  <a:lnTo>
                    <a:pt x="16" y="562"/>
                  </a:lnTo>
                  <a:lnTo>
                    <a:pt x="15" y="563"/>
                  </a:lnTo>
                  <a:lnTo>
                    <a:pt x="14" y="564"/>
                  </a:lnTo>
                  <a:lnTo>
                    <a:pt x="14" y="565"/>
                  </a:lnTo>
                  <a:lnTo>
                    <a:pt x="14" y="567"/>
                  </a:lnTo>
                  <a:lnTo>
                    <a:pt x="14" y="568"/>
                  </a:lnTo>
                  <a:lnTo>
                    <a:pt x="13" y="569"/>
                  </a:lnTo>
                  <a:lnTo>
                    <a:pt x="13" y="570"/>
                  </a:lnTo>
                  <a:lnTo>
                    <a:pt x="13" y="571"/>
                  </a:lnTo>
                  <a:lnTo>
                    <a:pt x="13" y="573"/>
                  </a:lnTo>
                  <a:lnTo>
                    <a:pt x="12" y="578"/>
                  </a:lnTo>
                  <a:lnTo>
                    <a:pt x="12" y="579"/>
                  </a:lnTo>
                  <a:lnTo>
                    <a:pt x="11" y="581"/>
                  </a:lnTo>
                  <a:lnTo>
                    <a:pt x="11" y="582"/>
                  </a:lnTo>
                  <a:lnTo>
                    <a:pt x="10" y="584"/>
                  </a:lnTo>
                  <a:lnTo>
                    <a:pt x="9" y="586"/>
                  </a:lnTo>
                  <a:lnTo>
                    <a:pt x="7" y="593"/>
                  </a:lnTo>
                  <a:lnTo>
                    <a:pt x="6" y="595"/>
                  </a:lnTo>
                  <a:lnTo>
                    <a:pt x="6" y="597"/>
                  </a:lnTo>
                  <a:lnTo>
                    <a:pt x="6" y="599"/>
                  </a:lnTo>
                  <a:lnTo>
                    <a:pt x="4" y="603"/>
                  </a:lnTo>
                  <a:lnTo>
                    <a:pt x="2" y="605"/>
                  </a:lnTo>
                  <a:lnTo>
                    <a:pt x="1" y="605"/>
                  </a:lnTo>
                  <a:lnTo>
                    <a:pt x="0" y="607"/>
                  </a:lnTo>
                  <a:lnTo>
                    <a:pt x="0" y="609"/>
                  </a:lnTo>
                  <a:lnTo>
                    <a:pt x="0" y="612"/>
                  </a:lnTo>
                  <a:lnTo>
                    <a:pt x="0" y="614"/>
                  </a:lnTo>
                  <a:lnTo>
                    <a:pt x="3" y="616"/>
                  </a:lnTo>
                  <a:lnTo>
                    <a:pt x="4" y="616"/>
                  </a:lnTo>
                  <a:lnTo>
                    <a:pt x="5" y="616"/>
                  </a:lnTo>
                  <a:lnTo>
                    <a:pt x="7" y="616"/>
                  </a:lnTo>
                  <a:lnTo>
                    <a:pt x="8" y="617"/>
                  </a:lnTo>
                  <a:lnTo>
                    <a:pt x="10" y="617"/>
                  </a:lnTo>
                  <a:lnTo>
                    <a:pt x="12" y="616"/>
                  </a:lnTo>
                  <a:lnTo>
                    <a:pt x="13" y="616"/>
                  </a:lnTo>
                  <a:lnTo>
                    <a:pt x="15" y="615"/>
                  </a:lnTo>
                  <a:lnTo>
                    <a:pt x="16" y="614"/>
                  </a:lnTo>
                  <a:lnTo>
                    <a:pt x="18" y="614"/>
                  </a:lnTo>
                  <a:lnTo>
                    <a:pt x="19" y="613"/>
                  </a:lnTo>
                  <a:lnTo>
                    <a:pt x="24" y="612"/>
                  </a:lnTo>
                  <a:lnTo>
                    <a:pt x="25" y="612"/>
                  </a:lnTo>
                  <a:lnTo>
                    <a:pt x="26" y="611"/>
                  </a:lnTo>
                  <a:lnTo>
                    <a:pt x="28" y="610"/>
                  </a:lnTo>
                  <a:lnTo>
                    <a:pt x="29" y="610"/>
                  </a:lnTo>
                  <a:lnTo>
                    <a:pt x="30" y="609"/>
                  </a:lnTo>
                  <a:lnTo>
                    <a:pt x="32" y="609"/>
                  </a:lnTo>
                  <a:lnTo>
                    <a:pt x="33" y="609"/>
                  </a:lnTo>
                  <a:lnTo>
                    <a:pt x="35" y="609"/>
                  </a:lnTo>
                  <a:lnTo>
                    <a:pt x="36" y="610"/>
                  </a:lnTo>
                  <a:lnTo>
                    <a:pt x="37" y="610"/>
                  </a:lnTo>
                  <a:lnTo>
                    <a:pt x="38" y="611"/>
                  </a:lnTo>
                  <a:lnTo>
                    <a:pt x="40" y="611"/>
                  </a:lnTo>
                  <a:lnTo>
                    <a:pt x="42" y="610"/>
                  </a:lnTo>
                  <a:lnTo>
                    <a:pt x="44" y="609"/>
                  </a:lnTo>
                  <a:lnTo>
                    <a:pt x="47" y="609"/>
                  </a:lnTo>
                  <a:lnTo>
                    <a:pt x="48" y="608"/>
                  </a:lnTo>
                  <a:lnTo>
                    <a:pt x="51" y="607"/>
                  </a:lnTo>
                  <a:lnTo>
                    <a:pt x="54" y="604"/>
                  </a:lnTo>
                  <a:lnTo>
                    <a:pt x="58" y="601"/>
                  </a:lnTo>
                  <a:lnTo>
                    <a:pt x="60" y="598"/>
                  </a:lnTo>
                  <a:lnTo>
                    <a:pt x="62" y="597"/>
                  </a:lnTo>
                  <a:lnTo>
                    <a:pt x="64" y="595"/>
                  </a:lnTo>
                  <a:lnTo>
                    <a:pt x="66" y="595"/>
                  </a:lnTo>
                  <a:lnTo>
                    <a:pt x="68" y="594"/>
                  </a:lnTo>
                  <a:lnTo>
                    <a:pt x="70" y="593"/>
                  </a:lnTo>
                  <a:lnTo>
                    <a:pt x="73" y="590"/>
                  </a:lnTo>
                  <a:lnTo>
                    <a:pt x="75" y="590"/>
                  </a:lnTo>
                  <a:lnTo>
                    <a:pt x="76" y="589"/>
                  </a:lnTo>
                  <a:lnTo>
                    <a:pt x="79" y="588"/>
                  </a:lnTo>
                  <a:lnTo>
                    <a:pt x="81" y="588"/>
                  </a:lnTo>
                  <a:lnTo>
                    <a:pt x="83" y="588"/>
                  </a:lnTo>
                  <a:lnTo>
                    <a:pt x="85" y="587"/>
                  </a:lnTo>
                  <a:lnTo>
                    <a:pt x="86" y="586"/>
                  </a:lnTo>
                  <a:lnTo>
                    <a:pt x="87" y="585"/>
                  </a:lnTo>
                  <a:lnTo>
                    <a:pt x="89" y="584"/>
                  </a:lnTo>
                  <a:lnTo>
                    <a:pt x="89" y="584"/>
                  </a:lnTo>
                  <a:lnTo>
                    <a:pt x="90" y="585"/>
                  </a:lnTo>
                  <a:lnTo>
                    <a:pt x="92" y="586"/>
                  </a:lnTo>
                  <a:lnTo>
                    <a:pt x="93" y="586"/>
                  </a:lnTo>
                  <a:lnTo>
                    <a:pt x="94" y="586"/>
                  </a:lnTo>
                  <a:lnTo>
                    <a:pt x="95" y="587"/>
                  </a:lnTo>
                  <a:lnTo>
                    <a:pt x="96" y="587"/>
                  </a:lnTo>
                  <a:lnTo>
                    <a:pt x="97" y="588"/>
                  </a:lnTo>
                  <a:lnTo>
                    <a:pt x="97" y="589"/>
                  </a:lnTo>
                  <a:lnTo>
                    <a:pt x="97" y="590"/>
                  </a:lnTo>
                  <a:lnTo>
                    <a:pt x="97" y="591"/>
                  </a:lnTo>
                  <a:lnTo>
                    <a:pt x="97" y="592"/>
                  </a:lnTo>
                  <a:lnTo>
                    <a:pt x="98" y="593"/>
                  </a:lnTo>
                  <a:lnTo>
                    <a:pt x="100" y="592"/>
                  </a:lnTo>
                  <a:lnTo>
                    <a:pt x="101" y="593"/>
                  </a:lnTo>
                  <a:lnTo>
                    <a:pt x="102" y="593"/>
                  </a:lnTo>
                  <a:lnTo>
                    <a:pt x="104" y="593"/>
                  </a:lnTo>
                  <a:lnTo>
                    <a:pt x="105" y="593"/>
                  </a:lnTo>
                  <a:lnTo>
                    <a:pt x="105" y="593"/>
                  </a:lnTo>
                  <a:lnTo>
                    <a:pt x="107" y="593"/>
                  </a:lnTo>
                  <a:lnTo>
                    <a:pt x="108" y="593"/>
                  </a:lnTo>
                  <a:lnTo>
                    <a:pt x="109" y="591"/>
                  </a:lnTo>
                  <a:lnTo>
                    <a:pt x="109" y="590"/>
                  </a:lnTo>
                  <a:lnTo>
                    <a:pt x="109" y="589"/>
                  </a:lnTo>
                  <a:lnTo>
                    <a:pt x="110" y="589"/>
                  </a:lnTo>
                  <a:lnTo>
                    <a:pt x="111" y="587"/>
                  </a:lnTo>
                  <a:lnTo>
                    <a:pt x="111" y="586"/>
                  </a:lnTo>
                  <a:lnTo>
                    <a:pt x="113" y="586"/>
                  </a:lnTo>
                  <a:lnTo>
                    <a:pt x="114" y="587"/>
                  </a:lnTo>
                  <a:lnTo>
                    <a:pt x="115" y="588"/>
                  </a:lnTo>
                  <a:lnTo>
                    <a:pt x="116" y="588"/>
                  </a:lnTo>
                  <a:lnTo>
                    <a:pt x="117" y="587"/>
                  </a:lnTo>
                  <a:lnTo>
                    <a:pt x="118" y="587"/>
                  </a:lnTo>
                  <a:lnTo>
                    <a:pt x="119" y="586"/>
                  </a:lnTo>
                  <a:lnTo>
                    <a:pt x="119" y="584"/>
                  </a:lnTo>
                  <a:lnTo>
                    <a:pt x="119" y="583"/>
                  </a:lnTo>
                  <a:lnTo>
                    <a:pt x="119" y="579"/>
                  </a:lnTo>
                  <a:lnTo>
                    <a:pt x="119" y="579"/>
                  </a:lnTo>
                  <a:lnTo>
                    <a:pt x="120" y="578"/>
                  </a:lnTo>
                  <a:lnTo>
                    <a:pt x="120" y="578"/>
                  </a:lnTo>
                  <a:lnTo>
                    <a:pt x="121" y="576"/>
                  </a:lnTo>
                  <a:lnTo>
                    <a:pt x="121" y="576"/>
                  </a:lnTo>
                  <a:lnTo>
                    <a:pt x="122" y="576"/>
                  </a:lnTo>
                  <a:lnTo>
                    <a:pt x="123" y="576"/>
                  </a:lnTo>
                  <a:lnTo>
                    <a:pt x="123" y="575"/>
                  </a:lnTo>
                  <a:lnTo>
                    <a:pt x="123" y="574"/>
                  </a:lnTo>
                  <a:lnTo>
                    <a:pt x="123" y="572"/>
                  </a:lnTo>
                  <a:lnTo>
                    <a:pt x="122" y="572"/>
                  </a:lnTo>
                  <a:lnTo>
                    <a:pt x="120" y="571"/>
                  </a:lnTo>
                  <a:lnTo>
                    <a:pt x="119" y="571"/>
                  </a:lnTo>
                  <a:lnTo>
                    <a:pt x="118" y="571"/>
                  </a:lnTo>
                  <a:lnTo>
                    <a:pt x="117" y="571"/>
                  </a:lnTo>
                  <a:lnTo>
                    <a:pt x="116" y="570"/>
                  </a:lnTo>
                  <a:lnTo>
                    <a:pt x="115" y="570"/>
                  </a:lnTo>
                  <a:lnTo>
                    <a:pt x="115" y="569"/>
                  </a:lnTo>
                  <a:lnTo>
                    <a:pt x="115" y="568"/>
                  </a:lnTo>
                  <a:lnTo>
                    <a:pt x="115" y="567"/>
                  </a:lnTo>
                  <a:lnTo>
                    <a:pt x="116" y="565"/>
                  </a:lnTo>
                  <a:lnTo>
                    <a:pt x="117" y="565"/>
                  </a:lnTo>
                  <a:lnTo>
                    <a:pt x="117" y="564"/>
                  </a:lnTo>
                  <a:lnTo>
                    <a:pt x="117" y="563"/>
                  </a:lnTo>
                  <a:lnTo>
                    <a:pt x="117" y="562"/>
                  </a:lnTo>
                  <a:lnTo>
                    <a:pt x="118" y="561"/>
                  </a:lnTo>
                  <a:lnTo>
                    <a:pt x="119" y="559"/>
                  </a:lnTo>
                  <a:lnTo>
                    <a:pt x="120" y="558"/>
                  </a:lnTo>
                  <a:lnTo>
                    <a:pt x="121" y="558"/>
                  </a:lnTo>
                  <a:lnTo>
                    <a:pt x="122" y="558"/>
                  </a:lnTo>
                  <a:lnTo>
                    <a:pt x="123" y="558"/>
                  </a:lnTo>
                  <a:lnTo>
                    <a:pt x="124" y="557"/>
                  </a:lnTo>
                  <a:lnTo>
                    <a:pt x="125" y="557"/>
                  </a:lnTo>
                  <a:lnTo>
                    <a:pt x="127" y="555"/>
                  </a:lnTo>
                  <a:lnTo>
                    <a:pt x="127" y="554"/>
                  </a:lnTo>
                  <a:lnTo>
                    <a:pt x="128" y="554"/>
                  </a:lnTo>
                  <a:lnTo>
                    <a:pt x="128" y="552"/>
                  </a:lnTo>
                  <a:lnTo>
                    <a:pt x="128" y="551"/>
                  </a:lnTo>
                  <a:lnTo>
                    <a:pt x="127" y="550"/>
                  </a:lnTo>
                  <a:lnTo>
                    <a:pt x="126" y="550"/>
                  </a:lnTo>
                  <a:lnTo>
                    <a:pt x="124" y="550"/>
                  </a:lnTo>
                  <a:lnTo>
                    <a:pt x="123" y="551"/>
                  </a:lnTo>
                  <a:lnTo>
                    <a:pt x="121" y="552"/>
                  </a:lnTo>
                  <a:lnTo>
                    <a:pt x="120" y="552"/>
                  </a:lnTo>
                  <a:lnTo>
                    <a:pt x="119" y="552"/>
                  </a:lnTo>
                  <a:lnTo>
                    <a:pt x="119" y="552"/>
                  </a:lnTo>
                  <a:lnTo>
                    <a:pt x="118" y="551"/>
                  </a:lnTo>
                  <a:lnTo>
                    <a:pt x="118" y="550"/>
                  </a:lnTo>
                  <a:lnTo>
                    <a:pt x="119" y="548"/>
                  </a:lnTo>
                  <a:lnTo>
                    <a:pt x="120" y="544"/>
                  </a:lnTo>
                  <a:lnTo>
                    <a:pt x="121" y="543"/>
                  </a:lnTo>
                  <a:lnTo>
                    <a:pt x="121" y="542"/>
                  </a:lnTo>
                  <a:lnTo>
                    <a:pt x="121" y="541"/>
                  </a:lnTo>
                  <a:lnTo>
                    <a:pt x="121" y="539"/>
                  </a:lnTo>
                  <a:lnTo>
                    <a:pt x="121" y="538"/>
                  </a:lnTo>
                  <a:lnTo>
                    <a:pt x="121" y="538"/>
                  </a:lnTo>
                  <a:lnTo>
                    <a:pt x="122" y="537"/>
                  </a:lnTo>
                  <a:lnTo>
                    <a:pt x="123" y="537"/>
                  </a:lnTo>
                  <a:lnTo>
                    <a:pt x="124" y="537"/>
                  </a:lnTo>
                  <a:lnTo>
                    <a:pt x="126" y="537"/>
                  </a:lnTo>
                  <a:lnTo>
                    <a:pt x="126" y="537"/>
                  </a:lnTo>
                  <a:lnTo>
                    <a:pt x="128" y="537"/>
                  </a:lnTo>
                  <a:lnTo>
                    <a:pt x="130" y="536"/>
                  </a:lnTo>
                  <a:lnTo>
                    <a:pt x="131" y="535"/>
                  </a:lnTo>
                  <a:lnTo>
                    <a:pt x="132" y="534"/>
                  </a:lnTo>
                  <a:lnTo>
                    <a:pt x="134" y="532"/>
                  </a:lnTo>
                  <a:lnTo>
                    <a:pt x="134" y="531"/>
                  </a:lnTo>
                  <a:lnTo>
                    <a:pt x="135" y="530"/>
                  </a:lnTo>
                  <a:lnTo>
                    <a:pt x="136" y="527"/>
                  </a:lnTo>
                  <a:lnTo>
                    <a:pt x="137" y="527"/>
                  </a:lnTo>
                  <a:lnTo>
                    <a:pt x="139" y="526"/>
                  </a:lnTo>
                  <a:lnTo>
                    <a:pt x="140" y="525"/>
                  </a:lnTo>
                  <a:lnTo>
                    <a:pt x="141" y="526"/>
                  </a:lnTo>
                  <a:lnTo>
                    <a:pt x="142" y="527"/>
                  </a:lnTo>
                  <a:lnTo>
                    <a:pt x="143" y="527"/>
                  </a:lnTo>
                  <a:lnTo>
                    <a:pt x="144" y="529"/>
                  </a:lnTo>
                  <a:lnTo>
                    <a:pt x="145" y="529"/>
                  </a:lnTo>
                  <a:lnTo>
                    <a:pt x="145" y="531"/>
                  </a:lnTo>
                  <a:lnTo>
                    <a:pt x="144" y="532"/>
                  </a:lnTo>
                  <a:lnTo>
                    <a:pt x="143" y="533"/>
                  </a:lnTo>
                  <a:lnTo>
                    <a:pt x="143" y="534"/>
                  </a:lnTo>
                  <a:lnTo>
                    <a:pt x="142" y="535"/>
                  </a:lnTo>
                  <a:lnTo>
                    <a:pt x="143" y="537"/>
                  </a:lnTo>
                  <a:lnTo>
                    <a:pt x="144" y="538"/>
                  </a:lnTo>
                  <a:lnTo>
                    <a:pt x="145" y="539"/>
                  </a:lnTo>
                  <a:lnTo>
                    <a:pt x="145" y="541"/>
                  </a:lnTo>
                  <a:lnTo>
                    <a:pt x="144" y="542"/>
                  </a:lnTo>
                  <a:lnTo>
                    <a:pt x="145" y="544"/>
                  </a:lnTo>
                  <a:lnTo>
                    <a:pt x="146" y="545"/>
                  </a:lnTo>
                  <a:lnTo>
                    <a:pt x="148" y="544"/>
                  </a:lnTo>
                  <a:lnTo>
                    <a:pt x="150" y="544"/>
                  </a:lnTo>
                  <a:lnTo>
                    <a:pt x="151" y="544"/>
                  </a:lnTo>
                  <a:lnTo>
                    <a:pt x="153" y="545"/>
                  </a:lnTo>
                  <a:lnTo>
                    <a:pt x="153" y="547"/>
                  </a:lnTo>
                  <a:lnTo>
                    <a:pt x="154" y="549"/>
                  </a:lnTo>
                  <a:lnTo>
                    <a:pt x="154" y="553"/>
                  </a:lnTo>
                  <a:lnTo>
                    <a:pt x="153" y="555"/>
                  </a:lnTo>
                  <a:lnTo>
                    <a:pt x="153" y="557"/>
                  </a:lnTo>
                  <a:lnTo>
                    <a:pt x="154" y="559"/>
                  </a:lnTo>
                  <a:lnTo>
                    <a:pt x="154" y="560"/>
                  </a:lnTo>
                  <a:lnTo>
                    <a:pt x="154" y="561"/>
                  </a:lnTo>
                  <a:lnTo>
                    <a:pt x="154" y="562"/>
                  </a:lnTo>
                  <a:lnTo>
                    <a:pt x="154" y="563"/>
                  </a:lnTo>
                  <a:lnTo>
                    <a:pt x="154" y="564"/>
                  </a:lnTo>
                  <a:lnTo>
                    <a:pt x="156" y="564"/>
                  </a:lnTo>
                  <a:lnTo>
                    <a:pt x="157" y="564"/>
                  </a:lnTo>
                  <a:lnTo>
                    <a:pt x="158" y="564"/>
                  </a:lnTo>
                  <a:lnTo>
                    <a:pt x="160" y="564"/>
                  </a:lnTo>
                  <a:lnTo>
                    <a:pt x="160" y="561"/>
                  </a:lnTo>
                  <a:lnTo>
                    <a:pt x="161" y="559"/>
                  </a:lnTo>
                  <a:lnTo>
                    <a:pt x="162" y="557"/>
                  </a:lnTo>
                  <a:lnTo>
                    <a:pt x="163" y="556"/>
                  </a:lnTo>
                  <a:lnTo>
                    <a:pt x="164" y="555"/>
                  </a:lnTo>
                  <a:lnTo>
                    <a:pt x="166" y="554"/>
                  </a:lnTo>
                  <a:lnTo>
                    <a:pt x="168" y="554"/>
                  </a:lnTo>
                  <a:lnTo>
                    <a:pt x="169" y="553"/>
                  </a:lnTo>
                  <a:lnTo>
                    <a:pt x="171" y="552"/>
                  </a:lnTo>
                  <a:lnTo>
                    <a:pt x="172" y="552"/>
                  </a:lnTo>
                  <a:lnTo>
                    <a:pt x="173" y="551"/>
                  </a:lnTo>
                  <a:lnTo>
                    <a:pt x="175" y="551"/>
                  </a:lnTo>
                  <a:lnTo>
                    <a:pt x="177" y="550"/>
                  </a:lnTo>
                  <a:lnTo>
                    <a:pt x="178" y="549"/>
                  </a:lnTo>
                  <a:lnTo>
                    <a:pt x="179" y="549"/>
                  </a:lnTo>
                  <a:lnTo>
                    <a:pt x="180" y="546"/>
                  </a:lnTo>
                  <a:lnTo>
                    <a:pt x="180" y="545"/>
                  </a:lnTo>
                  <a:lnTo>
                    <a:pt x="180" y="544"/>
                  </a:lnTo>
                  <a:lnTo>
                    <a:pt x="180" y="543"/>
                  </a:lnTo>
                  <a:lnTo>
                    <a:pt x="180" y="541"/>
                  </a:lnTo>
                  <a:lnTo>
                    <a:pt x="179" y="540"/>
                  </a:lnTo>
                  <a:lnTo>
                    <a:pt x="179" y="539"/>
                  </a:lnTo>
                  <a:lnTo>
                    <a:pt x="180" y="537"/>
                  </a:lnTo>
                  <a:lnTo>
                    <a:pt x="181" y="537"/>
                  </a:lnTo>
                  <a:lnTo>
                    <a:pt x="183" y="537"/>
                  </a:lnTo>
                  <a:lnTo>
                    <a:pt x="185" y="537"/>
                  </a:lnTo>
                  <a:lnTo>
                    <a:pt x="185" y="538"/>
                  </a:lnTo>
                  <a:lnTo>
                    <a:pt x="188" y="539"/>
                  </a:lnTo>
                  <a:lnTo>
                    <a:pt x="191" y="539"/>
                  </a:lnTo>
                  <a:lnTo>
                    <a:pt x="192" y="539"/>
                  </a:lnTo>
                  <a:lnTo>
                    <a:pt x="194" y="539"/>
                  </a:lnTo>
                  <a:lnTo>
                    <a:pt x="194" y="540"/>
                  </a:lnTo>
                  <a:lnTo>
                    <a:pt x="194" y="541"/>
                  </a:lnTo>
                  <a:lnTo>
                    <a:pt x="193" y="543"/>
                  </a:lnTo>
                  <a:lnTo>
                    <a:pt x="193" y="545"/>
                  </a:lnTo>
                  <a:lnTo>
                    <a:pt x="194" y="546"/>
                  </a:lnTo>
                  <a:lnTo>
                    <a:pt x="194" y="547"/>
                  </a:lnTo>
                  <a:lnTo>
                    <a:pt x="196" y="547"/>
                  </a:lnTo>
                  <a:lnTo>
                    <a:pt x="197" y="546"/>
                  </a:lnTo>
                  <a:lnTo>
                    <a:pt x="199" y="545"/>
                  </a:lnTo>
                  <a:lnTo>
                    <a:pt x="200" y="545"/>
                  </a:lnTo>
                  <a:lnTo>
                    <a:pt x="202" y="546"/>
                  </a:lnTo>
                  <a:lnTo>
                    <a:pt x="202" y="547"/>
                  </a:lnTo>
                  <a:lnTo>
                    <a:pt x="202" y="548"/>
                  </a:lnTo>
                  <a:lnTo>
                    <a:pt x="203" y="548"/>
                  </a:lnTo>
                  <a:lnTo>
                    <a:pt x="205" y="548"/>
                  </a:lnTo>
                  <a:lnTo>
                    <a:pt x="206" y="548"/>
                  </a:lnTo>
                  <a:lnTo>
                    <a:pt x="207" y="546"/>
                  </a:lnTo>
                  <a:lnTo>
                    <a:pt x="209" y="545"/>
                  </a:lnTo>
                  <a:lnTo>
                    <a:pt x="210" y="545"/>
                  </a:lnTo>
                  <a:lnTo>
                    <a:pt x="211" y="544"/>
                  </a:lnTo>
                  <a:lnTo>
                    <a:pt x="213" y="543"/>
                  </a:lnTo>
                  <a:lnTo>
                    <a:pt x="214" y="541"/>
                  </a:lnTo>
                  <a:lnTo>
                    <a:pt x="215" y="540"/>
                  </a:lnTo>
                  <a:lnTo>
                    <a:pt x="215" y="539"/>
                  </a:lnTo>
                  <a:lnTo>
                    <a:pt x="214" y="538"/>
                  </a:lnTo>
                  <a:lnTo>
                    <a:pt x="213" y="537"/>
                  </a:lnTo>
                  <a:lnTo>
                    <a:pt x="211" y="537"/>
                  </a:lnTo>
                  <a:lnTo>
                    <a:pt x="210" y="536"/>
                  </a:lnTo>
                  <a:lnTo>
                    <a:pt x="209" y="535"/>
                  </a:lnTo>
                  <a:lnTo>
                    <a:pt x="209" y="533"/>
                  </a:lnTo>
                  <a:lnTo>
                    <a:pt x="210" y="532"/>
                  </a:lnTo>
                  <a:lnTo>
                    <a:pt x="211" y="532"/>
                  </a:lnTo>
                  <a:lnTo>
                    <a:pt x="213" y="531"/>
                  </a:lnTo>
                  <a:lnTo>
                    <a:pt x="213" y="531"/>
                  </a:lnTo>
                  <a:lnTo>
                    <a:pt x="214" y="531"/>
                  </a:lnTo>
                  <a:lnTo>
                    <a:pt x="216" y="530"/>
                  </a:lnTo>
                  <a:lnTo>
                    <a:pt x="217" y="529"/>
                  </a:lnTo>
                  <a:lnTo>
                    <a:pt x="217" y="528"/>
                  </a:lnTo>
                  <a:lnTo>
                    <a:pt x="217" y="527"/>
                  </a:lnTo>
                  <a:lnTo>
                    <a:pt x="215" y="526"/>
                  </a:lnTo>
                  <a:lnTo>
                    <a:pt x="214" y="525"/>
                  </a:lnTo>
                  <a:lnTo>
                    <a:pt x="213" y="523"/>
                  </a:lnTo>
                  <a:lnTo>
                    <a:pt x="211" y="523"/>
                  </a:lnTo>
                  <a:lnTo>
                    <a:pt x="211" y="522"/>
                  </a:lnTo>
                  <a:lnTo>
                    <a:pt x="211" y="520"/>
                  </a:lnTo>
                  <a:lnTo>
                    <a:pt x="213" y="520"/>
                  </a:lnTo>
                  <a:lnTo>
                    <a:pt x="214" y="519"/>
                  </a:lnTo>
                  <a:lnTo>
                    <a:pt x="215" y="518"/>
                  </a:lnTo>
                  <a:lnTo>
                    <a:pt x="215" y="517"/>
                  </a:lnTo>
                  <a:lnTo>
                    <a:pt x="215" y="516"/>
                  </a:lnTo>
                  <a:lnTo>
                    <a:pt x="215" y="516"/>
                  </a:lnTo>
                  <a:lnTo>
                    <a:pt x="214" y="516"/>
                  </a:lnTo>
                  <a:lnTo>
                    <a:pt x="212" y="516"/>
                  </a:lnTo>
                  <a:lnTo>
                    <a:pt x="211" y="516"/>
                  </a:lnTo>
                  <a:lnTo>
                    <a:pt x="210" y="517"/>
                  </a:lnTo>
                  <a:lnTo>
                    <a:pt x="209" y="517"/>
                  </a:lnTo>
                  <a:lnTo>
                    <a:pt x="209" y="516"/>
                  </a:lnTo>
                  <a:lnTo>
                    <a:pt x="209" y="515"/>
                  </a:lnTo>
                  <a:lnTo>
                    <a:pt x="209" y="514"/>
                  </a:lnTo>
                  <a:lnTo>
                    <a:pt x="213" y="510"/>
                  </a:lnTo>
                  <a:lnTo>
                    <a:pt x="215" y="507"/>
                  </a:lnTo>
                  <a:lnTo>
                    <a:pt x="217" y="505"/>
                  </a:lnTo>
                  <a:lnTo>
                    <a:pt x="218" y="504"/>
                  </a:lnTo>
                  <a:lnTo>
                    <a:pt x="218" y="502"/>
                  </a:lnTo>
                  <a:lnTo>
                    <a:pt x="220" y="500"/>
                  </a:lnTo>
                  <a:lnTo>
                    <a:pt x="220" y="500"/>
                  </a:lnTo>
                  <a:lnTo>
                    <a:pt x="222" y="495"/>
                  </a:lnTo>
                  <a:lnTo>
                    <a:pt x="224" y="494"/>
                  </a:lnTo>
                  <a:lnTo>
                    <a:pt x="224" y="493"/>
                  </a:lnTo>
                  <a:lnTo>
                    <a:pt x="225" y="493"/>
                  </a:lnTo>
                  <a:lnTo>
                    <a:pt x="226" y="493"/>
                  </a:lnTo>
                  <a:lnTo>
                    <a:pt x="226" y="495"/>
                  </a:lnTo>
                  <a:lnTo>
                    <a:pt x="226" y="495"/>
                  </a:lnTo>
                  <a:lnTo>
                    <a:pt x="226" y="496"/>
                  </a:lnTo>
                  <a:lnTo>
                    <a:pt x="228" y="496"/>
                  </a:lnTo>
                  <a:lnTo>
                    <a:pt x="229" y="495"/>
                  </a:lnTo>
                  <a:lnTo>
                    <a:pt x="230" y="494"/>
                  </a:lnTo>
                  <a:lnTo>
                    <a:pt x="230" y="493"/>
                  </a:lnTo>
                  <a:lnTo>
                    <a:pt x="231" y="493"/>
                  </a:lnTo>
                  <a:lnTo>
                    <a:pt x="232" y="493"/>
                  </a:lnTo>
                  <a:lnTo>
                    <a:pt x="232" y="495"/>
                  </a:lnTo>
                  <a:lnTo>
                    <a:pt x="232" y="496"/>
                  </a:lnTo>
                  <a:lnTo>
                    <a:pt x="232" y="497"/>
                  </a:lnTo>
                  <a:lnTo>
                    <a:pt x="233" y="498"/>
                  </a:lnTo>
                  <a:lnTo>
                    <a:pt x="233" y="499"/>
                  </a:lnTo>
                  <a:lnTo>
                    <a:pt x="234" y="500"/>
                  </a:lnTo>
                  <a:lnTo>
                    <a:pt x="234" y="500"/>
                  </a:lnTo>
                  <a:lnTo>
                    <a:pt x="235" y="500"/>
                  </a:lnTo>
                  <a:lnTo>
                    <a:pt x="235" y="500"/>
                  </a:lnTo>
                  <a:lnTo>
                    <a:pt x="236" y="499"/>
                  </a:lnTo>
                  <a:lnTo>
                    <a:pt x="235" y="497"/>
                  </a:lnTo>
                  <a:lnTo>
                    <a:pt x="236" y="496"/>
                  </a:lnTo>
                  <a:lnTo>
                    <a:pt x="236" y="495"/>
                  </a:lnTo>
                  <a:lnTo>
                    <a:pt x="237" y="495"/>
                  </a:lnTo>
                  <a:lnTo>
                    <a:pt x="238" y="494"/>
                  </a:lnTo>
                  <a:lnTo>
                    <a:pt x="239" y="493"/>
                  </a:lnTo>
                  <a:lnTo>
                    <a:pt x="240" y="493"/>
                  </a:lnTo>
                  <a:lnTo>
                    <a:pt x="241" y="493"/>
                  </a:lnTo>
                  <a:lnTo>
                    <a:pt x="243" y="493"/>
                  </a:lnTo>
                  <a:lnTo>
                    <a:pt x="245" y="491"/>
                  </a:lnTo>
                  <a:lnTo>
                    <a:pt x="246" y="489"/>
                  </a:lnTo>
                  <a:lnTo>
                    <a:pt x="246" y="488"/>
                  </a:lnTo>
                  <a:lnTo>
                    <a:pt x="247" y="487"/>
                  </a:lnTo>
                  <a:lnTo>
                    <a:pt x="248" y="486"/>
                  </a:lnTo>
                  <a:lnTo>
                    <a:pt x="249" y="485"/>
                  </a:lnTo>
                  <a:lnTo>
                    <a:pt x="251" y="485"/>
                  </a:lnTo>
                  <a:lnTo>
                    <a:pt x="252" y="485"/>
                  </a:lnTo>
                  <a:lnTo>
                    <a:pt x="254" y="485"/>
                  </a:lnTo>
                  <a:lnTo>
                    <a:pt x="256" y="485"/>
                  </a:lnTo>
                  <a:lnTo>
                    <a:pt x="258" y="484"/>
                  </a:lnTo>
                  <a:lnTo>
                    <a:pt x="259" y="484"/>
                  </a:lnTo>
                  <a:lnTo>
                    <a:pt x="259" y="482"/>
                  </a:lnTo>
                  <a:lnTo>
                    <a:pt x="259" y="481"/>
                  </a:lnTo>
                  <a:lnTo>
                    <a:pt x="258" y="481"/>
                  </a:lnTo>
                  <a:lnTo>
                    <a:pt x="256" y="480"/>
                  </a:lnTo>
                  <a:lnTo>
                    <a:pt x="255" y="480"/>
                  </a:lnTo>
                  <a:lnTo>
                    <a:pt x="254" y="479"/>
                  </a:lnTo>
                  <a:lnTo>
                    <a:pt x="253" y="477"/>
                  </a:lnTo>
                  <a:lnTo>
                    <a:pt x="253" y="476"/>
                  </a:lnTo>
                  <a:lnTo>
                    <a:pt x="254" y="474"/>
                  </a:lnTo>
                  <a:lnTo>
                    <a:pt x="255" y="473"/>
                  </a:lnTo>
                  <a:lnTo>
                    <a:pt x="254" y="471"/>
                  </a:lnTo>
                  <a:lnTo>
                    <a:pt x="253" y="470"/>
                  </a:lnTo>
                  <a:lnTo>
                    <a:pt x="251" y="471"/>
                  </a:lnTo>
                  <a:lnTo>
                    <a:pt x="250" y="473"/>
                  </a:lnTo>
                  <a:lnTo>
                    <a:pt x="249" y="474"/>
                  </a:lnTo>
                  <a:lnTo>
                    <a:pt x="247" y="473"/>
                  </a:lnTo>
                  <a:lnTo>
                    <a:pt x="247" y="472"/>
                  </a:lnTo>
                  <a:lnTo>
                    <a:pt x="247" y="471"/>
                  </a:lnTo>
                  <a:lnTo>
                    <a:pt x="245" y="470"/>
                  </a:lnTo>
                  <a:lnTo>
                    <a:pt x="245" y="469"/>
                  </a:lnTo>
                  <a:lnTo>
                    <a:pt x="245" y="469"/>
                  </a:lnTo>
                  <a:lnTo>
                    <a:pt x="246" y="467"/>
                  </a:lnTo>
                  <a:lnTo>
                    <a:pt x="247" y="466"/>
                  </a:lnTo>
                  <a:lnTo>
                    <a:pt x="248" y="465"/>
                  </a:lnTo>
                  <a:lnTo>
                    <a:pt x="249" y="465"/>
                  </a:lnTo>
                  <a:lnTo>
                    <a:pt x="250" y="463"/>
                  </a:lnTo>
                  <a:lnTo>
                    <a:pt x="252" y="463"/>
                  </a:lnTo>
                  <a:lnTo>
                    <a:pt x="252" y="463"/>
                  </a:lnTo>
                  <a:lnTo>
                    <a:pt x="254" y="465"/>
                  </a:lnTo>
                  <a:lnTo>
                    <a:pt x="254" y="465"/>
                  </a:lnTo>
                  <a:lnTo>
                    <a:pt x="256" y="466"/>
                  </a:lnTo>
                  <a:lnTo>
                    <a:pt x="257" y="466"/>
                  </a:lnTo>
                  <a:lnTo>
                    <a:pt x="258" y="466"/>
                  </a:lnTo>
                  <a:lnTo>
                    <a:pt x="259" y="466"/>
                  </a:lnTo>
                  <a:lnTo>
                    <a:pt x="262" y="465"/>
                  </a:lnTo>
                  <a:lnTo>
                    <a:pt x="264" y="465"/>
                  </a:lnTo>
                  <a:lnTo>
                    <a:pt x="264" y="463"/>
                  </a:lnTo>
                  <a:lnTo>
                    <a:pt x="266" y="460"/>
                  </a:lnTo>
                  <a:lnTo>
                    <a:pt x="266" y="459"/>
                  </a:lnTo>
                  <a:lnTo>
                    <a:pt x="266" y="458"/>
                  </a:lnTo>
                  <a:lnTo>
                    <a:pt x="266" y="456"/>
                  </a:lnTo>
                  <a:lnTo>
                    <a:pt x="265" y="455"/>
                  </a:lnTo>
                  <a:lnTo>
                    <a:pt x="266" y="454"/>
                  </a:lnTo>
                  <a:lnTo>
                    <a:pt x="267" y="454"/>
                  </a:lnTo>
                  <a:lnTo>
                    <a:pt x="268" y="454"/>
                  </a:lnTo>
                  <a:lnTo>
                    <a:pt x="269" y="455"/>
                  </a:lnTo>
                  <a:lnTo>
                    <a:pt x="270" y="456"/>
                  </a:lnTo>
                  <a:lnTo>
                    <a:pt x="270" y="458"/>
                  </a:lnTo>
                  <a:lnTo>
                    <a:pt x="270" y="460"/>
                  </a:lnTo>
                  <a:lnTo>
                    <a:pt x="271" y="462"/>
                  </a:lnTo>
                  <a:lnTo>
                    <a:pt x="271" y="463"/>
                  </a:lnTo>
                  <a:lnTo>
                    <a:pt x="272" y="465"/>
                  </a:lnTo>
                  <a:lnTo>
                    <a:pt x="273" y="465"/>
                  </a:lnTo>
                  <a:lnTo>
                    <a:pt x="274" y="465"/>
                  </a:lnTo>
                  <a:lnTo>
                    <a:pt x="274" y="464"/>
                  </a:lnTo>
                  <a:lnTo>
                    <a:pt x="274" y="462"/>
                  </a:lnTo>
                  <a:lnTo>
                    <a:pt x="274" y="461"/>
                  </a:lnTo>
                  <a:lnTo>
                    <a:pt x="274" y="460"/>
                  </a:lnTo>
                  <a:lnTo>
                    <a:pt x="274" y="458"/>
                  </a:lnTo>
                  <a:lnTo>
                    <a:pt x="275" y="456"/>
                  </a:lnTo>
                  <a:lnTo>
                    <a:pt x="275" y="455"/>
                  </a:lnTo>
                  <a:lnTo>
                    <a:pt x="275" y="455"/>
                  </a:lnTo>
                  <a:lnTo>
                    <a:pt x="275" y="454"/>
                  </a:lnTo>
                  <a:lnTo>
                    <a:pt x="276" y="454"/>
                  </a:lnTo>
                  <a:lnTo>
                    <a:pt x="277" y="454"/>
                  </a:lnTo>
                  <a:lnTo>
                    <a:pt x="278" y="455"/>
                  </a:lnTo>
                  <a:lnTo>
                    <a:pt x="278" y="455"/>
                  </a:lnTo>
                  <a:lnTo>
                    <a:pt x="279" y="456"/>
                  </a:lnTo>
                  <a:lnTo>
                    <a:pt x="279" y="455"/>
                  </a:lnTo>
                  <a:lnTo>
                    <a:pt x="280" y="455"/>
                  </a:lnTo>
                  <a:lnTo>
                    <a:pt x="280" y="454"/>
                  </a:lnTo>
                  <a:lnTo>
                    <a:pt x="281" y="453"/>
                  </a:lnTo>
                  <a:lnTo>
                    <a:pt x="281" y="453"/>
                  </a:lnTo>
                  <a:lnTo>
                    <a:pt x="282" y="452"/>
                  </a:lnTo>
                  <a:lnTo>
                    <a:pt x="282" y="452"/>
                  </a:lnTo>
                  <a:lnTo>
                    <a:pt x="283" y="450"/>
                  </a:lnTo>
                  <a:lnTo>
                    <a:pt x="284" y="448"/>
                  </a:lnTo>
                  <a:lnTo>
                    <a:pt x="285" y="447"/>
                  </a:lnTo>
                  <a:lnTo>
                    <a:pt x="286" y="446"/>
                  </a:lnTo>
                  <a:lnTo>
                    <a:pt x="286" y="446"/>
                  </a:lnTo>
                  <a:lnTo>
                    <a:pt x="288" y="447"/>
                  </a:lnTo>
                  <a:lnTo>
                    <a:pt x="288" y="447"/>
                  </a:lnTo>
                  <a:lnTo>
                    <a:pt x="288" y="449"/>
                  </a:lnTo>
                  <a:lnTo>
                    <a:pt x="288" y="450"/>
                  </a:lnTo>
                  <a:lnTo>
                    <a:pt x="289" y="451"/>
                  </a:lnTo>
                  <a:lnTo>
                    <a:pt x="289" y="452"/>
                  </a:lnTo>
                  <a:lnTo>
                    <a:pt x="289" y="453"/>
                  </a:lnTo>
                  <a:lnTo>
                    <a:pt x="290" y="454"/>
                  </a:lnTo>
                  <a:lnTo>
                    <a:pt x="290" y="455"/>
                  </a:lnTo>
                  <a:lnTo>
                    <a:pt x="290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2" y="458"/>
                  </a:lnTo>
                  <a:lnTo>
                    <a:pt x="293" y="458"/>
                  </a:lnTo>
                  <a:lnTo>
                    <a:pt x="294" y="459"/>
                  </a:lnTo>
                  <a:lnTo>
                    <a:pt x="295" y="460"/>
                  </a:lnTo>
                  <a:lnTo>
                    <a:pt x="296" y="461"/>
                  </a:lnTo>
                  <a:lnTo>
                    <a:pt x="297" y="462"/>
                  </a:lnTo>
                  <a:lnTo>
                    <a:pt x="298" y="466"/>
                  </a:lnTo>
                  <a:lnTo>
                    <a:pt x="298" y="467"/>
                  </a:lnTo>
                  <a:lnTo>
                    <a:pt x="299" y="468"/>
                  </a:lnTo>
                  <a:lnTo>
                    <a:pt x="299" y="469"/>
                  </a:lnTo>
                  <a:lnTo>
                    <a:pt x="300" y="470"/>
                  </a:lnTo>
                  <a:lnTo>
                    <a:pt x="300" y="471"/>
                  </a:lnTo>
                  <a:lnTo>
                    <a:pt x="301" y="474"/>
                  </a:lnTo>
                  <a:lnTo>
                    <a:pt x="302" y="475"/>
                  </a:lnTo>
                  <a:lnTo>
                    <a:pt x="304" y="475"/>
                  </a:lnTo>
                  <a:lnTo>
                    <a:pt x="304" y="475"/>
                  </a:lnTo>
                  <a:lnTo>
                    <a:pt x="305" y="475"/>
                  </a:lnTo>
                  <a:lnTo>
                    <a:pt x="305" y="473"/>
                  </a:lnTo>
                  <a:lnTo>
                    <a:pt x="304" y="472"/>
                  </a:lnTo>
                  <a:lnTo>
                    <a:pt x="304" y="470"/>
                  </a:lnTo>
                  <a:lnTo>
                    <a:pt x="305" y="469"/>
                  </a:lnTo>
                  <a:lnTo>
                    <a:pt x="305" y="469"/>
                  </a:lnTo>
                  <a:lnTo>
                    <a:pt x="305" y="466"/>
                  </a:lnTo>
                  <a:lnTo>
                    <a:pt x="305" y="465"/>
                  </a:lnTo>
                  <a:lnTo>
                    <a:pt x="305" y="463"/>
                  </a:lnTo>
                  <a:lnTo>
                    <a:pt x="305" y="462"/>
                  </a:lnTo>
                  <a:lnTo>
                    <a:pt x="306" y="462"/>
                  </a:lnTo>
                  <a:lnTo>
                    <a:pt x="307" y="462"/>
                  </a:lnTo>
                  <a:lnTo>
                    <a:pt x="307" y="463"/>
                  </a:lnTo>
                  <a:lnTo>
                    <a:pt x="307" y="463"/>
                  </a:lnTo>
                  <a:lnTo>
                    <a:pt x="308" y="464"/>
                  </a:lnTo>
                  <a:lnTo>
                    <a:pt x="309" y="465"/>
                  </a:lnTo>
                  <a:lnTo>
                    <a:pt x="309" y="466"/>
                  </a:lnTo>
                  <a:lnTo>
                    <a:pt x="310" y="467"/>
                  </a:lnTo>
                  <a:lnTo>
                    <a:pt x="311" y="469"/>
                  </a:lnTo>
                  <a:lnTo>
                    <a:pt x="311" y="470"/>
                  </a:lnTo>
                  <a:lnTo>
                    <a:pt x="312" y="471"/>
                  </a:lnTo>
                  <a:lnTo>
                    <a:pt x="312" y="473"/>
                  </a:lnTo>
                  <a:lnTo>
                    <a:pt x="312" y="475"/>
                  </a:lnTo>
                  <a:lnTo>
                    <a:pt x="313" y="479"/>
                  </a:lnTo>
                  <a:lnTo>
                    <a:pt x="314" y="480"/>
                  </a:lnTo>
                  <a:lnTo>
                    <a:pt x="315" y="481"/>
                  </a:lnTo>
                  <a:lnTo>
                    <a:pt x="315" y="482"/>
                  </a:lnTo>
                  <a:lnTo>
                    <a:pt x="315" y="484"/>
                  </a:lnTo>
                  <a:lnTo>
                    <a:pt x="316" y="484"/>
                  </a:lnTo>
                  <a:lnTo>
                    <a:pt x="316" y="485"/>
                  </a:lnTo>
                  <a:lnTo>
                    <a:pt x="318" y="486"/>
                  </a:lnTo>
                  <a:lnTo>
                    <a:pt x="319" y="486"/>
                  </a:lnTo>
                  <a:lnTo>
                    <a:pt x="320" y="487"/>
                  </a:lnTo>
                  <a:lnTo>
                    <a:pt x="322" y="489"/>
                  </a:lnTo>
                  <a:lnTo>
                    <a:pt x="323" y="490"/>
                  </a:lnTo>
                  <a:lnTo>
                    <a:pt x="324" y="490"/>
                  </a:lnTo>
                  <a:lnTo>
                    <a:pt x="324" y="490"/>
                  </a:lnTo>
                  <a:lnTo>
                    <a:pt x="326" y="490"/>
                  </a:lnTo>
                  <a:lnTo>
                    <a:pt x="328" y="490"/>
                  </a:lnTo>
                  <a:lnTo>
                    <a:pt x="330" y="490"/>
                  </a:lnTo>
                  <a:lnTo>
                    <a:pt x="331" y="489"/>
                  </a:lnTo>
                  <a:lnTo>
                    <a:pt x="333" y="488"/>
                  </a:lnTo>
                  <a:lnTo>
                    <a:pt x="334" y="488"/>
                  </a:lnTo>
                  <a:lnTo>
                    <a:pt x="335" y="488"/>
                  </a:lnTo>
                  <a:lnTo>
                    <a:pt x="337" y="488"/>
                  </a:lnTo>
                  <a:lnTo>
                    <a:pt x="339" y="489"/>
                  </a:lnTo>
                  <a:lnTo>
                    <a:pt x="339" y="490"/>
                  </a:lnTo>
                  <a:lnTo>
                    <a:pt x="340" y="490"/>
                  </a:lnTo>
                  <a:lnTo>
                    <a:pt x="342" y="493"/>
                  </a:lnTo>
                  <a:lnTo>
                    <a:pt x="342" y="494"/>
                  </a:lnTo>
                  <a:lnTo>
                    <a:pt x="343" y="495"/>
                  </a:lnTo>
                  <a:lnTo>
                    <a:pt x="344" y="495"/>
                  </a:lnTo>
                  <a:lnTo>
                    <a:pt x="345" y="495"/>
                  </a:lnTo>
                  <a:lnTo>
                    <a:pt x="346" y="495"/>
                  </a:lnTo>
                  <a:lnTo>
                    <a:pt x="349" y="495"/>
                  </a:lnTo>
                  <a:lnTo>
                    <a:pt x="349" y="495"/>
                  </a:lnTo>
                  <a:lnTo>
                    <a:pt x="351" y="494"/>
                  </a:lnTo>
                  <a:lnTo>
                    <a:pt x="355" y="492"/>
                  </a:lnTo>
                  <a:lnTo>
                    <a:pt x="357" y="492"/>
                  </a:lnTo>
                  <a:lnTo>
                    <a:pt x="360" y="492"/>
                  </a:lnTo>
                  <a:lnTo>
                    <a:pt x="361" y="492"/>
                  </a:lnTo>
                  <a:lnTo>
                    <a:pt x="363" y="492"/>
                  </a:lnTo>
                  <a:lnTo>
                    <a:pt x="364" y="492"/>
                  </a:lnTo>
                  <a:lnTo>
                    <a:pt x="365" y="492"/>
                  </a:lnTo>
                  <a:lnTo>
                    <a:pt x="367" y="492"/>
                  </a:lnTo>
                  <a:lnTo>
                    <a:pt x="368" y="492"/>
                  </a:lnTo>
                  <a:lnTo>
                    <a:pt x="369" y="492"/>
                  </a:lnTo>
                  <a:lnTo>
                    <a:pt x="371" y="493"/>
                  </a:lnTo>
                  <a:lnTo>
                    <a:pt x="371" y="493"/>
                  </a:lnTo>
                  <a:lnTo>
                    <a:pt x="372" y="493"/>
                  </a:lnTo>
                  <a:lnTo>
                    <a:pt x="373" y="493"/>
                  </a:lnTo>
                  <a:lnTo>
                    <a:pt x="374" y="492"/>
                  </a:lnTo>
                  <a:lnTo>
                    <a:pt x="375" y="492"/>
                  </a:lnTo>
                  <a:lnTo>
                    <a:pt x="376" y="492"/>
                  </a:lnTo>
                  <a:lnTo>
                    <a:pt x="376" y="491"/>
                  </a:lnTo>
                  <a:lnTo>
                    <a:pt x="377" y="490"/>
                  </a:lnTo>
                  <a:lnTo>
                    <a:pt x="378" y="489"/>
                  </a:lnTo>
                  <a:lnTo>
                    <a:pt x="379" y="489"/>
                  </a:lnTo>
                  <a:lnTo>
                    <a:pt x="379" y="488"/>
                  </a:lnTo>
                  <a:lnTo>
                    <a:pt x="380" y="487"/>
                  </a:lnTo>
                  <a:lnTo>
                    <a:pt x="381" y="486"/>
                  </a:lnTo>
                  <a:lnTo>
                    <a:pt x="382" y="485"/>
                  </a:lnTo>
                  <a:lnTo>
                    <a:pt x="383" y="484"/>
                  </a:lnTo>
                  <a:lnTo>
                    <a:pt x="386" y="482"/>
                  </a:lnTo>
                  <a:lnTo>
                    <a:pt x="390" y="475"/>
                  </a:lnTo>
                  <a:lnTo>
                    <a:pt x="391" y="473"/>
                  </a:lnTo>
                  <a:lnTo>
                    <a:pt x="390" y="471"/>
                  </a:lnTo>
                  <a:lnTo>
                    <a:pt x="390" y="470"/>
                  </a:lnTo>
                  <a:lnTo>
                    <a:pt x="390" y="469"/>
                  </a:lnTo>
                  <a:lnTo>
                    <a:pt x="389" y="467"/>
                  </a:lnTo>
                  <a:lnTo>
                    <a:pt x="389" y="465"/>
                  </a:lnTo>
                  <a:lnTo>
                    <a:pt x="390" y="465"/>
                  </a:lnTo>
                  <a:lnTo>
                    <a:pt x="391" y="465"/>
                  </a:lnTo>
                  <a:lnTo>
                    <a:pt x="392" y="466"/>
                  </a:lnTo>
                  <a:lnTo>
                    <a:pt x="392" y="466"/>
                  </a:lnTo>
                  <a:lnTo>
                    <a:pt x="393" y="466"/>
                  </a:lnTo>
                  <a:lnTo>
                    <a:pt x="394" y="467"/>
                  </a:lnTo>
                  <a:lnTo>
                    <a:pt x="395" y="467"/>
                  </a:lnTo>
                  <a:lnTo>
                    <a:pt x="396" y="467"/>
                  </a:lnTo>
                  <a:lnTo>
                    <a:pt x="397" y="466"/>
                  </a:lnTo>
                  <a:lnTo>
                    <a:pt x="398" y="465"/>
                  </a:lnTo>
                  <a:lnTo>
                    <a:pt x="404" y="458"/>
                  </a:lnTo>
                  <a:lnTo>
                    <a:pt x="406" y="455"/>
                  </a:lnTo>
                  <a:lnTo>
                    <a:pt x="406" y="455"/>
                  </a:lnTo>
                  <a:lnTo>
                    <a:pt x="407" y="455"/>
                  </a:lnTo>
                  <a:lnTo>
                    <a:pt x="408" y="455"/>
                  </a:lnTo>
                  <a:lnTo>
                    <a:pt x="409" y="457"/>
                  </a:lnTo>
                  <a:lnTo>
                    <a:pt x="410" y="457"/>
                  </a:lnTo>
                  <a:lnTo>
                    <a:pt x="411" y="458"/>
                  </a:lnTo>
                  <a:lnTo>
                    <a:pt x="412" y="458"/>
                  </a:lnTo>
                  <a:lnTo>
                    <a:pt x="412" y="458"/>
                  </a:lnTo>
                  <a:lnTo>
                    <a:pt x="413" y="458"/>
                  </a:lnTo>
                  <a:lnTo>
                    <a:pt x="416" y="458"/>
                  </a:lnTo>
                  <a:lnTo>
                    <a:pt x="417" y="456"/>
                  </a:lnTo>
                  <a:lnTo>
                    <a:pt x="418" y="455"/>
                  </a:lnTo>
                  <a:lnTo>
                    <a:pt x="418" y="454"/>
                  </a:lnTo>
                  <a:lnTo>
                    <a:pt x="419" y="453"/>
                  </a:lnTo>
                  <a:lnTo>
                    <a:pt x="420" y="451"/>
                  </a:lnTo>
                  <a:lnTo>
                    <a:pt x="420" y="451"/>
                  </a:lnTo>
                  <a:lnTo>
                    <a:pt x="421" y="450"/>
                  </a:lnTo>
                  <a:lnTo>
                    <a:pt x="422" y="450"/>
                  </a:lnTo>
                  <a:lnTo>
                    <a:pt x="424" y="450"/>
                  </a:lnTo>
                  <a:lnTo>
                    <a:pt x="425" y="450"/>
                  </a:lnTo>
                  <a:lnTo>
                    <a:pt x="426" y="451"/>
                  </a:lnTo>
                  <a:lnTo>
                    <a:pt x="428" y="451"/>
                  </a:lnTo>
                  <a:lnTo>
                    <a:pt x="428" y="452"/>
                  </a:lnTo>
                  <a:lnTo>
                    <a:pt x="429" y="453"/>
                  </a:lnTo>
                  <a:lnTo>
                    <a:pt x="431" y="454"/>
                  </a:lnTo>
                  <a:lnTo>
                    <a:pt x="436" y="457"/>
                  </a:lnTo>
                  <a:lnTo>
                    <a:pt x="436" y="459"/>
                  </a:lnTo>
                  <a:lnTo>
                    <a:pt x="436" y="457"/>
                  </a:lnTo>
                  <a:lnTo>
                    <a:pt x="436" y="456"/>
                  </a:lnTo>
                  <a:lnTo>
                    <a:pt x="436" y="455"/>
                  </a:lnTo>
                  <a:lnTo>
                    <a:pt x="435" y="454"/>
                  </a:lnTo>
                  <a:lnTo>
                    <a:pt x="433" y="453"/>
                  </a:lnTo>
                  <a:lnTo>
                    <a:pt x="432" y="453"/>
                  </a:lnTo>
                  <a:lnTo>
                    <a:pt x="432" y="452"/>
                  </a:lnTo>
                  <a:lnTo>
                    <a:pt x="432" y="451"/>
                  </a:lnTo>
                  <a:lnTo>
                    <a:pt x="432" y="450"/>
                  </a:lnTo>
                  <a:lnTo>
                    <a:pt x="432" y="449"/>
                  </a:lnTo>
                  <a:lnTo>
                    <a:pt x="433" y="448"/>
                  </a:lnTo>
                  <a:lnTo>
                    <a:pt x="434" y="447"/>
                  </a:lnTo>
                  <a:lnTo>
                    <a:pt x="435" y="447"/>
                  </a:lnTo>
                  <a:lnTo>
                    <a:pt x="436" y="448"/>
                  </a:lnTo>
                  <a:lnTo>
                    <a:pt x="436" y="448"/>
                  </a:lnTo>
                  <a:lnTo>
                    <a:pt x="436" y="448"/>
                  </a:lnTo>
                  <a:lnTo>
                    <a:pt x="436" y="449"/>
                  </a:lnTo>
                  <a:lnTo>
                    <a:pt x="437" y="450"/>
                  </a:lnTo>
                  <a:lnTo>
                    <a:pt x="438" y="450"/>
                  </a:lnTo>
                  <a:lnTo>
                    <a:pt x="439" y="450"/>
                  </a:lnTo>
                  <a:lnTo>
                    <a:pt x="440" y="450"/>
                  </a:lnTo>
                  <a:lnTo>
                    <a:pt x="441" y="448"/>
                  </a:lnTo>
                  <a:lnTo>
                    <a:pt x="442" y="447"/>
                  </a:lnTo>
                  <a:lnTo>
                    <a:pt x="443" y="446"/>
                  </a:lnTo>
                  <a:lnTo>
                    <a:pt x="447" y="440"/>
                  </a:lnTo>
                  <a:lnTo>
                    <a:pt x="448" y="439"/>
                  </a:lnTo>
                  <a:lnTo>
                    <a:pt x="451" y="437"/>
                  </a:lnTo>
                  <a:lnTo>
                    <a:pt x="455" y="433"/>
                  </a:lnTo>
                  <a:lnTo>
                    <a:pt x="455" y="432"/>
                  </a:lnTo>
                  <a:lnTo>
                    <a:pt x="457" y="431"/>
                  </a:lnTo>
                  <a:lnTo>
                    <a:pt x="458" y="430"/>
                  </a:lnTo>
                  <a:lnTo>
                    <a:pt x="460" y="427"/>
                  </a:lnTo>
                  <a:lnTo>
                    <a:pt x="468" y="421"/>
                  </a:lnTo>
                  <a:lnTo>
                    <a:pt x="470" y="420"/>
                  </a:lnTo>
                  <a:lnTo>
                    <a:pt x="474" y="418"/>
                  </a:lnTo>
                  <a:lnTo>
                    <a:pt x="475" y="417"/>
                  </a:lnTo>
                  <a:lnTo>
                    <a:pt x="481" y="413"/>
                  </a:lnTo>
                  <a:lnTo>
                    <a:pt x="482" y="412"/>
                  </a:lnTo>
                  <a:lnTo>
                    <a:pt x="483" y="411"/>
                  </a:lnTo>
                  <a:lnTo>
                    <a:pt x="485" y="409"/>
                  </a:lnTo>
                  <a:lnTo>
                    <a:pt x="492" y="405"/>
                  </a:lnTo>
                  <a:lnTo>
                    <a:pt x="493" y="403"/>
                  </a:lnTo>
                  <a:lnTo>
                    <a:pt x="495" y="403"/>
                  </a:lnTo>
                  <a:lnTo>
                    <a:pt x="498" y="401"/>
                  </a:lnTo>
                  <a:lnTo>
                    <a:pt x="513" y="392"/>
                  </a:lnTo>
                  <a:lnTo>
                    <a:pt x="522" y="389"/>
                  </a:lnTo>
                  <a:lnTo>
                    <a:pt x="525" y="387"/>
                  </a:lnTo>
                  <a:lnTo>
                    <a:pt x="535" y="383"/>
                  </a:lnTo>
                  <a:lnTo>
                    <a:pt x="541" y="380"/>
                  </a:lnTo>
                  <a:lnTo>
                    <a:pt x="541" y="379"/>
                  </a:lnTo>
                  <a:lnTo>
                    <a:pt x="543" y="379"/>
                  </a:lnTo>
                  <a:lnTo>
                    <a:pt x="544" y="378"/>
                  </a:lnTo>
                  <a:lnTo>
                    <a:pt x="543" y="377"/>
                  </a:lnTo>
                  <a:lnTo>
                    <a:pt x="542" y="377"/>
                  </a:lnTo>
                  <a:lnTo>
                    <a:pt x="541" y="377"/>
                  </a:lnTo>
                  <a:lnTo>
                    <a:pt x="541" y="377"/>
                  </a:lnTo>
                  <a:lnTo>
                    <a:pt x="539" y="378"/>
                  </a:lnTo>
                  <a:lnTo>
                    <a:pt x="535" y="380"/>
                  </a:lnTo>
                  <a:lnTo>
                    <a:pt x="527" y="383"/>
                  </a:lnTo>
                  <a:lnTo>
                    <a:pt x="525" y="384"/>
                  </a:lnTo>
                  <a:lnTo>
                    <a:pt x="522" y="386"/>
                  </a:lnTo>
                  <a:lnTo>
                    <a:pt x="518" y="388"/>
                  </a:lnTo>
                  <a:lnTo>
                    <a:pt x="516" y="389"/>
                  </a:lnTo>
                  <a:lnTo>
                    <a:pt x="516" y="390"/>
                  </a:lnTo>
                  <a:lnTo>
                    <a:pt x="515" y="390"/>
                  </a:lnTo>
                  <a:lnTo>
                    <a:pt x="513" y="391"/>
                  </a:lnTo>
                  <a:lnTo>
                    <a:pt x="510" y="391"/>
                  </a:lnTo>
                  <a:lnTo>
                    <a:pt x="509" y="391"/>
                  </a:lnTo>
                  <a:lnTo>
                    <a:pt x="509" y="391"/>
                  </a:lnTo>
                  <a:lnTo>
                    <a:pt x="508" y="391"/>
                  </a:lnTo>
                  <a:lnTo>
                    <a:pt x="507" y="391"/>
                  </a:lnTo>
                  <a:lnTo>
                    <a:pt x="507" y="391"/>
                  </a:lnTo>
                  <a:lnTo>
                    <a:pt x="507" y="391"/>
                  </a:lnTo>
                  <a:lnTo>
                    <a:pt x="507" y="390"/>
                  </a:lnTo>
                  <a:lnTo>
                    <a:pt x="508" y="389"/>
                  </a:lnTo>
                  <a:lnTo>
                    <a:pt x="508" y="388"/>
                  </a:lnTo>
                  <a:lnTo>
                    <a:pt x="509" y="387"/>
                  </a:lnTo>
                  <a:lnTo>
                    <a:pt x="509" y="386"/>
                  </a:lnTo>
                  <a:lnTo>
                    <a:pt x="508" y="386"/>
                  </a:lnTo>
                  <a:lnTo>
                    <a:pt x="508" y="385"/>
                  </a:lnTo>
                  <a:lnTo>
                    <a:pt x="507" y="384"/>
                  </a:lnTo>
                  <a:lnTo>
                    <a:pt x="505" y="384"/>
                  </a:lnTo>
                  <a:lnTo>
                    <a:pt x="504" y="383"/>
                  </a:lnTo>
                  <a:lnTo>
                    <a:pt x="504" y="383"/>
                  </a:lnTo>
                  <a:lnTo>
                    <a:pt x="503" y="382"/>
                  </a:lnTo>
                  <a:lnTo>
                    <a:pt x="503" y="381"/>
                  </a:lnTo>
                  <a:lnTo>
                    <a:pt x="501" y="381"/>
                  </a:lnTo>
                  <a:lnTo>
                    <a:pt x="501" y="381"/>
                  </a:lnTo>
                  <a:lnTo>
                    <a:pt x="500" y="383"/>
                  </a:lnTo>
                  <a:lnTo>
                    <a:pt x="499" y="383"/>
                  </a:lnTo>
                  <a:lnTo>
                    <a:pt x="498" y="383"/>
                  </a:lnTo>
                  <a:lnTo>
                    <a:pt x="498" y="384"/>
                  </a:lnTo>
                  <a:lnTo>
                    <a:pt x="497" y="385"/>
                  </a:lnTo>
                  <a:lnTo>
                    <a:pt x="497" y="386"/>
                  </a:lnTo>
                  <a:lnTo>
                    <a:pt x="497" y="387"/>
                  </a:lnTo>
                  <a:lnTo>
                    <a:pt x="497" y="388"/>
                  </a:lnTo>
                  <a:lnTo>
                    <a:pt x="497" y="388"/>
                  </a:lnTo>
                  <a:lnTo>
                    <a:pt x="498" y="389"/>
                  </a:lnTo>
                  <a:lnTo>
                    <a:pt x="498" y="390"/>
                  </a:lnTo>
                  <a:lnTo>
                    <a:pt x="497" y="391"/>
                  </a:lnTo>
                  <a:lnTo>
                    <a:pt x="497" y="391"/>
                  </a:lnTo>
                  <a:lnTo>
                    <a:pt x="496" y="391"/>
                  </a:lnTo>
                  <a:lnTo>
                    <a:pt x="496" y="391"/>
                  </a:lnTo>
                  <a:lnTo>
                    <a:pt x="495" y="392"/>
                  </a:lnTo>
                  <a:lnTo>
                    <a:pt x="495" y="392"/>
                  </a:lnTo>
                  <a:lnTo>
                    <a:pt x="495" y="393"/>
                  </a:lnTo>
                  <a:lnTo>
                    <a:pt x="496" y="394"/>
                  </a:lnTo>
                  <a:lnTo>
                    <a:pt x="496" y="394"/>
                  </a:lnTo>
                  <a:lnTo>
                    <a:pt x="497" y="395"/>
                  </a:lnTo>
                  <a:lnTo>
                    <a:pt x="496" y="395"/>
                  </a:lnTo>
                  <a:lnTo>
                    <a:pt x="496" y="396"/>
                  </a:lnTo>
                  <a:lnTo>
                    <a:pt x="496" y="396"/>
                  </a:lnTo>
                  <a:lnTo>
                    <a:pt x="495" y="396"/>
                  </a:lnTo>
                  <a:lnTo>
                    <a:pt x="494" y="396"/>
                  </a:lnTo>
                  <a:lnTo>
                    <a:pt x="494" y="396"/>
                  </a:lnTo>
                  <a:lnTo>
                    <a:pt x="493" y="398"/>
                  </a:lnTo>
                  <a:lnTo>
                    <a:pt x="493" y="398"/>
                  </a:lnTo>
                  <a:lnTo>
                    <a:pt x="493" y="399"/>
                  </a:lnTo>
                  <a:lnTo>
                    <a:pt x="493" y="399"/>
                  </a:lnTo>
                  <a:lnTo>
                    <a:pt x="492" y="399"/>
                  </a:lnTo>
                  <a:lnTo>
                    <a:pt x="492" y="400"/>
                  </a:lnTo>
                  <a:lnTo>
                    <a:pt x="490" y="400"/>
                  </a:lnTo>
                  <a:lnTo>
                    <a:pt x="489" y="400"/>
                  </a:lnTo>
                  <a:lnTo>
                    <a:pt x="489" y="401"/>
                  </a:lnTo>
                  <a:lnTo>
                    <a:pt x="488" y="402"/>
                  </a:lnTo>
                  <a:lnTo>
                    <a:pt x="488" y="403"/>
                  </a:lnTo>
                  <a:lnTo>
                    <a:pt x="488" y="404"/>
                  </a:lnTo>
                  <a:lnTo>
                    <a:pt x="487" y="405"/>
                  </a:lnTo>
                  <a:lnTo>
                    <a:pt x="485" y="405"/>
                  </a:lnTo>
                  <a:lnTo>
                    <a:pt x="485" y="404"/>
                  </a:lnTo>
                  <a:lnTo>
                    <a:pt x="485" y="403"/>
                  </a:lnTo>
                  <a:lnTo>
                    <a:pt x="484" y="403"/>
                  </a:lnTo>
                  <a:lnTo>
                    <a:pt x="484" y="402"/>
                  </a:lnTo>
                  <a:lnTo>
                    <a:pt x="484" y="402"/>
                  </a:lnTo>
                  <a:lnTo>
                    <a:pt x="483" y="402"/>
                  </a:lnTo>
                  <a:lnTo>
                    <a:pt x="482" y="402"/>
                  </a:lnTo>
                  <a:lnTo>
                    <a:pt x="482" y="401"/>
                  </a:lnTo>
                  <a:lnTo>
                    <a:pt x="482" y="401"/>
                  </a:lnTo>
                  <a:lnTo>
                    <a:pt x="482" y="400"/>
                  </a:lnTo>
                  <a:lnTo>
                    <a:pt x="483" y="399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484" y="396"/>
                  </a:lnTo>
                  <a:lnTo>
                    <a:pt x="484" y="395"/>
                  </a:lnTo>
                  <a:lnTo>
                    <a:pt x="484" y="394"/>
                  </a:lnTo>
                  <a:lnTo>
                    <a:pt x="485" y="394"/>
                  </a:lnTo>
                  <a:lnTo>
                    <a:pt x="485" y="393"/>
                  </a:lnTo>
                  <a:lnTo>
                    <a:pt x="485" y="392"/>
                  </a:lnTo>
                  <a:lnTo>
                    <a:pt x="486" y="390"/>
                  </a:lnTo>
                  <a:lnTo>
                    <a:pt x="486" y="388"/>
                  </a:lnTo>
                  <a:lnTo>
                    <a:pt x="486" y="387"/>
                  </a:lnTo>
                  <a:lnTo>
                    <a:pt x="487" y="386"/>
                  </a:lnTo>
                  <a:lnTo>
                    <a:pt x="488" y="386"/>
                  </a:lnTo>
                  <a:lnTo>
                    <a:pt x="488" y="385"/>
                  </a:lnTo>
                  <a:lnTo>
                    <a:pt x="489" y="384"/>
                  </a:lnTo>
                  <a:lnTo>
                    <a:pt x="490" y="384"/>
                  </a:lnTo>
                  <a:lnTo>
                    <a:pt x="541" y="365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36" name="MZ"/>
            <p:cNvSpPr>
              <a:spLocks/>
            </p:cNvSpPr>
            <p:nvPr/>
          </p:nvSpPr>
          <p:spPr bwMode="auto">
            <a:xfrm>
              <a:off x="7998383" y="3268941"/>
              <a:ext cx="134088" cy="272760"/>
            </a:xfrm>
            <a:custGeom>
              <a:avLst/>
              <a:gdLst>
                <a:gd name="T0" fmla="*/ 5 w 332"/>
                <a:gd name="T1" fmla="*/ 239 h 704"/>
                <a:gd name="T2" fmla="*/ 26 w 332"/>
                <a:gd name="T3" fmla="*/ 272 h 704"/>
                <a:gd name="T4" fmla="*/ 32 w 332"/>
                <a:gd name="T5" fmla="*/ 330 h 704"/>
                <a:gd name="T6" fmla="*/ 32 w 332"/>
                <a:gd name="T7" fmla="*/ 375 h 704"/>
                <a:gd name="T8" fmla="*/ 38 w 332"/>
                <a:gd name="T9" fmla="*/ 409 h 704"/>
                <a:gd name="T10" fmla="*/ 37 w 332"/>
                <a:gd name="T11" fmla="*/ 440 h 704"/>
                <a:gd name="T12" fmla="*/ 64 w 332"/>
                <a:gd name="T13" fmla="*/ 456 h 704"/>
                <a:gd name="T14" fmla="*/ 66 w 332"/>
                <a:gd name="T15" fmla="*/ 496 h 704"/>
                <a:gd name="T16" fmla="*/ 83 w 332"/>
                <a:gd name="T17" fmla="*/ 531 h 704"/>
                <a:gd name="T18" fmla="*/ 92 w 332"/>
                <a:gd name="T19" fmla="*/ 568 h 704"/>
                <a:gd name="T20" fmla="*/ 99 w 332"/>
                <a:gd name="T21" fmla="*/ 626 h 704"/>
                <a:gd name="T22" fmla="*/ 106 w 332"/>
                <a:gd name="T23" fmla="*/ 660 h 704"/>
                <a:gd name="T24" fmla="*/ 116 w 332"/>
                <a:gd name="T25" fmla="*/ 703 h 704"/>
                <a:gd name="T26" fmla="*/ 132 w 332"/>
                <a:gd name="T27" fmla="*/ 689 h 704"/>
                <a:gd name="T28" fmla="*/ 135 w 332"/>
                <a:gd name="T29" fmla="*/ 655 h 704"/>
                <a:gd name="T30" fmla="*/ 162 w 332"/>
                <a:gd name="T31" fmla="*/ 664 h 704"/>
                <a:gd name="T32" fmla="*/ 190 w 332"/>
                <a:gd name="T33" fmla="*/ 696 h 704"/>
                <a:gd name="T34" fmla="*/ 206 w 332"/>
                <a:gd name="T35" fmla="*/ 683 h 704"/>
                <a:gd name="T36" fmla="*/ 222 w 332"/>
                <a:gd name="T37" fmla="*/ 690 h 704"/>
                <a:gd name="T38" fmla="*/ 224 w 332"/>
                <a:gd name="T39" fmla="*/ 660 h 704"/>
                <a:gd name="T40" fmla="*/ 235 w 332"/>
                <a:gd name="T41" fmla="*/ 650 h 704"/>
                <a:gd name="T42" fmla="*/ 245 w 332"/>
                <a:gd name="T43" fmla="*/ 634 h 704"/>
                <a:gd name="T44" fmla="*/ 260 w 332"/>
                <a:gd name="T45" fmla="*/ 631 h 704"/>
                <a:gd name="T46" fmla="*/ 278 w 332"/>
                <a:gd name="T47" fmla="*/ 612 h 704"/>
                <a:gd name="T48" fmla="*/ 275 w 332"/>
                <a:gd name="T49" fmla="*/ 572 h 704"/>
                <a:gd name="T50" fmla="*/ 255 w 332"/>
                <a:gd name="T51" fmla="*/ 543 h 704"/>
                <a:gd name="T52" fmla="*/ 252 w 332"/>
                <a:gd name="T53" fmla="*/ 507 h 704"/>
                <a:gd name="T54" fmla="*/ 245 w 332"/>
                <a:gd name="T55" fmla="*/ 479 h 704"/>
                <a:gd name="T56" fmla="*/ 254 w 332"/>
                <a:gd name="T57" fmla="*/ 440 h 704"/>
                <a:gd name="T58" fmla="*/ 252 w 332"/>
                <a:gd name="T59" fmla="*/ 407 h 704"/>
                <a:gd name="T60" fmla="*/ 280 w 332"/>
                <a:gd name="T61" fmla="*/ 410 h 704"/>
                <a:gd name="T62" fmla="*/ 310 w 332"/>
                <a:gd name="T63" fmla="*/ 393 h 704"/>
                <a:gd name="T64" fmla="*/ 316 w 332"/>
                <a:gd name="T65" fmla="*/ 357 h 704"/>
                <a:gd name="T66" fmla="*/ 315 w 332"/>
                <a:gd name="T67" fmla="*/ 327 h 704"/>
                <a:gd name="T68" fmla="*/ 325 w 332"/>
                <a:gd name="T69" fmla="*/ 289 h 704"/>
                <a:gd name="T70" fmla="*/ 327 w 332"/>
                <a:gd name="T71" fmla="*/ 256 h 704"/>
                <a:gd name="T72" fmla="*/ 327 w 332"/>
                <a:gd name="T73" fmla="*/ 207 h 704"/>
                <a:gd name="T74" fmla="*/ 319 w 332"/>
                <a:gd name="T75" fmla="*/ 177 h 704"/>
                <a:gd name="T76" fmla="*/ 307 w 332"/>
                <a:gd name="T77" fmla="*/ 137 h 704"/>
                <a:gd name="T78" fmla="*/ 286 w 332"/>
                <a:gd name="T79" fmla="*/ 120 h 704"/>
                <a:gd name="T80" fmla="*/ 262 w 332"/>
                <a:gd name="T81" fmla="*/ 117 h 704"/>
                <a:gd name="T82" fmla="*/ 248 w 332"/>
                <a:gd name="T83" fmla="*/ 105 h 704"/>
                <a:gd name="T84" fmla="*/ 230 w 332"/>
                <a:gd name="T85" fmla="*/ 108 h 704"/>
                <a:gd name="T86" fmla="*/ 198 w 332"/>
                <a:gd name="T87" fmla="*/ 98 h 704"/>
                <a:gd name="T88" fmla="*/ 203 w 332"/>
                <a:gd name="T89" fmla="*/ 67 h 704"/>
                <a:gd name="T90" fmla="*/ 202 w 332"/>
                <a:gd name="T91" fmla="*/ 33 h 704"/>
                <a:gd name="T92" fmla="*/ 179 w 332"/>
                <a:gd name="T93" fmla="*/ 21 h 704"/>
                <a:gd name="T94" fmla="*/ 151 w 332"/>
                <a:gd name="T95" fmla="*/ 32 h 704"/>
                <a:gd name="T96" fmla="*/ 141 w 332"/>
                <a:gd name="T97" fmla="*/ 5 h 704"/>
                <a:gd name="T98" fmla="*/ 122 w 332"/>
                <a:gd name="T99" fmla="*/ 17 h 704"/>
                <a:gd name="T100" fmla="*/ 101 w 332"/>
                <a:gd name="T101" fmla="*/ 44 h 704"/>
                <a:gd name="T102" fmla="*/ 84 w 332"/>
                <a:gd name="T103" fmla="*/ 68 h 704"/>
                <a:gd name="T104" fmla="*/ 70 w 332"/>
                <a:gd name="T105" fmla="*/ 92 h 704"/>
                <a:gd name="T106" fmla="*/ 46 w 332"/>
                <a:gd name="T107" fmla="*/ 90 h 704"/>
                <a:gd name="T108" fmla="*/ 31 w 332"/>
                <a:gd name="T109" fmla="*/ 65 h 704"/>
                <a:gd name="T110" fmla="*/ 11 w 332"/>
                <a:gd name="T111" fmla="*/ 85 h 704"/>
                <a:gd name="T112" fmla="*/ 20 w 332"/>
                <a:gd name="T113" fmla="*/ 101 h 704"/>
                <a:gd name="T114" fmla="*/ 12 w 332"/>
                <a:gd name="T115" fmla="*/ 131 h 704"/>
                <a:gd name="T116" fmla="*/ 24 w 332"/>
                <a:gd name="T117" fmla="*/ 160 h 704"/>
                <a:gd name="T118" fmla="*/ 16 w 332"/>
                <a:gd name="T119" fmla="*/ 180 h 704"/>
                <a:gd name="T120" fmla="*/ 6 w 332"/>
                <a:gd name="T121" fmla="*/ 199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2" h="704">
                  <a:moveTo>
                    <a:pt x="6" y="203"/>
                  </a:moveTo>
                  <a:lnTo>
                    <a:pt x="10" y="204"/>
                  </a:lnTo>
                  <a:lnTo>
                    <a:pt x="10" y="208"/>
                  </a:lnTo>
                  <a:lnTo>
                    <a:pt x="10" y="215"/>
                  </a:lnTo>
                  <a:lnTo>
                    <a:pt x="8" y="219"/>
                  </a:lnTo>
                  <a:lnTo>
                    <a:pt x="8" y="224"/>
                  </a:lnTo>
                  <a:lnTo>
                    <a:pt x="7" y="231"/>
                  </a:lnTo>
                  <a:lnTo>
                    <a:pt x="5" y="235"/>
                  </a:lnTo>
                  <a:lnTo>
                    <a:pt x="5" y="239"/>
                  </a:lnTo>
                  <a:lnTo>
                    <a:pt x="4" y="242"/>
                  </a:lnTo>
                  <a:lnTo>
                    <a:pt x="4" y="247"/>
                  </a:lnTo>
                  <a:lnTo>
                    <a:pt x="5" y="252"/>
                  </a:lnTo>
                  <a:lnTo>
                    <a:pt x="10" y="255"/>
                  </a:lnTo>
                  <a:lnTo>
                    <a:pt x="12" y="257"/>
                  </a:lnTo>
                  <a:lnTo>
                    <a:pt x="15" y="259"/>
                  </a:lnTo>
                  <a:lnTo>
                    <a:pt x="19" y="263"/>
                  </a:lnTo>
                  <a:lnTo>
                    <a:pt x="21" y="265"/>
                  </a:lnTo>
                  <a:lnTo>
                    <a:pt x="26" y="272"/>
                  </a:lnTo>
                  <a:lnTo>
                    <a:pt x="28" y="277"/>
                  </a:lnTo>
                  <a:lnTo>
                    <a:pt x="30" y="282"/>
                  </a:lnTo>
                  <a:lnTo>
                    <a:pt x="32" y="288"/>
                  </a:lnTo>
                  <a:lnTo>
                    <a:pt x="34" y="300"/>
                  </a:lnTo>
                  <a:lnTo>
                    <a:pt x="34" y="308"/>
                  </a:lnTo>
                  <a:lnTo>
                    <a:pt x="32" y="314"/>
                  </a:lnTo>
                  <a:lnTo>
                    <a:pt x="32" y="320"/>
                  </a:lnTo>
                  <a:lnTo>
                    <a:pt x="31" y="324"/>
                  </a:lnTo>
                  <a:lnTo>
                    <a:pt x="32" y="330"/>
                  </a:lnTo>
                  <a:lnTo>
                    <a:pt x="35" y="336"/>
                  </a:lnTo>
                  <a:lnTo>
                    <a:pt x="37" y="341"/>
                  </a:lnTo>
                  <a:lnTo>
                    <a:pt x="36" y="346"/>
                  </a:lnTo>
                  <a:lnTo>
                    <a:pt x="31" y="353"/>
                  </a:lnTo>
                  <a:lnTo>
                    <a:pt x="31" y="356"/>
                  </a:lnTo>
                  <a:lnTo>
                    <a:pt x="32" y="363"/>
                  </a:lnTo>
                  <a:lnTo>
                    <a:pt x="32" y="368"/>
                  </a:lnTo>
                  <a:lnTo>
                    <a:pt x="32" y="371"/>
                  </a:lnTo>
                  <a:lnTo>
                    <a:pt x="32" y="375"/>
                  </a:lnTo>
                  <a:lnTo>
                    <a:pt x="35" y="383"/>
                  </a:lnTo>
                  <a:lnTo>
                    <a:pt x="36" y="386"/>
                  </a:lnTo>
                  <a:lnTo>
                    <a:pt x="36" y="388"/>
                  </a:lnTo>
                  <a:lnTo>
                    <a:pt x="36" y="392"/>
                  </a:lnTo>
                  <a:lnTo>
                    <a:pt x="37" y="395"/>
                  </a:lnTo>
                  <a:lnTo>
                    <a:pt x="38" y="397"/>
                  </a:lnTo>
                  <a:lnTo>
                    <a:pt x="38" y="401"/>
                  </a:lnTo>
                  <a:lnTo>
                    <a:pt x="38" y="405"/>
                  </a:lnTo>
                  <a:lnTo>
                    <a:pt x="38" y="409"/>
                  </a:lnTo>
                  <a:lnTo>
                    <a:pt x="38" y="412"/>
                  </a:lnTo>
                  <a:lnTo>
                    <a:pt x="37" y="417"/>
                  </a:lnTo>
                  <a:lnTo>
                    <a:pt x="37" y="420"/>
                  </a:lnTo>
                  <a:lnTo>
                    <a:pt x="36" y="424"/>
                  </a:lnTo>
                  <a:lnTo>
                    <a:pt x="35" y="433"/>
                  </a:lnTo>
                  <a:lnTo>
                    <a:pt x="35" y="435"/>
                  </a:lnTo>
                  <a:lnTo>
                    <a:pt x="35" y="439"/>
                  </a:lnTo>
                  <a:lnTo>
                    <a:pt x="36" y="439"/>
                  </a:lnTo>
                  <a:lnTo>
                    <a:pt x="37" y="440"/>
                  </a:lnTo>
                  <a:lnTo>
                    <a:pt x="38" y="441"/>
                  </a:lnTo>
                  <a:lnTo>
                    <a:pt x="42" y="441"/>
                  </a:lnTo>
                  <a:lnTo>
                    <a:pt x="47" y="443"/>
                  </a:lnTo>
                  <a:lnTo>
                    <a:pt x="50" y="445"/>
                  </a:lnTo>
                  <a:lnTo>
                    <a:pt x="55" y="448"/>
                  </a:lnTo>
                  <a:lnTo>
                    <a:pt x="59" y="450"/>
                  </a:lnTo>
                  <a:lnTo>
                    <a:pt x="61" y="451"/>
                  </a:lnTo>
                  <a:lnTo>
                    <a:pt x="63" y="453"/>
                  </a:lnTo>
                  <a:lnTo>
                    <a:pt x="64" y="456"/>
                  </a:lnTo>
                  <a:lnTo>
                    <a:pt x="64" y="459"/>
                  </a:lnTo>
                  <a:lnTo>
                    <a:pt x="66" y="463"/>
                  </a:lnTo>
                  <a:lnTo>
                    <a:pt x="66" y="466"/>
                  </a:lnTo>
                  <a:lnTo>
                    <a:pt x="64" y="468"/>
                  </a:lnTo>
                  <a:lnTo>
                    <a:pt x="64" y="473"/>
                  </a:lnTo>
                  <a:lnTo>
                    <a:pt x="63" y="483"/>
                  </a:lnTo>
                  <a:lnTo>
                    <a:pt x="63" y="487"/>
                  </a:lnTo>
                  <a:lnTo>
                    <a:pt x="63" y="490"/>
                  </a:lnTo>
                  <a:lnTo>
                    <a:pt x="66" y="496"/>
                  </a:lnTo>
                  <a:lnTo>
                    <a:pt x="68" y="500"/>
                  </a:lnTo>
                  <a:lnTo>
                    <a:pt x="74" y="507"/>
                  </a:lnTo>
                  <a:lnTo>
                    <a:pt x="76" y="509"/>
                  </a:lnTo>
                  <a:lnTo>
                    <a:pt x="77" y="515"/>
                  </a:lnTo>
                  <a:lnTo>
                    <a:pt x="77" y="516"/>
                  </a:lnTo>
                  <a:lnTo>
                    <a:pt x="79" y="521"/>
                  </a:lnTo>
                  <a:lnTo>
                    <a:pt x="82" y="527"/>
                  </a:lnTo>
                  <a:lnTo>
                    <a:pt x="83" y="529"/>
                  </a:lnTo>
                  <a:lnTo>
                    <a:pt x="83" y="531"/>
                  </a:lnTo>
                  <a:lnTo>
                    <a:pt x="84" y="535"/>
                  </a:lnTo>
                  <a:lnTo>
                    <a:pt x="85" y="537"/>
                  </a:lnTo>
                  <a:lnTo>
                    <a:pt x="86" y="540"/>
                  </a:lnTo>
                  <a:lnTo>
                    <a:pt x="87" y="543"/>
                  </a:lnTo>
                  <a:lnTo>
                    <a:pt x="88" y="548"/>
                  </a:lnTo>
                  <a:lnTo>
                    <a:pt x="90" y="551"/>
                  </a:lnTo>
                  <a:lnTo>
                    <a:pt x="90" y="555"/>
                  </a:lnTo>
                  <a:lnTo>
                    <a:pt x="91" y="559"/>
                  </a:lnTo>
                  <a:lnTo>
                    <a:pt x="92" y="568"/>
                  </a:lnTo>
                  <a:lnTo>
                    <a:pt x="92" y="573"/>
                  </a:lnTo>
                  <a:lnTo>
                    <a:pt x="92" y="578"/>
                  </a:lnTo>
                  <a:lnTo>
                    <a:pt x="92" y="587"/>
                  </a:lnTo>
                  <a:lnTo>
                    <a:pt x="92" y="592"/>
                  </a:lnTo>
                  <a:lnTo>
                    <a:pt x="92" y="600"/>
                  </a:lnTo>
                  <a:lnTo>
                    <a:pt x="93" y="602"/>
                  </a:lnTo>
                  <a:lnTo>
                    <a:pt x="96" y="617"/>
                  </a:lnTo>
                  <a:lnTo>
                    <a:pt x="98" y="621"/>
                  </a:lnTo>
                  <a:lnTo>
                    <a:pt x="99" y="626"/>
                  </a:lnTo>
                  <a:lnTo>
                    <a:pt x="101" y="632"/>
                  </a:lnTo>
                  <a:lnTo>
                    <a:pt x="102" y="636"/>
                  </a:lnTo>
                  <a:lnTo>
                    <a:pt x="102" y="641"/>
                  </a:lnTo>
                  <a:lnTo>
                    <a:pt x="103" y="645"/>
                  </a:lnTo>
                  <a:lnTo>
                    <a:pt x="104" y="647"/>
                  </a:lnTo>
                  <a:lnTo>
                    <a:pt x="106" y="651"/>
                  </a:lnTo>
                  <a:lnTo>
                    <a:pt x="106" y="655"/>
                  </a:lnTo>
                  <a:lnTo>
                    <a:pt x="106" y="658"/>
                  </a:lnTo>
                  <a:lnTo>
                    <a:pt x="106" y="660"/>
                  </a:lnTo>
                  <a:lnTo>
                    <a:pt x="104" y="669"/>
                  </a:lnTo>
                  <a:lnTo>
                    <a:pt x="104" y="673"/>
                  </a:lnTo>
                  <a:lnTo>
                    <a:pt x="104" y="677"/>
                  </a:lnTo>
                  <a:lnTo>
                    <a:pt x="106" y="685"/>
                  </a:lnTo>
                  <a:lnTo>
                    <a:pt x="107" y="690"/>
                  </a:lnTo>
                  <a:lnTo>
                    <a:pt x="108" y="696"/>
                  </a:lnTo>
                  <a:lnTo>
                    <a:pt x="111" y="701"/>
                  </a:lnTo>
                  <a:lnTo>
                    <a:pt x="116" y="704"/>
                  </a:lnTo>
                  <a:lnTo>
                    <a:pt x="116" y="703"/>
                  </a:lnTo>
                  <a:lnTo>
                    <a:pt x="117" y="703"/>
                  </a:lnTo>
                  <a:lnTo>
                    <a:pt x="118" y="701"/>
                  </a:lnTo>
                  <a:lnTo>
                    <a:pt x="119" y="700"/>
                  </a:lnTo>
                  <a:lnTo>
                    <a:pt x="120" y="699"/>
                  </a:lnTo>
                  <a:lnTo>
                    <a:pt x="122" y="697"/>
                  </a:lnTo>
                  <a:lnTo>
                    <a:pt x="124" y="697"/>
                  </a:lnTo>
                  <a:lnTo>
                    <a:pt x="127" y="695"/>
                  </a:lnTo>
                  <a:lnTo>
                    <a:pt x="130" y="691"/>
                  </a:lnTo>
                  <a:lnTo>
                    <a:pt x="132" y="689"/>
                  </a:lnTo>
                  <a:lnTo>
                    <a:pt x="133" y="685"/>
                  </a:lnTo>
                  <a:lnTo>
                    <a:pt x="134" y="682"/>
                  </a:lnTo>
                  <a:lnTo>
                    <a:pt x="135" y="680"/>
                  </a:lnTo>
                  <a:lnTo>
                    <a:pt x="136" y="676"/>
                  </a:lnTo>
                  <a:lnTo>
                    <a:pt x="138" y="673"/>
                  </a:lnTo>
                  <a:lnTo>
                    <a:pt x="138" y="668"/>
                  </a:lnTo>
                  <a:lnTo>
                    <a:pt x="139" y="664"/>
                  </a:lnTo>
                  <a:lnTo>
                    <a:pt x="138" y="658"/>
                  </a:lnTo>
                  <a:lnTo>
                    <a:pt x="135" y="655"/>
                  </a:lnTo>
                  <a:lnTo>
                    <a:pt x="134" y="651"/>
                  </a:lnTo>
                  <a:lnTo>
                    <a:pt x="135" y="650"/>
                  </a:lnTo>
                  <a:lnTo>
                    <a:pt x="138" y="650"/>
                  </a:lnTo>
                  <a:lnTo>
                    <a:pt x="142" y="651"/>
                  </a:lnTo>
                  <a:lnTo>
                    <a:pt x="146" y="655"/>
                  </a:lnTo>
                  <a:lnTo>
                    <a:pt x="149" y="657"/>
                  </a:lnTo>
                  <a:lnTo>
                    <a:pt x="154" y="659"/>
                  </a:lnTo>
                  <a:lnTo>
                    <a:pt x="158" y="660"/>
                  </a:lnTo>
                  <a:lnTo>
                    <a:pt x="162" y="664"/>
                  </a:lnTo>
                  <a:lnTo>
                    <a:pt x="166" y="667"/>
                  </a:lnTo>
                  <a:lnTo>
                    <a:pt x="168" y="671"/>
                  </a:lnTo>
                  <a:lnTo>
                    <a:pt x="172" y="673"/>
                  </a:lnTo>
                  <a:lnTo>
                    <a:pt x="175" y="676"/>
                  </a:lnTo>
                  <a:lnTo>
                    <a:pt x="179" y="680"/>
                  </a:lnTo>
                  <a:lnTo>
                    <a:pt x="183" y="683"/>
                  </a:lnTo>
                  <a:lnTo>
                    <a:pt x="186" y="688"/>
                  </a:lnTo>
                  <a:lnTo>
                    <a:pt x="189" y="691"/>
                  </a:lnTo>
                  <a:lnTo>
                    <a:pt x="190" y="696"/>
                  </a:lnTo>
                  <a:lnTo>
                    <a:pt x="190" y="699"/>
                  </a:lnTo>
                  <a:lnTo>
                    <a:pt x="191" y="700"/>
                  </a:lnTo>
                  <a:lnTo>
                    <a:pt x="194" y="701"/>
                  </a:lnTo>
                  <a:lnTo>
                    <a:pt x="197" y="700"/>
                  </a:lnTo>
                  <a:lnTo>
                    <a:pt x="200" y="692"/>
                  </a:lnTo>
                  <a:lnTo>
                    <a:pt x="202" y="687"/>
                  </a:lnTo>
                  <a:lnTo>
                    <a:pt x="203" y="683"/>
                  </a:lnTo>
                  <a:lnTo>
                    <a:pt x="204" y="683"/>
                  </a:lnTo>
                  <a:lnTo>
                    <a:pt x="206" y="683"/>
                  </a:lnTo>
                  <a:lnTo>
                    <a:pt x="207" y="685"/>
                  </a:lnTo>
                  <a:lnTo>
                    <a:pt x="208" y="688"/>
                  </a:lnTo>
                  <a:lnTo>
                    <a:pt x="210" y="690"/>
                  </a:lnTo>
                  <a:lnTo>
                    <a:pt x="211" y="692"/>
                  </a:lnTo>
                  <a:lnTo>
                    <a:pt x="212" y="693"/>
                  </a:lnTo>
                  <a:lnTo>
                    <a:pt x="214" y="695"/>
                  </a:lnTo>
                  <a:lnTo>
                    <a:pt x="216" y="695"/>
                  </a:lnTo>
                  <a:lnTo>
                    <a:pt x="220" y="693"/>
                  </a:lnTo>
                  <a:lnTo>
                    <a:pt x="222" y="690"/>
                  </a:lnTo>
                  <a:lnTo>
                    <a:pt x="222" y="687"/>
                  </a:lnTo>
                  <a:lnTo>
                    <a:pt x="222" y="683"/>
                  </a:lnTo>
                  <a:lnTo>
                    <a:pt x="223" y="680"/>
                  </a:lnTo>
                  <a:lnTo>
                    <a:pt x="222" y="673"/>
                  </a:lnTo>
                  <a:lnTo>
                    <a:pt x="222" y="668"/>
                  </a:lnTo>
                  <a:lnTo>
                    <a:pt x="222" y="666"/>
                  </a:lnTo>
                  <a:lnTo>
                    <a:pt x="222" y="664"/>
                  </a:lnTo>
                  <a:lnTo>
                    <a:pt x="223" y="661"/>
                  </a:lnTo>
                  <a:lnTo>
                    <a:pt x="224" y="660"/>
                  </a:lnTo>
                  <a:lnTo>
                    <a:pt x="228" y="659"/>
                  </a:lnTo>
                  <a:lnTo>
                    <a:pt x="231" y="658"/>
                  </a:lnTo>
                  <a:lnTo>
                    <a:pt x="234" y="658"/>
                  </a:lnTo>
                  <a:lnTo>
                    <a:pt x="235" y="657"/>
                  </a:lnTo>
                  <a:lnTo>
                    <a:pt x="236" y="657"/>
                  </a:lnTo>
                  <a:lnTo>
                    <a:pt x="237" y="656"/>
                  </a:lnTo>
                  <a:lnTo>
                    <a:pt x="237" y="653"/>
                  </a:lnTo>
                  <a:lnTo>
                    <a:pt x="236" y="652"/>
                  </a:lnTo>
                  <a:lnTo>
                    <a:pt x="235" y="650"/>
                  </a:lnTo>
                  <a:lnTo>
                    <a:pt x="234" y="649"/>
                  </a:lnTo>
                  <a:lnTo>
                    <a:pt x="234" y="645"/>
                  </a:lnTo>
                  <a:lnTo>
                    <a:pt x="232" y="642"/>
                  </a:lnTo>
                  <a:lnTo>
                    <a:pt x="232" y="640"/>
                  </a:lnTo>
                  <a:lnTo>
                    <a:pt x="232" y="637"/>
                  </a:lnTo>
                  <a:lnTo>
                    <a:pt x="235" y="634"/>
                  </a:lnTo>
                  <a:lnTo>
                    <a:pt x="238" y="633"/>
                  </a:lnTo>
                  <a:lnTo>
                    <a:pt x="243" y="633"/>
                  </a:lnTo>
                  <a:lnTo>
                    <a:pt x="245" y="634"/>
                  </a:lnTo>
                  <a:lnTo>
                    <a:pt x="250" y="635"/>
                  </a:lnTo>
                  <a:lnTo>
                    <a:pt x="252" y="637"/>
                  </a:lnTo>
                  <a:lnTo>
                    <a:pt x="254" y="640"/>
                  </a:lnTo>
                  <a:lnTo>
                    <a:pt x="256" y="640"/>
                  </a:lnTo>
                  <a:lnTo>
                    <a:pt x="259" y="640"/>
                  </a:lnTo>
                  <a:lnTo>
                    <a:pt x="261" y="639"/>
                  </a:lnTo>
                  <a:lnTo>
                    <a:pt x="262" y="637"/>
                  </a:lnTo>
                  <a:lnTo>
                    <a:pt x="262" y="634"/>
                  </a:lnTo>
                  <a:lnTo>
                    <a:pt x="260" y="631"/>
                  </a:lnTo>
                  <a:lnTo>
                    <a:pt x="258" y="626"/>
                  </a:lnTo>
                  <a:lnTo>
                    <a:pt x="258" y="621"/>
                  </a:lnTo>
                  <a:lnTo>
                    <a:pt x="259" y="620"/>
                  </a:lnTo>
                  <a:lnTo>
                    <a:pt x="264" y="619"/>
                  </a:lnTo>
                  <a:lnTo>
                    <a:pt x="268" y="620"/>
                  </a:lnTo>
                  <a:lnTo>
                    <a:pt x="271" y="620"/>
                  </a:lnTo>
                  <a:lnTo>
                    <a:pt x="275" y="618"/>
                  </a:lnTo>
                  <a:lnTo>
                    <a:pt x="276" y="616"/>
                  </a:lnTo>
                  <a:lnTo>
                    <a:pt x="278" y="612"/>
                  </a:lnTo>
                  <a:lnTo>
                    <a:pt x="278" y="609"/>
                  </a:lnTo>
                  <a:lnTo>
                    <a:pt x="279" y="607"/>
                  </a:lnTo>
                  <a:lnTo>
                    <a:pt x="278" y="603"/>
                  </a:lnTo>
                  <a:lnTo>
                    <a:pt x="276" y="599"/>
                  </a:lnTo>
                  <a:lnTo>
                    <a:pt x="275" y="595"/>
                  </a:lnTo>
                  <a:lnTo>
                    <a:pt x="274" y="591"/>
                  </a:lnTo>
                  <a:lnTo>
                    <a:pt x="275" y="580"/>
                  </a:lnTo>
                  <a:lnTo>
                    <a:pt x="276" y="577"/>
                  </a:lnTo>
                  <a:lnTo>
                    <a:pt x="275" y="572"/>
                  </a:lnTo>
                  <a:lnTo>
                    <a:pt x="274" y="569"/>
                  </a:lnTo>
                  <a:lnTo>
                    <a:pt x="271" y="564"/>
                  </a:lnTo>
                  <a:lnTo>
                    <a:pt x="268" y="562"/>
                  </a:lnTo>
                  <a:lnTo>
                    <a:pt x="264" y="560"/>
                  </a:lnTo>
                  <a:lnTo>
                    <a:pt x="262" y="556"/>
                  </a:lnTo>
                  <a:lnTo>
                    <a:pt x="260" y="554"/>
                  </a:lnTo>
                  <a:lnTo>
                    <a:pt x="258" y="551"/>
                  </a:lnTo>
                  <a:lnTo>
                    <a:pt x="256" y="547"/>
                  </a:lnTo>
                  <a:lnTo>
                    <a:pt x="255" y="543"/>
                  </a:lnTo>
                  <a:lnTo>
                    <a:pt x="255" y="539"/>
                  </a:lnTo>
                  <a:lnTo>
                    <a:pt x="256" y="536"/>
                  </a:lnTo>
                  <a:lnTo>
                    <a:pt x="262" y="530"/>
                  </a:lnTo>
                  <a:lnTo>
                    <a:pt x="263" y="527"/>
                  </a:lnTo>
                  <a:lnTo>
                    <a:pt x="263" y="522"/>
                  </a:lnTo>
                  <a:lnTo>
                    <a:pt x="262" y="520"/>
                  </a:lnTo>
                  <a:lnTo>
                    <a:pt x="258" y="513"/>
                  </a:lnTo>
                  <a:lnTo>
                    <a:pt x="255" y="509"/>
                  </a:lnTo>
                  <a:lnTo>
                    <a:pt x="252" y="507"/>
                  </a:lnTo>
                  <a:lnTo>
                    <a:pt x="250" y="505"/>
                  </a:lnTo>
                  <a:lnTo>
                    <a:pt x="247" y="503"/>
                  </a:lnTo>
                  <a:lnTo>
                    <a:pt x="245" y="499"/>
                  </a:lnTo>
                  <a:lnTo>
                    <a:pt x="245" y="497"/>
                  </a:lnTo>
                  <a:lnTo>
                    <a:pt x="244" y="493"/>
                  </a:lnTo>
                  <a:lnTo>
                    <a:pt x="244" y="490"/>
                  </a:lnTo>
                  <a:lnTo>
                    <a:pt x="244" y="488"/>
                  </a:lnTo>
                  <a:lnTo>
                    <a:pt x="245" y="483"/>
                  </a:lnTo>
                  <a:lnTo>
                    <a:pt x="245" y="479"/>
                  </a:lnTo>
                  <a:lnTo>
                    <a:pt x="246" y="475"/>
                  </a:lnTo>
                  <a:lnTo>
                    <a:pt x="245" y="472"/>
                  </a:lnTo>
                  <a:lnTo>
                    <a:pt x="244" y="468"/>
                  </a:lnTo>
                  <a:lnTo>
                    <a:pt x="246" y="465"/>
                  </a:lnTo>
                  <a:lnTo>
                    <a:pt x="247" y="461"/>
                  </a:lnTo>
                  <a:lnTo>
                    <a:pt x="250" y="452"/>
                  </a:lnTo>
                  <a:lnTo>
                    <a:pt x="251" y="448"/>
                  </a:lnTo>
                  <a:lnTo>
                    <a:pt x="253" y="445"/>
                  </a:lnTo>
                  <a:lnTo>
                    <a:pt x="254" y="440"/>
                  </a:lnTo>
                  <a:lnTo>
                    <a:pt x="255" y="435"/>
                  </a:lnTo>
                  <a:lnTo>
                    <a:pt x="256" y="429"/>
                  </a:lnTo>
                  <a:lnTo>
                    <a:pt x="255" y="423"/>
                  </a:lnTo>
                  <a:lnTo>
                    <a:pt x="256" y="417"/>
                  </a:lnTo>
                  <a:lnTo>
                    <a:pt x="258" y="416"/>
                  </a:lnTo>
                  <a:lnTo>
                    <a:pt x="258" y="413"/>
                  </a:lnTo>
                  <a:lnTo>
                    <a:pt x="255" y="410"/>
                  </a:lnTo>
                  <a:lnTo>
                    <a:pt x="253" y="409"/>
                  </a:lnTo>
                  <a:lnTo>
                    <a:pt x="252" y="407"/>
                  </a:lnTo>
                  <a:lnTo>
                    <a:pt x="252" y="404"/>
                  </a:lnTo>
                  <a:lnTo>
                    <a:pt x="253" y="401"/>
                  </a:lnTo>
                  <a:lnTo>
                    <a:pt x="255" y="400"/>
                  </a:lnTo>
                  <a:lnTo>
                    <a:pt x="259" y="400"/>
                  </a:lnTo>
                  <a:lnTo>
                    <a:pt x="264" y="401"/>
                  </a:lnTo>
                  <a:lnTo>
                    <a:pt x="270" y="403"/>
                  </a:lnTo>
                  <a:lnTo>
                    <a:pt x="274" y="405"/>
                  </a:lnTo>
                  <a:lnTo>
                    <a:pt x="278" y="408"/>
                  </a:lnTo>
                  <a:lnTo>
                    <a:pt x="280" y="410"/>
                  </a:lnTo>
                  <a:lnTo>
                    <a:pt x="283" y="412"/>
                  </a:lnTo>
                  <a:lnTo>
                    <a:pt x="287" y="412"/>
                  </a:lnTo>
                  <a:lnTo>
                    <a:pt x="291" y="412"/>
                  </a:lnTo>
                  <a:lnTo>
                    <a:pt x="294" y="411"/>
                  </a:lnTo>
                  <a:lnTo>
                    <a:pt x="295" y="410"/>
                  </a:lnTo>
                  <a:lnTo>
                    <a:pt x="300" y="408"/>
                  </a:lnTo>
                  <a:lnTo>
                    <a:pt x="302" y="405"/>
                  </a:lnTo>
                  <a:lnTo>
                    <a:pt x="304" y="401"/>
                  </a:lnTo>
                  <a:lnTo>
                    <a:pt x="310" y="393"/>
                  </a:lnTo>
                  <a:lnTo>
                    <a:pt x="311" y="392"/>
                  </a:lnTo>
                  <a:lnTo>
                    <a:pt x="311" y="388"/>
                  </a:lnTo>
                  <a:lnTo>
                    <a:pt x="314" y="385"/>
                  </a:lnTo>
                  <a:lnTo>
                    <a:pt x="314" y="380"/>
                  </a:lnTo>
                  <a:lnTo>
                    <a:pt x="315" y="378"/>
                  </a:lnTo>
                  <a:lnTo>
                    <a:pt x="318" y="371"/>
                  </a:lnTo>
                  <a:lnTo>
                    <a:pt x="318" y="364"/>
                  </a:lnTo>
                  <a:lnTo>
                    <a:pt x="318" y="362"/>
                  </a:lnTo>
                  <a:lnTo>
                    <a:pt x="316" y="357"/>
                  </a:lnTo>
                  <a:lnTo>
                    <a:pt x="315" y="354"/>
                  </a:lnTo>
                  <a:lnTo>
                    <a:pt x="316" y="349"/>
                  </a:lnTo>
                  <a:lnTo>
                    <a:pt x="317" y="346"/>
                  </a:lnTo>
                  <a:lnTo>
                    <a:pt x="317" y="344"/>
                  </a:lnTo>
                  <a:lnTo>
                    <a:pt x="317" y="340"/>
                  </a:lnTo>
                  <a:lnTo>
                    <a:pt x="317" y="338"/>
                  </a:lnTo>
                  <a:lnTo>
                    <a:pt x="315" y="333"/>
                  </a:lnTo>
                  <a:lnTo>
                    <a:pt x="314" y="331"/>
                  </a:lnTo>
                  <a:lnTo>
                    <a:pt x="315" y="327"/>
                  </a:lnTo>
                  <a:lnTo>
                    <a:pt x="316" y="322"/>
                  </a:lnTo>
                  <a:lnTo>
                    <a:pt x="317" y="320"/>
                  </a:lnTo>
                  <a:lnTo>
                    <a:pt x="320" y="316"/>
                  </a:lnTo>
                  <a:lnTo>
                    <a:pt x="324" y="313"/>
                  </a:lnTo>
                  <a:lnTo>
                    <a:pt x="325" y="307"/>
                  </a:lnTo>
                  <a:lnTo>
                    <a:pt x="325" y="303"/>
                  </a:lnTo>
                  <a:lnTo>
                    <a:pt x="326" y="297"/>
                  </a:lnTo>
                  <a:lnTo>
                    <a:pt x="325" y="293"/>
                  </a:lnTo>
                  <a:lnTo>
                    <a:pt x="325" y="289"/>
                  </a:lnTo>
                  <a:lnTo>
                    <a:pt x="325" y="284"/>
                  </a:lnTo>
                  <a:lnTo>
                    <a:pt x="322" y="280"/>
                  </a:lnTo>
                  <a:lnTo>
                    <a:pt x="322" y="276"/>
                  </a:lnTo>
                  <a:lnTo>
                    <a:pt x="322" y="273"/>
                  </a:lnTo>
                  <a:lnTo>
                    <a:pt x="322" y="272"/>
                  </a:lnTo>
                  <a:lnTo>
                    <a:pt x="322" y="267"/>
                  </a:lnTo>
                  <a:lnTo>
                    <a:pt x="324" y="263"/>
                  </a:lnTo>
                  <a:lnTo>
                    <a:pt x="325" y="259"/>
                  </a:lnTo>
                  <a:lnTo>
                    <a:pt x="327" y="256"/>
                  </a:lnTo>
                  <a:lnTo>
                    <a:pt x="328" y="249"/>
                  </a:lnTo>
                  <a:lnTo>
                    <a:pt x="331" y="237"/>
                  </a:lnTo>
                  <a:lnTo>
                    <a:pt x="331" y="235"/>
                  </a:lnTo>
                  <a:lnTo>
                    <a:pt x="331" y="229"/>
                  </a:lnTo>
                  <a:lnTo>
                    <a:pt x="331" y="225"/>
                  </a:lnTo>
                  <a:lnTo>
                    <a:pt x="332" y="223"/>
                  </a:lnTo>
                  <a:lnTo>
                    <a:pt x="332" y="215"/>
                  </a:lnTo>
                  <a:lnTo>
                    <a:pt x="331" y="211"/>
                  </a:lnTo>
                  <a:lnTo>
                    <a:pt x="327" y="207"/>
                  </a:lnTo>
                  <a:lnTo>
                    <a:pt x="326" y="204"/>
                  </a:lnTo>
                  <a:lnTo>
                    <a:pt x="325" y="200"/>
                  </a:lnTo>
                  <a:lnTo>
                    <a:pt x="324" y="197"/>
                  </a:lnTo>
                  <a:lnTo>
                    <a:pt x="322" y="195"/>
                  </a:lnTo>
                  <a:lnTo>
                    <a:pt x="322" y="192"/>
                  </a:lnTo>
                  <a:lnTo>
                    <a:pt x="322" y="187"/>
                  </a:lnTo>
                  <a:lnTo>
                    <a:pt x="320" y="184"/>
                  </a:lnTo>
                  <a:lnTo>
                    <a:pt x="320" y="180"/>
                  </a:lnTo>
                  <a:lnTo>
                    <a:pt x="319" y="177"/>
                  </a:lnTo>
                  <a:lnTo>
                    <a:pt x="316" y="172"/>
                  </a:lnTo>
                  <a:lnTo>
                    <a:pt x="316" y="168"/>
                  </a:lnTo>
                  <a:lnTo>
                    <a:pt x="317" y="164"/>
                  </a:lnTo>
                  <a:lnTo>
                    <a:pt x="318" y="159"/>
                  </a:lnTo>
                  <a:lnTo>
                    <a:pt x="316" y="146"/>
                  </a:lnTo>
                  <a:lnTo>
                    <a:pt x="315" y="145"/>
                  </a:lnTo>
                  <a:lnTo>
                    <a:pt x="312" y="143"/>
                  </a:lnTo>
                  <a:lnTo>
                    <a:pt x="309" y="139"/>
                  </a:lnTo>
                  <a:lnTo>
                    <a:pt x="307" y="137"/>
                  </a:lnTo>
                  <a:lnTo>
                    <a:pt x="303" y="135"/>
                  </a:lnTo>
                  <a:lnTo>
                    <a:pt x="301" y="132"/>
                  </a:lnTo>
                  <a:lnTo>
                    <a:pt x="296" y="129"/>
                  </a:lnTo>
                  <a:lnTo>
                    <a:pt x="295" y="124"/>
                  </a:lnTo>
                  <a:lnTo>
                    <a:pt x="294" y="121"/>
                  </a:lnTo>
                  <a:lnTo>
                    <a:pt x="294" y="119"/>
                  </a:lnTo>
                  <a:lnTo>
                    <a:pt x="292" y="120"/>
                  </a:lnTo>
                  <a:lnTo>
                    <a:pt x="290" y="120"/>
                  </a:lnTo>
                  <a:lnTo>
                    <a:pt x="286" y="120"/>
                  </a:lnTo>
                  <a:lnTo>
                    <a:pt x="285" y="120"/>
                  </a:lnTo>
                  <a:lnTo>
                    <a:pt x="282" y="119"/>
                  </a:lnTo>
                  <a:lnTo>
                    <a:pt x="280" y="116"/>
                  </a:lnTo>
                  <a:lnTo>
                    <a:pt x="278" y="114"/>
                  </a:lnTo>
                  <a:lnTo>
                    <a:pt x="275" y="113"/>
                  </a:lnTo>
                  <a:lnTo>
                    <a:pt x="271" y="112"/>
                  </a:lnTo>
                  <a:lnTo>
                    <a:pt x="268" y="113"/>
                  </a:lnTo>
                  <a:lnTo>
                    <a:pt x="267" y="115"/>
                  </a:lnTo>
                  <a:lnTo>
                    <a:pt x="262" y="117"/>
                  </a:lnTo>
                  <a:lnTo>
                    <a:pt x="259" y="121"/>
                  </a:lnTo>
                  <a:lnTo>
                    <a:pt x="256" y="120"/>
                  </a:lnTo>
                  <a:lnTo>
                    <a:pt x="253" y="120"/>
                  </a:lnTo>
                  <a:lnTo>
                    <a:pt x="251" y="120"/>
                  </a:lnTo>
                  <a:lnTo>
                    <a:pt x="248" y="116"/>
                  </a:lnTo>
                  <a:lnTo>
                    <a:pt x="247" y="112"/>
                  </a:lnTo>
                  <a:lnTo>
                    <a:pt x="247" y="111"/>
                  </a:lnTo>
                  <a:lnTo>
                    <a:pt x="248" y="107"/>
                  </a:lnTo>
                  <a:lnTo>
                    <a:pt x="248" y="105"/>
                  </a:lnTo>
                  <a:lnTo>
                    <a:pt x="247" y="103"/>
                  </a:lnTo>
                  <a:lnTo>
                    <a:pt x="244" y="100"/>
                  </a:lnTo>
                  <a:lnTo>
                    <a:pt x="242" y="101"/>
                  </a:lnTo>
                  <a:lnTo>
                    <a:pt x="239" y="105"/>
                  </a:lnTo>
                  <a:lnTo>
                    <a:pt x="239" y="107"/>
                  </a:lnTo>
                  <a:lnTo>
                    <a:pt x="237" y="109"/>
                  </a:lnTo>
                  <a:lnTo>
                    <a:pt x="235" y="109"/>
                  </a:lnTo>
                  <a:lnTo>
                    <a:pt x="232" y="109"/>
                  </a:lnTo>
                  <a:lnTo>
                    <a:pt x="230" y="108"/>
                  </a:lnTo>
                  <a:lnTo>
                    <a:pt x="227" y="105"/>
                  </a:lnTo>
                  <a:lnTo>
                    <a:pt x="224" y="104"/>
                  </a:lnTo>
                  <a:lnTo>
                    <a:pt x="222" y="101"/>
                  </a:lnTo>
                  <a:lnTo>
                    <a:pt x="218" y="101"/>
                  </a:lnTo>
                  <a:lnTo>
                    <a:pt x="214" y="103"/>
                  </a:lnTo>
                  <a:lnTo>
                    <a:pt x="208" y="104"/>
                  </a:lnTo>
                  <a:lnTo>
                    <a:pt x="203" y="103"/>
                  </a:lnTo>
                  <a:lnTo>
                    <a:pt x="199" y="101"/>
                  </a:lnTo>
                  <a:lnTo>
                    <a:pt x="198" y="98"/>
                  </a:lnTo>
                  <a:lnTo>
                    <a:pt x="198" y="93"/>
                  </a:lnTo>
                  <a:lnTo>
                    <a:pt x="199" y="91"/>
                  </a:lnTo>
                  <a:lnTo>
                    <a:pt x="203" y="87"/>
                  </a:lnTo>
                  <a:lnTo>
                    <a:pt x="205" y="83"/>
                  </a:lnTo>
                  <a:lnTo>
                    <a:pt x="206" y="79"/>
                  </a:lnTo>
                  <a:lnTo>
                    <a:pt x="207" y="76"/>
                  </a:lnTo>
                  <a:lnTo>
                    <a:pt x="206" y="73"/>
                  </a:lnTo>
                  <a:lnTo>
                    <a:pt x="205" y="69"/>
                  </a:lnTo>
                  <a:lnTo>
                    <a:pt x="203" y="67"/>
                  </a:lnTo>
                  <a:lnTo>
                    <a:pt x="202" y="64"/>
                  </a:lnTo>
                  <a:lnTo>
                    <a:pt x="200" y="56"/>
                  </a:lnTo>
                  <a:lnTo>
                    <a:pt x="200" y="53"/>
                  </a:lnTo>
                  <a:lnTo>
                    <a:pt x="200" y="50"/>
                  </a:lnTo>
                  <a:lnTo>
                    <a:pt x="202" y="48"/>
                  </a:lnTo>
                  <a:lnTo>
                    <a:pt x="203" y="44"/>
                  </a:lnTo>
                  <a:lnTo>
                    <a:pt x="203" y="41"/>
                  </a:lnTo>
                  <a:lnTo>
                    <a:pt x="203" y="36"/>
                  </a:lnTo>
                  <a:lnTo>
                    <a:pt x="202" y="33"/>
                  </a:lnTo>
                  <a:lnTo>
                    <a:pt x="200" y="31"/>
                  </a:lnTo>
                  <a:lnTo>
                    <a:pt x="199" y="29"/>
                  </a:lnTo>
                  <a:lnTo>
                    <a:pt x="198" y="28"/>
                  </a:lnTo>
                  <a:lnTo>
                    <a:pt x="197" y="27"/>
                  </a:lnTo>
                  <a:lnTo>
                    <a:pt x="192" y="26"/>
                  </a:lnTo>
                  <a:lnTo>
                    <a:pt x="188" y="25"/>
                  </a:lnTo>
                  <a:lnTo>
                    <a:pt x="187" y="24"/>
                  </a:lnTo>
                  <a:lnTo>
                    <a:pt x="182" y="21"/>
                  </a:lnTo>
                  <a:lnTo>
                    <a:pt x="179" y="21"/>
                  </a:lnTo>
                  <a:lnTo>
                    <a:pt x="176" y="21"/>
                  </a:lnTo>
                  <a:lnTo>
                    <a:pt x="171" y="24"/>
                  </a:lnTo>
                  <a:lnTo>
                    <a:pt x="167" y="25"/>
                  </a:lnTo>
                  <a:lnTo>
                    <a:pt x="165" y="26"/>
                  </a:lnTo>
                  <a:lnTo>
                    <a:pt x="163" y="27"/>
                  </a:lnTo>
                  <a:lnTo>
                    <a:pt x="160" y="29"/>
                  </a:lnTo>
                  <a:lnTo>
                    <a:pt x="158" y="32"/>
                  </a:lnTo>
                  <a:lnTo>
                    <a:pt x="155" y="33"/>
                  </a:lnTo>
                  <a:lnTo>
                    <a:pt x="151" y="32"/>
                  </a:lnTo>
                  <a:lnTo>
                    <a:pt x="151" y="31"/>
                  </a:lnTo>
                  <a:lnTo>
                    <a:pt x="150" y="29"/>
                  </a:lnTo>
                  <a:lnTo>
                    <a:pt x="149" y="25"/>
                  </a:lnTo>
                  <a:lnTo>
                    <a:pt x="148" y="23"/>
                  </a:lnTo>
                  <a:lnTo>
                    <a:pt x="149" y="19"/>
                  </a:lnTo>
                  <a:lnTo>
                    <a:pt x="147" y="16"/>
                  </a:lnTo>
                  <a:lnTo>
                    <a:pt x="146" y="13"/>
                  </a:lnTo>
                  <a:lnTo>
                    <a:pt x="143" y="9"/>
                  </a:lnTo>
                  <a:lnTo>
                    <a:pt x="141" y="5"/>
                  </a:lnTo>
                  <a:lnTo>
                    <a:pt x="135" y="0"/>
                  </a:lnTo>
                  <a:lnTo>
                    <a:pt x="134" y="0"/>
                  </a:lnTo>
                  <a:lnTo>
                    <a:pt x="131" y="0"/>
                  </a:lnTo>
                  <a:lnTo>
                    <a:pt x="128" y="0"/>
                  </a:lnTo>
                  <a:lnTo>
                    <a:pt x="126" y="1"/>
                  </a:lnTo>
                  <a:lnTo>
                    <a:pt x="126" y="3"/>
                  </a:lnTo>
                  <a:lnTo>
                    <a:pt x="123" y="5"/>
                  </a:lnTo>
                  <a:lnTo>
                    <a:pt x="123" y="9"/>
                  </a:lnTo>
                  <a:lnTo>
                    <a:pt x="122" y="17"/>
                  </a:lnTo>
                  <a:lnTo>
                    <a:pt x="120" y="23"/>
                  </a:lnTo>
                  <a:lnTo>
                    <a:pt x="118" y="27"/>
                  </a:lnTo>
                  <a:lnTo>
                    <a:pt x="117" y="29"/>
                  </a:lnTo>
                  <a:lnTo>
                    <a:pt x="116" y="34"/>
                  </a:lnTo>
                  <a:lnTo>
                    <a:pt x="115" y="36"/>
                  </a:lnTo>
                  <a:lnTo>
                    <a:pt x="114" y="41"/>
                  </a:lnTo>
                  <a:lnTo>
                    <a:pt x="110" y="43"/>
                  </a:lnTo>
                  <a:lnTo>
                    <a:pt x="107" y="43"/>
                  </a:lnTo>
                  <a:lnTo>
                    <a:pt x="101" y="44"/>
                  </a:lnTo>
                  <a:lnTo>
                    <a:pt x="98" y="47"/>
                  </a:lnTo>
                  <a:lnTo>
                    <a:pt x="98" y="50"/>
                  </a:lnTo>
                  <a:lnTo>
                    <a:pt x="96" y="53"/>
                  </a:lnTo>
                  <a:lnTo>
                    <a:pt x="95" y="58"/>
                  </a:lnTo>
                  <a:lnTo>
                    <a:pt x="94" y="61"/>
                  </a:lnTo>
                  <a:lnTo>
                    <a:pt x="92" y="65"/>
                  </a:lnTo>
                  <a:lnTo>
                    <a:pt x="88" y="67"/>
                  </a:lnTo>
                  <a:lnTo>
                    <a:pt x="86" y="67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79" y="71"/>
                  </a:lnTo>
                  <a:lnTo>
                    <a:pt x="77" y="73"/>
                  </a:lnTo>
                  <a:lnTo>
                    <a:pt x="77" y="75"/>
                  </a:lnTo>
                  <a:lnTo>
                    <a:pt x="77" y="79"/>
                  </a:lnTo>
                  <a:lnTo>
                    <a:pt x="77" y="80"/>
                  </a:lnTo>
                  <a:lnTo>
                    <a:pt x="75" y="88"/>
                  </a:lnTo>
                  <a:lnTo>
                    <a:pt x="72" y="90"/>
                  </a:lnTo>
                  <a:lnTo>
                    <a:pt x="70" y="92"/>
                  </a:lnTo>
                  <a:lnTo>
                    <a:pt x="67" y="93"/>
                  </a:lnTo>
                  <a:lnTo>
                    <a:pt x="63" y="95"/>
                  </a:lnTo>
                  <a:lnTo>
                    <a:pt x="60" y="97"/>
                  </a:lnTo>
                  <a:lnTo>
                    <a:pt x="56" y="98"/>
                  </a:lnTo>
                  <a:lnTo>
                    <a:pt x="53" y="98"/>
                  </a:lnTo>
                  <a:lnTo>
                    <a:pt x="50" y="97"/>
                  </a:lnTo>
                  <a:lnTo>
                    <a:pt x="48" y="96"/>
                  </a:lnTo>
                  <a:lnTo>
                    <a:pt x="47" y="95"/>
                  </a:lnTo>
                  <a:lnTo>
                    <a:pt x="46" y="90"/>
                  </a:lnTo>
                  <a:lnTo>
                    <a:pt x="45" y="87"/>
                  </a:lnTo>
                  <a:lnTo>
                    <a:pt x="45" y="82"/>
                  </a:lnTo>
                  <a:lnTo>
                    <a:pt x="44" y="77"/>
                  </a:lnTo>
                  <a:lnTo>
                    <a:pt x="44" y="74"/>
                  </a:lnTo>
                  <a:lnTo>
                    <a:pt x="44" y="71"/>
                  </a:lnTo>
                  <a:lnTo>
                    <a:pt x="42" y="66"/>
                  </a:lnTo>
                  <a:lnTo>
                    <a:pt x="38" y="65"/>
                  </a:lnTo>
                  <a:lnTo>
                    <a:pt x="35" y="65"/>
                  </a:lnTo>
                  <a:lnTo>
                    <a:pt x="31" y="65"/>
                  </a:lnTo>
                  <a:lnTo>
                    <a:pt x="28" y="65"/>
                  </a:lnTo>
                  <a:lnTo>
                    <a:pt x="24" y="67"/>
                  </a:lnTo>
                  <a:lnTo>
                    <a:pt x="22" y="67"/>
                  </a:lnTo>
                  <a:lnTo>
                    <a:pt x="19" y="68"/>
                  </a:lnTo>
                  <a:lnTo>
                    <a:pt x="13" y="69"/>
                  </a:lnTo>
                  <a:lnTo>
                    <a:pt x="14" y="79"/>
                  </a:lnTo>
                  <a:lnTo>
                    <a:pt x="14" y="82"/>
                  </a:lnTo>
                  <a:lnTo>
                    <a:pt x="13" y="83"/>
                  </a:lnTo>
                  <a:lnTo>
                    <a:pt x="11" y="85"/>
                  </a:lnTo>
                  <a:lnTo>
                    <a:pt x="8" y="88"/>
                  </a:lnTo>
                  <a:lnTo>
                    <a:pt x="8" y="91"/>
                  </a:lnTo>
                  <a:lnTo>
                    <a:pt x="10" y="93"/>
                  </a:lnTo>
                  <a:lnTo>
                    <a:pt x="11" y="96"/>
                  </a:lnTo>
                  <a:lnTo>
                    <a:pt x="11" y="98"/>
                  </a:lnTo>
                  <a:lnTo>
                    <a:pt x="13" y="99"/>
                  </a:lnTo>
                  <a:lnTo>
                    <a:pt x="14" y="100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2" y="104"/>
                  </a:lnTo>
                  <a:lnTo>
                    <a:pt x="23" y="107"/>
                  </a:lnTo>
                  <a:lnTo>
                    <a:pt x="22" y="111"/>
                  </a:lnTo>
                  <a:lnTo>
                    <a:pt x="21" y="114"/>
                  </a:lnTo>
                  <a:lnTo>
                    <a:pt x="19" y="119"/>
                  </a:lnTo>
                  <a:lnTo>
                    <a:pt x="16" y="121"/>
                  </a:lnTo>
                  <a:lnTo>
                    <a:pt x="14" y="125"/>
                  </a:lnTo>
                  <a:lnTo>
                    <a:pt x="13" y="128"/>
                  </a:lnTo>
                  <a:lnTo>
                    <a:pt x="12" y="131"/>
                  </a:lnTo>
                  <a:lnTo>
                    <a:pt x="11" y="137"/>
                  </a:lnTo>
                  <a:lnTo>
                    <a:pt x="10" y="139"/>
                  </a:lnTo>
                  <a:lnTo>
                    <a:pt x="11" y="143"/>
                  </a:lnTo>
                  <a:lnTo>
                    <a:pt x="11" y="145"/>
                  </a:lnTo>
                  <a:lnTo>
                    <a:pt x="11" y="148"/>
                  </a:lnTo>
                  <a:lnTo>
                    <a:pt x="13" y="152"/>
                  </a:lnTo>
                  <a:lnTo>
                    <a:pt x="15" y="154"/>
                  </a:lnTo>
                  <a:lnTo>
                    <a:pt x="20" y="157"/>
                  </a:lnTo>
                  <a:lnTo>
                    <a:pt x="24" y="160"/>
                  </a:lnTo>
                  <a:lnTo>
                    <a:pt x="27" y="162"/>
                  </a:lnTo>
                  <a:lnTo>
                    <a:pt x="28" y="163"/>
                  </a:lnTo>
                  <a:lnTo>
                    <a:pt x="29" y="168"/>
                  </a:lnTo>
                  <a:lnTo>
                    <a:pt x="29" y="171"/>
                  </a:lnTo>
                  <a:lnTo>
                    <a:pt x="27" y="176"/>
                  </a:lnTo>
                  <a:lnTo>
                    <a:pt x="24" y="179"/>
                  </a:lnTo>
                  <a:lnTo>
                    <a:pt x="21" y="179"/>
                  </a:lnTo>
                  <a:lnTo>
                    <a:pt x="19" y="179"/>
                  </a:lnTo>
                  <a:lnTo>
                    <a:pt x="16" y="180"/>
                  </a:lnTo>
                  <a:lnTo>
                    <a:pt x="13" y="180"/>
                  </a:lnTo>
                  <a:lnTo>
                    <a:pt x="10" y="180"/>
                  </a:lnTo>
                  <a:lnTo>
                    <a:pt x="5" y="181"/>
                  </a:lnTo>
                  <a:lnTo>
                    <a:pt x="0" y="185"/>
                  </a:lnTo>
                  <a:lnTo>
                    <a:pt x="2" y="188"/>
                  </a:lnTo>
                  <a:lnTo>
                    <a:pt x="3" y="192"/>
                  </a:lnTo>
                  <a:lnTo>
                    <a:pt x="5" y="194"/>
                  </a:lnTo>
                  <a:lnTo>
                    <a:pt x="6" y="196"/>
                  </a:lnTo>
                  <a:lnTo>
                    <a:pt x="6" y="199"/>
                  </a:lnTo>
                  <a:lnTo>
                    <a:pt x="6" y="20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37" name="MN"/>
            <p:cNvSpPr>
              <a:spLocks/>
            </p:cNvSpPr>
            <p:nvPr/>
          </p:nvSpPr>
          <p:spPr bwMode="auto">
            <a:xfrm>
              <a:off x="8077811" y="3138741"/>
              <a:ext cx="192163" cy="197772"/>
            </a:xfrm>
            <a:custGeom>
              <a:avLst/>
              <a:gdLst>
                <a:gd name="T0" fmla="*/ 106 w 480"/>
                <a:gd name="T1" fmla="*/ 126 h 515"/>
                <a:gd name="T2" fmla="*/ 95 w 480"/>
                <a:gd name="T3" fmla="*/ 173 h 515"/>
                <a:gd name="T4" fmla="*/ 68 w 480"/>
                <a:gd name="T5" fmla="*/ 188 h 515"/>
                <a:gd name="T6" fmla="*/ 53 w 480"/>
                <a:gd name="T7" fmla="*/ 224 h 515"/>
                <a:gd name="T8" fmla="*/ 33 w 480"/>
                <a:gd name="T9" fmla="*/ 264 h 515"/>
                <a:gd name="T10" fmla="*/ 20 w 480"/>
                <a:gd name="T11" fmla="*/ 293 h 515"/>
                <a:gd name="T12" fmla="*/ 10 w 480"/>
                <a:gd name="T13" fmla="*/ 332 h 515"/>
                <a:gd name="T14" fmla="*/ 17 w 480"/>
                <a:gd name="T15" fmla="*/ 358 h 515"/>
                <a:gd name="T16" fmla="*/ 4 w 480"/>
                <a:gd name="T17" fmla="*/ 388 h 515"/>
                <a:gd name="T18" fmla="*/ 9 w 480"/>
                <a:gd name="T19" fmla="*/ 416 h 515"/>
                <a:gd name="T20" fmla="*/ 5 w 480"/>
                <a:gd name="T21" fmla="*/ 443 h 515"/>
                <a:gd name="T22" fmla="*/ 34 w 480"/>
                <a:gd name="T23" fmla="*/ 449 h 515"/>
                <a:gd name="T24" fmla="*/ 50 w 480"/>
                <a:gd name="T25" fmla="*/ 445 h 515"/>
                <a:gd name="T26" fmla="*/ 61 w 480"/>
                <a:gd name="T27" fmla="*/ 461 h 515"/>
                <a:gd name="T28" fmla="*/ 84 w 480"/>
                <a:gd name="T29" fmla="*/ 459 h 515"/>
                <a:gd name="T30" fmla="*/ 98 w 480"/>
                <a:gd name="T31" fmla="*/ 446 h 515"/>
                <a:gd name="T32" fmla="*/ 128 w 480"/>
                <a:gd name="T33" fmla="*/ 465 h 515"/>
                <a:gd name="T34" fmla="*/ 146 w 480"/>
                <a:gd name="T35" fmla="*/ 487 h 515"/>
                <a:gd name="T36" fmla="*/ 169 w 480"/>
                <a:gd name="T37" fmla="*/ 479 h 515"/>
                <a:gd name="T38" fmla="*/ 185 w 480"/>
                <a:gd name="T39" fmla="*/ 470 h 515"/>
                <a:gd name="T40" fmla="*/ 214 w 480"/>
                <a:gd name="T41" fmla="*/ 470 h 515"/>
                <a:gd name="T42" fmla="*/ 239 w 480"/>
                <a:gd name="T43" fmla="*/ 489 h 515"/>
                <a:gd name="T44" fmla="*/ 268 w 480"/>
                <a:gd name="T45" fmla="*/ 483 h 515"/>
                <a:gd name="T46" fmla="*/ 301 w 480"/>
                <a:gd name="T47" fmla="*/ 497 h 515"/>
                <a:gd name="T48" fmla="*/ 319 w 480"/>
                <a:gd name="T49" fmla="*/ 511 h 515"/>
                <a:gd name="T50" fmla="*/ 332 w 480"/>
                <a:gd name="T51" fmla="*/ 487 h 515"/>
                <a:gd name="T52" fmla="*/ 343 w 480"/>
                <a:gd name="T53" fmla="*/ 454 h 515"/>
                <a:gd name="T54" fmla="*/ 352 w 480"/>
                <a:gd name="T55" fmla="*/ 421 h 515"/>
                <a:gd name="T56" fmla="*/ 368 w 480"/>
                <a:gd name="T57" fmla="*/ 388 h 515"/>
                <a:gd name="T58" fmla="*/ 383 w 480"/>
                <a:gd name="T59" fmla="*/ 350 h 515"/>
                <a:gd name="T60" fmla="*/ 400 w 480"/>
                <a:gd name="T61" fmla="*/ 318 h 515"/>
                <a:gd name="T62" fmla="*/ 426 w 480"/>
                <a:gd name="T63" fmla="*/ 291 h 515"/>
                <a:gd name="T64" fmla="*/ 434 w 480"/>
                <a:gd name="T65" fmla="*/ 271 h 515"/>
                <a:gd name="T66" fmla="*/ 447 w 480"/>
                <a:gd name="T67" fmla="*/ 248 h 515"/>
                <a:gd name="T68" fmla="*/ 468 w 480"/>
                <a:gd name="T69" fmla="*/ 206 h 515"/>
                <a:gd name="T70" fmla="*/ 476 w 480"/>
                <a:gd name="T71" fmla="*/ 189 h 515"/>
                <a:gd name="T72" fmla="*/ 474 w 480"/>
                <a:gd name="T73" fmla="*/ 153 h 515"/>
                <a:gd name="T74" fmla="*/ 438 w 480"/>
                <a:gd name="T75" fmla="*/ 139 h 515"/>
                <a:gd name="T76" fmla="*/ 433 w 480"/>
                <a:gd name="T77" fmla="*/ 115 h 515"/>
                <a:gd name="T78" fmla="*/ 447 w 480"/>
                <a:gd name="T79" fmla="*/ 83 h 515"/>
                <a:gd name="T80" fmla="*/ 447 w 480"/>
                <a:gd name="T81" fmla="*/ 64 h 515"/>
                <a:gd name="T82" fmla="*/ 422 w 480"/>
                <a:gd name="T83" fmla="*/ 53 h 515"/>
                <a:gd name="T84" fmla="*/ 428 w 480"/>
                <a:gd name="T85" fmla="*/ 37 h 515"/>
                <a:gd name="T86" fmla="*/ 436 w 480"/>
                <a:gd name="T87" fmla="*/ 15 h 515"/>
                <a:gd name="T88" fmla="*/ 436 w 480"/>
                <a:gd name="T89" fmla="*/ 0 h 515"/>
                <a:gd name="T90" fmla="*/ 422 w 480"/>
                <a:gd name="T91" fmla="*/ 13 h 515"/>
                <a:gd name="T92" fmla="*/ 400 w 480"/>
                <a:gd name="T93" fmla="*/ 22 h 515"/>
                <a:gd name="T94" fmla="*/ 373 w 480"/>
                <a:gd name="T95" fmla="*/ 45 h 515"/>
                <a:gd name="T96" fmla="*/ 343 w 480"/>
                <a:gd name="T97" fmla="*/ 53 h 515"/>
                <a:gd name="T98" fmla="*/ 324 w 480"/>
                <a:gd name="T99" fmla="*/ 45 h 515"/>
                <a:gd name="T100" fmla="*/ 302 w 480"/>
                <a:gd name="T101" fmla="*/ 48 h 515"/>
                <a:gd name="T102" fmla="*/ 282 w 480"/>
                <a:gd name="T103" fmla="*/ 48 h 515"/>
                <a:gd name="T104" fmla="*/ 258 w 480"/>
                <a:gd name="T105" fmla="*/ 49 h 515"/>
                <a:gd name="T106" fmla="*/ 223 w 480"/>
                <a:gd name="T107" fmla="*/ 49 h 515"/>
                <a:gd name="T108" fmla="*/ 204 w 480"/>
                <a:gd name="T109" fmla="*/ 46 h 515"/>
                <a:gd name="T110" fmla="*/ 217 w 480"/>
                <a:gd name="T111" fmla="*/ 68 h 515"/>
                <a:gd name="T112" fmla="*/ 194 w 480"/>
                <a:gd name="T113" fmla="*/ 91 h 515"/>
                <a:gd name="T114" fmla="*/ 177 w 480"/>
                <a:gd name="T115" fmla="*/ 117 h 515"/>
                <a:gd name="T116" fmla="*/ 161 w 480"/>
                <a:gd name="T117" fmla="*/ 132 h 515"/>
                <a:gd name="T118" fmla="*/ 152 w 480"/>
                <a:gd name="T119" fmla="*/ 129 h 515"/>
                <a:gd name="T120" fmla="*/ 138 w 480"/>
                <a:gd name="T121" fmla="*/ 127 h 515"/>
                <a:gd name="T122" fmla="*/ 125 w 480"/>
                <a:gd name="T123" fmla="*/ 113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0" h="515">
                  <a:moveTo>
                    <a:pt x="125" y="113"/>
                  </a:moveTo>
                  <a:lnTo>
                    <a:pt x="120" y="118"/>
                  </a:lnTo>
                  <a:lnTo>
                    <a:pt x="118" y="119"/>
                  </a:lnTo>
                  <a:lnTo>
                    <a:pt x="116" y="120"/>
                  </a:lnTo>
                  <a:lnTo>
                    <a:pt x="113" y="121"/>
                  </a:lnTo>
                  <a:lnTo>
                    <a:pt x="111" y="123"/>
                  </a:lnTo>
                  <a:lnTo>
                    <a:pt x="109" y="124"/>
                  </a:lnTo>
                  <a:lnTo>
                    <a:pt x="106" y="126"/>
                  </a:lnTo>
                  <a:lnTo>
                    <a:pt x="102" y="131"/>
                  </a:lnTo>
                  <a:lnTo>
                    <a:pt x="100" y="134"/>
                  </a:lnTo>
                  <a:lnTo>
                    <a:pt x="97" y="140"/>
                  </a:lnTo>
                  <a:lnTo>
                    <a:pt x="97" y="143"/>
                  </a:lnTo>
                  <a:lnTo>
                    <a:pt x="96" y="149"/>
                  </a:lnTo>
                  <a:lnTo>
                    <a:pt x="96" y="150"/>
                  </a:lnTo>
                  <a:lnTo>
                    <a:pt x="97" y="167"/>
                  </a:lnTo>
                  <a:lnTo>
                    <a:pt x="95" y="173"/>
                  </a:lnTo>
                  <a:lnTo>
                    <a:pt x="93" y="175"/>
                  </a:lnTo>
                  <a:lnTo>
                    <a:pt x="88" y="177"/>
                  </a:lnTo>
                  <a:lnTo>
                    <a:pt x="85" y="180"/>
                  </a:lnTo>
                  <a:lnTo>
                    <a:pt x="80" y="182"/>
                  </a:lnTo>
                  <a:lnTo>
                    <a:pt x="76" y="183"/>
                  </a:lnTo>
                  <a:lnTo>
                    <a:pt x="72" y="184"/>
                  </a:lnTo>
                  <a:lnTo>
                    <a:pt x="70" y="185"/>
                  </a:lnTo>
                  <a:lnTo>
                    <a:pt x="68" y="188"/>
                  </a:lnTo>
                  <a:lnTo>
                    <a:pt x="65" y="190"/>
                  </a:lnTo>
                  <a:lnTo>
                    <a:pt x="64" y="192"/>
                  </a:lnTo>
                  <a:lnTo>
                    <a:pt x="62" y="199"/>
                  </a:lnTo>
                  <a:lnTo>
                    <a:pt x="56" y="213"/>
                  </a:lnTo>
                  <a:lnTo>
                    <a:pt x="56" y="215"/>
                  </a:lnTo>
                  <a:lnTo>
                    <a:pt x="55" y="219"/>
                  </a:lnTo>
                  <a:lnTo>
                    <a:pt x="54" y="221"/>
                  </a:lnTo>
                  <a:lnTo>
                    <a:pt x="53" y="224"/>
                  </a:lnTo>
                  <a:lnTo>
                    <a:pt x="52" y="229"/>
                  </a:lnTo>
                  <a:lnTo>
                    <a:pt x="49" y="232"/>
                  </a:lnTo>
                  <a:lnTo>
                    <a:pt x="46" y="244"/>
                  </a:lnTo>
                  <a:lnTo>
                    <a:pt x="42" y="251"/>
                  </a:lnTo>
                  <a:lnTo>
                    <a:pt x="40" y="254"/>
                  </a:lnTo>
                  <a:lnTo>
                    <a:pt x="39" y="255"/>
                  </a:lnTo>
                  <a:lnTo>
                    <a:pt x="34" y="261"/>
                  </a:lnTo>
                  <a:lnTo>
                    <a:pt x="33" y="264"/>
                  </a:lnTo>
                  <a:lnTo>
                    <a:pt x="32" y="268"/>
                  </a:lnTo>
                  <a:lnTo>
                    <a:pt x="31" y="270"/>
                  </a:lnTo>
                  <a:lnTo>
                    <a:pt x="28" y="272"/>
                  </a:lnTo>
                  <a:lnTo>
                    <a:pt x="26" y="275"/>
                  </a:lnTo>
                  <a:lnTo>
                    <a:pt x="24" y="276"/>
                  </a:lnTo>
                  <a:lnTo>
                    <a:pt x="21" y="283"/>
                  </a:lnTo>
                  <a:lnTo>
                    <a:pt x="21" y="287"/>
                  </a:lnTo>
                  <a:lnTo>
                    <a:pt x="20" y="293"/>
                  </a:lnTo>
                  <a:lnTo>
                    <a:pt x="20" y="296"/>
                  </a:lnTo>
                  <a:lnTo>
                    <a:pt x="22" y="301"/>
                  </a:lnTo>
                  <a:lnTo>
                    <a:pt x="24" y="309"/>
                  </a:lnTo>
                  <a:lnTo>
                    <a:pt x="24" y="313"/>
                  </a:lnTo>
                  <a:lnTo>
                    <a:pt x="22" y="323"/>
                  </a:lnTo>
                  <a:lnTo>
                    <a:pt x="18" y="325"/>
                  </a:lnTo>
                  <a:lnTo>
                    <a:pt x="15" y="328"/>
                  </a:lnTo>
                  <a:lnTo>
                    <a:pt x="10" y="332"/>
                  </a:lnTo>
                  <a:lnTo>
                    <a:pt x="9" y="335"/>
                  </a:lnTo>
                  <a:lnTo>
                    <a:pt x="8" y="340"/>
                  </a:lnTo>
                  <a:lnTo>
                    <a:pt x="9" y="343"/>
                  </a:lnTo>
                  <a:lnTo>
                    <a:pt x="10" y="347"/>
                  </a:lnTo>
                  <a:lnTo>
                    <a:pt x="13" y="349"/>
                  </a:lnTo>
                  <a:lnTo>
                    <a:pt x="15" y="351"/>
                  </a:lnTo>
                  <a:lnTo>
                    <a:pt x="16" y="353"/>
                  </a:lnTo>
                  <a:lnTo>
                    <a:pt x="17" y="358"/>
                  </a:lnTo>
                  <a:lnTo>
                    <a:pt x="13" y="366"/>
                  </a:lnTo>
                  <a:lnTo>
                    <a:pt x="10" y="371"/>
                  </a:lnTo>
                  <a:lnTo>
                    <a:pt x="9" y="373"/>
                  </a:lnTo>
                  <a:lnTo>
                    <a:pt x="8" y="374"/>
                  </a:lnTo>
                  <a:lnTo>
                    <a:pt x="5" y="376"/>
                  </a:lnTo>
                  <a:lnTo>
                    <a:pt x="5" y="381"/>
                  </a:lnTo>
                  <a:lnTo>
                    <a:pt x="5" y="384"/>
                  </a:lnTo>
                  <a:lnTo>
                    <a:pt x="4" y="388"/>
                  </a:lnTo>
                  <a:lnTo>
                    <a:pt x="2" y="390"/>
                  </a:lnTo>
                  <a:lnTo>
                    <a:pt x="2" y="393"/>
                  </a:lnTo>
                  <a:lnTo>
                    <a:pt x="2" y="396"/>
                  </a:lnTo>
                  <a:lnTo>
                    <a:pt x="4" y="404"/>
                  </a:lnTo>
                  <a:lnTo>
                    <a:pt x="5" y="407"/>
                  </a:lnTo>
                  <a:lnTo>
                    <a:pt x="7" y="409"/>
                  </a:lnTo>
                  <a:lnTo>
                    <a:pt x="8" y="413"/>
                  </a:lnTo>
                  <a:lnTo>
                    <a:pt x="9" y="416"/>
                  </a:lnTo>
                  <a:lnTo>
                    <a:pt x="8" y="419"/>
                  </a:lnTo>
                  <a:lnTo>
                    <a:pt x="7" y="423"/>
                  </a:lnTo>
                  <a:lnTo>
                    <a:pt x="5" y="427"/>
                  </a:lnTo>
                  <a:lnTo>
                    <a:pt x="1" y="431"/>
                  </a:lnTo>
                  <a:lnTo>
                    <a:pt x="0" y="433"/>
                  </a:lnTo>
                  <a:lnTo>
                    <a:pt x="0" y="438"/>
                  </a:lnTo>
                  <a:lnTo>
                    <a:pt x="1" y="441"/>
                  </a:lnTo>
                  <a:lnTo>
                    <a:pt x="5" y="443"/>
                  </a:lnTo>
                  <a:lnTo>
                    <a:pt x="10" y="444"/>
                  </a:lnTo>
                  <a:lnTo>
                    <a:pt x="16" y="443"/>
                  </a:lnTo>
                  <a:lnTo>
                    <a:pt x="20" y="441"/>
                  </a:lnTo>
                  <a:lnTo>
                    <a:pt x="24" y="441"/>
                  </a:lnTo>
                  <a:lnTo>
                    <a:pt x="26" y="444"/>
                  </a:lnTo>
                  <a:lnTo>
                    <a:pt x="29" y="445"/>
                  </a:lnTo>
                  <a:lnTo>
                    <a:pt x="32" y="448"/>
                  </a:lnTo>
                  <a:lnTo>
                    <a:pt x="34" y="449"/>
                  </a:lnTo>
                  <a:lnTo>
                    <a:pt x="37" y="449"/>
                  </a:lnTo>
                  <a:lnTo>
                    <a:pt x="39" y="449"/>
                  </a:lnTo>
                  <a:lnTo>
                    <a:pt x="41" y="447"/>
                  </a:lnTo>
                  <a:lnTo>
                    <a:pt x="41" y="445"/>
                  </a:lnTo>
                  <a:lnTo>
                    <a:pt x="44" y="441"/>
                  </a:lnTo>
                  <a:lnTo>
                    <a:pt x="46" y="440"/>
                  </a:lnTo>
                  <a:lnTo>
                    <a:pt x="49" y="443"/>
                  </a:lnTo>
                  <a:lnTo>
                    <a:pt x="50" y="445"/>
                  </a:lnTo>
                  <a:lnTo>
                    <a:pt x="50" y="447"/>
                  </a:lnTo>
                  <a:lnTo>
                    <a:pt x="49" y="451"/>
                  </a:lnTo>
                  <a:lnTo>
                    <a:pt x="49" y="452"/>
                  </a:lnTo>
                  <a:lnTo>
                    <a:pt x="50" y="456"/>
                  </a:lnTo>
                  <a:lnTo>
                    <a:pt x="53" y="460"/>
                  </a:lnTo>
                  <a:lnTo>
                    <a:pt x="55" y="460"/>
                  </a:lnTo>
                  <a:lnTo>
                    <a:pt x="58" y="460"/>
                  </a:lnTo>
                  <a:lnTo>
                    <a:pt x="61" y="461"/>
                  </a:lnTo>
                  <a:lnTo>
                    <a:pt x="64" y="457"/>
                  </a:lnTo>
                  <a:lnTo>
                    <a:pt x="69" y="455"/>
                  </a:lnTo>
                  <a:lnTo>
                    <a:pt x="70" y="453"/>
                  </a:lnTo>
                  <a:lnTo>
                    <a:pt x="73" y="452"/>
                  </a:lnTo>
                  <a:lnTo>
                    <a:pt x="77" y="453"/>
                  </a:lnTo>
                  <a:lnTo>
                    <a:pt x="80" y="454"/>
                  </a:lnTo>
                  <a:lnTo>
                    <a:pt x="82" y="456"/>
                  </a:lnTo>
                  <a:lnTo>
                    <a:pt x="84" y="459"/>
                  </a:lnTo>
                  <a:lnTo>
                    <a:pt x="87" y="460"/>
                  </a:lnTo>
                  <a:lnTo>
                    <a:pt x="88" y="460"/>
                  </a:lnTo>
                  <a:lnTo>
                    <a:pt x="92" y="460"/>
                  </a:lnTo>
                  <a:lnTo>
                    <a:pt x="94" y="460"/>
                  </a:lnTo>
                  <a:lnTo>
                    <a:pt x="96" y="459"/>
                  </a:lnTo>
                  <a:lnTo>
                    <a:pt x="96" y="453"/>
                  </a:lnTo>
                  <a:lnTo>
                    <a:pt x="97" y="448"/>
                  </a:lnTo>
                  <a:lnTo>
                    <a:pt x="98" y="446"/>
                  </a:lnTo>
                  <a:lnTo>
                    <a:pt x="104" y="446"/>
                  </a:lnTo>
                  <a:lnTo>
                    <a:pt x="109" y="447"/>
                  </a:lnTo>
                  <a:lnTo>
                    <a:pt x="114" y="451"/>
                  </a:lnTo>
                  <a:lnTo>
                    <a:pt x="118" y="453"/>
                  </a:lnTo>
                  <a:lnTo>
                    <a:pt x="121" y="456"/>
                  </a:lnTo>
                  <a:lnTo>
                    <a:pt x="125" y="462"/>
                  </a:lnTo>
                  <a:lnTo>
                    <a:pt x="127" y="463"/>
                  </a:lnTo>
                  <a:lnTo>
                    <a:pt x="128" y="465"/>
                  </a:lnTo>
                  <a:lnTo>
                    <a:pt x="128" y="470"/>
                  </a:lnTo>
                  <a:lnTo>
                    <a:pt x="129" y="472"/>
                  </a:lnTo>
                  <a:lnTo>
                    <a:pt x="133" y="479"/>
                  </a:lnTo>
                  <a:lnTo>
                    <a:pt x="135" y="484"/>
                  </a:lnTo>
                  <a:lnTo>
                    <a:pt x="137" y="486"/>
                  </a:lnTo>
                  <a:lnTo>
                    <a:pt x="141" y="487"/>
                  </a:lnTo>
                  <a:lnTo>
                    <a:pt x="143" y="487"/>
                  </a:lnTo>
                  <a:lnTo>
                    <a:pt x="146" y="487"/>
                  </a:lnTo>
                  <a:lnTo>
                    <a:pt x="149" y="486"/>
                  </a:lnTo>
                  <a:lnTo>
                    <a:pt x="152" y="484"/>
                  </a:lnTo>
                  <a:lnTo>
                    <a:pt x="156" y="481"/>
                  </a:lnTo>
                  <a:lnTo>
                    <a:pt x="157" y="479"/>
                  </a:lnTo>
                  <a:lnTo>
                    <a:pt x="159" y="478"/>
                  </a:lnTo>
                  <a:lnTo>
                    <a:pt x="162" y="478"/>
                  </a:lnTo>
                  <a:lnTo>
                    <a:pt x="166" y="479"/>
                  </a:lnTo>
                  <a:lnTo>
                    <a:pt x="169" y="479"/>
                  </a:lnTo>
                  <a:lnTo>
                    <a:pt x="172" y="477"/>
                  </a:lnTo>
                  <a:lnTo>
                    <a:pt x="172" y="476"/>
                  </a:lnTo>
                  <a:lnTo>
                    <a:pt x="172" y="471"/>
                  </a:lnTo>
                  <a:lnTo>
                    <a:pt x="172" y="469"/>
                  </a:lnTo>
                  <a:lnTo>
                    <a:pt x="174" y="468"/>
                  </a:lnTo>
                  <a:lnTo>
                    <a:pt x="176" y="468"/>
                  </a:lnTo>
                  <a:lnTo>
                    <a:pt x="182" y="468"/>
                  </a:lnTo>
                  <a:lnTo>
                    <a:pt x="185" y="470"/>
                  </a:lnTo>
                  <a:lnTo>
                    <a:pt x="186" y="471"/>
                  </a:lnTo>
                  <a:lnTo>
                    <a:pt x="190" y="471"/>
                  </a:lnTo>
                  <a:lnTo>
                    <a:pt x="194" y="470"/>
                  </a:lnTo>
                  <a:lnTo>
                    <a:pt x="197" y="470"/>
                  </a:lnTo>
                  <a:lnTo>
                    <a:pt x="200" y="468"/>
                  </a:lnTo>
                  <a:lnTo>
                    <a:pt x="205" y="467"/>
                  </a:lnTo>
                  <a:lnTo>
                    <a:pt x="209" y="467"/>
                  </a:lnTo>
                  <a:lnTo>
                    <a:pt x="214" y="470"/>
                  </a:lnTo>
                  <a:lnTo>
                    <a:pt x="216" y="473"/>
                  </a:lnTo>
                  <a:lnTo>
                    <a:pt x="220" y="478"/>
                  </a:lnTo>
                  <a:lnTo>
                    <a:pt x="223" y="481"/>
                  </a:lnTo>
                  <a:lnTo>
                    <a:pt x="225" y="484"/>
                  </a:lnTo>
                  <a:lnTo>
                    <a:pt x="228" y="487"/>
                  </a:lnTo>
                  <a:lnTo>
                    <a:pt x="230" y="489"/>
                  </a:lnTo>
                  <a:lnTo>
                    <a:pt x="236" y="489"/>
                  </a:lnTo>
                  <a:lnTo>
                    <a:pt x="239" y="489"/>
                  </a:lnTo>
                  <a:lnTo>
                    <a:pt x="242" y="486"/>
                  </a:lnTo>
                  <a:lnTo>
                    <a:pt x="246" y="484"/>
                  </a:lnTo>
                  <a:lnTo>
                    <a:pt x="248" y="483"/>
                  </a:lnTo>
                  <a:lnTo>
                    <a:pt x="253" y="480"/>
                  </a:lnTo>
                  <a:lnTo>
                    <a:pt x="257" y="479"/>
                  </a:lnTo>
                  <a:lnTo>
                    <a:pt x="262" y="479"/>
                  </a:lnTo>
                  <a:lnTo>
                    <a:pt x="266" y="481"/>
                  </a:lnTo>
                  <a:lnTo>
                    <a:pt x="268" y="483"/>
                  </a:lnTo>
                  <a:lnTo>
                    <a:pt x="272" y="484"/>
                  </a:lnTo>
                  <a:lnTo>
                    <a:pt x="278" y="486"/>
                  </a:lnTo>
                  <a:lnTo>
                    <a:pt x="282" y="488"/>
                  </a:lnTo>
                  <a:lnTo>
                    <a:pt x="286" y="492"/>
                  </a:lnTo>
                  <a:lnTo>
                    <a:pt x="289" y="495"/>
                  </a:lnTo>
                  <a:lnTo>
                    <a:pt x="290" y="496"/>
                  </a:lnTo>
                  <a:lnTo>
                    <a:pt x="296" y="496"/>
                  </a:lnTo>
                  <a:lnTo>
                    <a:pt x="301" y="497"/>
                  </a:lnTo>
                  <a:lnTo>
                    <a:pt x="304" y="500"/>
                  </a:lnTo>
                  <a:lnTo>
                    <a:pt x="306" y="502"/>
                  </a:lnTo>
                  <a:lnTo>
                    <a:pt x="310" y="508"/>
                  </a:lnTo>
                  <a:lnTo>
                    <a:pt x="311" y="510"/>
                  </a:lnTo>
                  <a:lnTo>
                    <a:pt x="312" y="512"/>
                  </a:lnTo>
                  <a:lnTo>
                    <a:pt x="314" y="515"/>
                  </a:lnTo>
                  <a:lnTo>
                    <a:pt x="317" y="515"/>
                  </a:lnTo>
                  <a:lnTo>
                    <a:pt x="319" y="511"/>
                  </a:lnTo>
                  <a:lnTo>
                    <a:pt x="320" y="510"/>
                  </a:lnTo>
                  <a:lnTo>
                    <a:pt x="322" y="507"/>
                  </a:lnTo>
                  <a:lnTo>
                    <a:pt x="325" y="503"/>
                  </a:lnTo>
                  <a:lnTo>
                    <a:pt x="326" y="500"/>
                  </a:lnTo>
                  <a:lnTo>
                    <a:pt x="327" y="495"/>
                  </a:lnTo>
                  <a:lnTo>
                    <a:pt x="328" y="493"/>
                  </a:lnTo>
                  <a:lnTo>
                    <a:pt x="330" y="489"/>
                  </a:lnTo>
                  <a:lnTo>
                    <a:pt x="332" y="487"/>
                  </a:lnTo>
                  <a:lnTo>
                    <a:pt x="332" y="484"/>
                  </a:lnTo>
                  <a:lnTo>
                    <a:pt x="333" y="480"/>
                  </a:lnTo>
                  <a:lnTo>
                    <a:pt x="333" y="477"/>
                  </a:lnTo>
                  <a:lnTo>
                    <a:pt x="334" y="475"/>
                  </a:lnTo>
                  <a:lnTo>
                    <a:pt x="336" y="470"/>
                  </a:lnTo>
                  <a:lnTo>
                    <a:pt x="342" y="461"/>
                  </a:lnTo>
                  <a:lnTo>
                    <a:pt x="342" y="459"/>
                  </a:lnTo>
                  <a:lnTo>
                    <a:pt x="343" y="454"/>
                  </a:lnTo>
                  <a:lnTo>
                    <a:pt x="344" y="451"/>
                  </a:lnTo>
                  <a:lnTo>
                    <a:pt x="345" y="448"/>
                  </a:lnTo>
                  <a:lnTo>
                    <a:pt x="350" y="440"/>
                  </a:lnTo>
                  <a:lnTo>
                    <a:pt x="350" y="437"/>
                  </a:lnTo>
                  <a:lnTo>
                    <a:pt x="351" y="432"/>
                  </a:lnTo>
                  <a:lnTo>
                    <a:pt x="350" y="429"/>
                  </a:lnTo>
                  <a:lnTo>
                    <a:pt x="350" y="425"/>
                  </a:lnTo>
                  <a:lnTo>
                    <a:pt x="352" y="421"/>
                  </a:lnTo>
                  <a:lnTo>
                    <a:pt x="354" y="417"/>
                  </a:lnTo>
                  <a:lnTo>
                    <a:pt x="358" y="412"/>
                  </a:lnTo>
                  <a:lnTo>
                    <a:pt x="359" y="408"/>
                  </a:lnTo>
                  <a:lnTo>
                    <a:pt x="360" y="401"/>
                  </a:lnTo>
                  <a:lnTo>
                    <a:pt x="361" y="397"/>
                  </a:lnTo>
                  <a:lnTo>
                    <a:pt x="364" y="393"/>
                  </a:lnTo>
                  <a:lnTo>
                    <a:pt x="365" y="390"/>
                  </a:lnTo>
                  <a:lnTo>
                    <a:pt x="368" y="388"/>
                  </a:lnTo>
                  <a:lnTo>
                    <a:pt x="368" y="384"/>
                  </a:lnTo>
                  <a:lnTo>
                    <a:pt x="368" y="382"/>
                  </a:lnTo>
                  <a:lnTo>
                    <a:pt x="368" y="379"/>
                  </a:lnTo>
                  <a:lnTo>
                    <a:pt x="368" y="376"/>
                  </a:lnTo>
                  <a:lnTo>
                    <a:pt x="374" y="372"/>
                  </a:lnTo>
                  <a:lnTo>
                    <a:pt x="377" y="367"/>
                  </a:lnTo>
                  <a:lnTo>
                    <a:pt x="381" y="358"/>
                  </a:lnTo>
                  <a:lnTo>
                    <a:pt x="383" y="350"/>
                  </a:lnTo>
                  <a:lnTo>
                    <a:pt x="384" y="347"/>
                  </a:lnTo>
                  <a:lnTo>
                    <a:pt x="385" y="343"/>
                  </a:lnTo>
                  <a:lnTo>
                    <a:pt x="386" y="340"/>
                  </a:lnTo>
                  <a:lnTo>
                    <a:pt x="390" y="333"/>
                  </a:lnTo>
                  <a:lnTo>
                    <a:pt x="391" y="329"/>
                  </a:lnTo>
                  <a:lnTo>
                    <a:pt x="394" y="326"/>
                  </a:lnTo>
                  <a:lnTo>
                    <a:pt x="397" y="324"/>
                  </a:lnTo>
                  <a:lnTo>
                    <a:pt x="400" y="318"/>
                  </a:lnTo>
                  <a:lnTo>
                    <a:pt x="402" y="316"/>
                  </a:lnTo>
                  <a:lnTo>
                    <a:pt x="407" y="313"/>
                  </a:lnTo>
                  <a:lnTo>
                    <a:pt x="409" y="309"/>
                  </a:lnTo>
                  <a:lnTo>
                    <a:pt x="412" y="305"/>
                  </a:lnTo>
                  <a:lnTo>
                    <a:pt x="414" y="303"/>
                  </a:lnTo>
                  <a:lnTo>
                    <a:pt x="420" y="299"/>
                  </a:lnTo>
                  <a:lnTo>
                    <a:pt x="425" y="293"/>
                  </a:lnTo>
                  <a:lnTo>
                    <a:pt x="426" y="291"/>
                  </a:lnTo>
                  <a:lnTo>
                    <a:pt x="426" y="287"/>
                  </a:lnTo>
                  <a:lnTo>
                    <a:pt x="426" y="281"/>
                  </a:lnTo>
                  <a:lnTo>
                    <a:pt x="424" y="278"/>
                  </a:lnTo>
                  <a:lnTo>
                    <a:pt x="424" y="275"/>
                  </a:lnTo>
                  <a:lnTo>
                    <a:pt x="425" y="271"/>
                  </a:lnTo>
                  <a:lnTo>
                    <a:pt x="429" y="270"/>
                  </a:lnTo>
                  <a:lnTo>
                    <a:pt x="431" y="270"/>
                  </a:lnTo>
                  <a:lnTo>
                    <a:pt x="434" y="271"/>
                  </a:lnTo>
                  <a:lnTo>
                    <a:pt x="436" y="271"/>
                  </a:lnTo>
                  <a:lnTo>
                    <a:pt x="438" y="272"/>
                  </a:lnTo>
                  <a:lnTo>
                    <a:pt x="440" y="270"/>
                  </a:lnTo>
                  <a:lnTo>
                    <a:pt x="442" y="268"/>
                  </a:lnTo>
                  <a:lnTo>
                    <a:pt x="444" y="264"/>
                  </a:lnTo>
                  <a:lnTo>
                    <a:pt x="445" y="260"/>
                  </a:lnTo>
                  <a:lnTo>
                    <a:pt x="444" y="255"/>
                  </a:lnTo>
                  <a:lnTo>
                    <a:pt x="447" y="248"/>
                  </a:lnTo>
                  <a:lnTo>
                    <a:pt x="448" y="244"/>
                  </a:lnTo>
                  <a:lnTo>
                    <a:pt x="449" y="240"/>
                  </a:lnTo>
                  <a:lnTo>
                    <a:pt x="452" y="235"/>
                  </a:lnTo>
                  <a:lnTo>
                    <a:pt x="454" y="229"/>
                  </a:lnTo>
                  <a:lnTo>
                    <a:pt x="457" y="221"/>
                  </a:lnTo>
                  <a:lnTo>
                    <a:pt x="463" y="213"/>
                  </a:lnTo>
                  <a:lnTo>
                    <a:pt x="465" y="209"/>
                  </a:lnTo>
                  <a:lnTo>
                    <a:pt x="468" y="206"/>
                  </a:lnTo>
                  <a:lnTo>
                    <a:pt x="470" y="204"/>
                  </a:lnTo>
                  <a:lnTo>
                    <a:pt x="470" y="201"/>
                  </a:lnTo>
                  <a:lnTo>
                    <a:pt x="469" y="200"/>
                  </a:lnTo>
                  <a:lnTo>
                    <a:pt x="468" y="199"/>
                  </a:lnTo>
                  <a:lnTo>
                    <a:pt x="469" y="196"/>
                  </a:lnTo>
                  <a:lnTo>
                    <a:pt x="471" y="193"/>
                  </a:lnTo>
                  <a:lnTo>
                    <a:pt x="472" y="191"/>
                  </a:lnTo>
                  <a:lnTo>
                    <a:pt x="476" y="189"/>
                  </a:lnTo>
                  <a:lnTo>
                    <a:pt x="477" y="185"/>
                  </a:lnTo>
                  <a:lnTo>
                    <a:pt x="479" y="182"/>
                  </a:lnTo>
                  <a:lnTo>
                    <a:pt x="480" y="174"/>
                  </a:lnTo>
                  <a:lnTo>
                    <a:pt x="480" y="171"/>
                  </a:lnTo>
                  <a:lnTo>
                    <a:pt x="480" y="168"/>
                  </a:lnTo>
                  <a:lnTo>
                    <a:pt x="479" y="161"/>
                  </a:lnTo>
                  <a:lnTo>
                    <a:pt x="477" y="156"/>
                  </a:lnTo>
                  <a:lnTo>
                    <a:pt x="474" y="153"/>
                  </a:lnTo>
                  <a:lnTo>
                    <a:pt x="469" y="149"/>
                  </a:lnTo>
                  <a:lnTo>
                    <a:pt x="464" y="147"/>
                  </a:lnTo>
                  <a:lnTo>
                    <a:pt x="456" y="144"/>
                  </a:lnTo>
                  <a:lnTo>
                    <a:pt x="453" y="143"/>
                  </a:lnTo>
                  <a:lnTo>
                    <a:pt x="448" y="141"/>
                  </a:lnTo>
                  <a:lnTo>
                    <a:pt x="445" y="139"/>
                  </a:lnTo>
                  <a:lnTo>
                    <a:pt x="444" y="137"/>
                  </a:lnTo>
                  <a:lnTo>
                    <a:pt x="438" y="139"/>
                  </a:lnTo>
                  <a:lnTo>
                    <a:pt x="436" y="137"/>
                  </a:lnTo>
                  <a:lnTo>
                    <a:pt x="434" y="137"/>
                  </a:lnTo>
                  <a:lnTo>
                    <a:pt x="432" y="134"/>
                  </a:lnTo>
                  <a:lnTo>
                    <a:pt x="431" y="132"/>
                  </a:lnTo>
                  <a:lnTo>
                    <a:pt x="432" y="127"/>
                  </a:lnTo>
                  <a:lnTo>
                    <a:pt x="432" y="125"/>
                  </a:lnTo>
                  <a:lnTo>
                    <a:pt x="432" y="119"/>
                  </a:lnTo>
                  <a:lnTo>
                    <a:pt x="433" y="115"/>
                  </a:lnTo>
                  <a:lnTo>
                    <a:pt x="434" y="110"/>
                  </a:lnTo>
                  <a:lnTo>
                    <a:pt x="438" y="105"/>
                  </a:lnTo>
                  <a:lnTo>
                    <a:pt x="441" y="101"/>
                  </a:lnTo>
                  <a:lnTo>
                    <a:pt x="445" y="97"/>
                  </a:lnTo>
                  <a:lnTo>
                    <a:pt x="446" y="94"/>
                  </a:lnTo>
                  <a:lnTo>
                    <a:pt x="447" y="93"/>
                  </a:lnTo>
                  <a:lnTo>
                    <a:pt x="447" y="87"/>
                  </a:lnTo>
                  <a:lnTo>
                    <a:pt x="447" y="83"/>
                  </a:lnTo>
                  <a:lnTo>
                    <a:pt x="449" y="79"/>
                  </a:lnTo>
                  <a:lnTo>
                    <a:pt x="452" y="77"/>
                  </a:lnTo>
                  <a:lnTo>
                    <a:pt x="454" y="75"/>
                  </a:lnTo>
                  <a:lnTo>
                    <a:pt x="456" y="72"/>
                  </a:lnTo>
                  <a:lnTo>
                    <a:pt x="456" y="69"/>
                  </a:lnTo>
                  <a:lnTo>
                    <a:pt x="454" y="68"/>
                  </a:lnTo>
                  <a:lnTo>
                    <a:pt x="450" y="67"/>
                  </a:lnTo>
                  <a:lnTo>
                    <a:pt x="447" y="64"/>
                  </a:lnTo>
                  <a:lnTo>
                    <a:pt x="445" y="63"/>
                  </a:lnTo>
                  <a:lnTo>
                    <a:pt x="438" y="61"/>
                  </a:lnTo>
                  <a:lnTo>
                    <a:pt x="434" y="60"/>
                  </a:lnTo>
                  <a:lnTo>
                    <a:pt x="430" y="57"/>
                  </a:lnTo>
                  <a:lnTo>
                    <a:pt x="429" y="56"/>
                  </a:lnTo>
                  <a:lnTo>
                    <a:pt x="425" y="54"/>
                  </a:lnTo>
                  <a:lnTo>
                    <a:pt x="423" y="54"/>
                  </a:lnTo>
                  <a:lnTo>
                    <a:pt x="422" y="53"/>
                  </a:lnTo>
                  <a:lnTo>
                    <a:pt x="420" y="51"/>
                  </a:lnTo>
                  <a:lnTo>
                    <a:pt x="421" y="48"/>
                  </a:lnTo>
                  <a:lnTo>
                    <a:pt x="423" y="47"/>
                  </a:lnTo>
                  <a:lnTo>
                    <a:pt x="425" y="46"/>
                  </a:lnTo>
                  <a:lnTo>
                    <a:pt x="426" y="45"/>
                  </a:lnTo>
                  <a:lnTo>
                    <a:pt x="428" y="43"/>
                  </a:lnTo>
                  <a:lnTo>
                    <a:pt x="428" y="40"/>
                  </a:lnTo>
                  <a:lnTo>
                    <a:pt x="428" y="37"/>
                  </a:lnTo>
                  <a:lnTo>
                    <a:pt x="426" y="35"/>
                  </a:lnTo>
                  <a:lnTo>
                    <a:pt x="428" y="30"/>
                  </a:lnTo>
                  <a:lnTo>
                    <a:pt x="429" y="28"/>
                  </a:lnTo>
                  <a:lnTo>
                    <a:pt x="430" y="25"/>
                  </a:lnTo>
                  <a:lnTo>
                    <a:pt x="431" y="22"/>
                  </a:lnTo>
                  <a:lnTo>
                    <a:pt x="433" y="20"/>
                  </a:lnTo>
                  <a:lnTo>
                    <a:pt x="433" y="17"/>
                  </a:lnTo>
                  <a:lnTo>
                    <a:pt x="436" y="15"/>
                  </a:lnTo>
                  <a:lnTo>
                    <a:pt x="437" y="13"/>
                  </a:lnTo>
                  <a:lnTo>
                    <a:pt x="438" y="11"/>
                  </a:lnTo>
                  <a:lnTo>
                    <a:pt x="440" y="8"/>
                  </a:lnTo>
                  <a:lnTo>
                    <a:pt x="440" y="6"/>
                  </a:lnTo>
                  <a:lnTo>
                    <a:pt x="440" y="5"/>
                  </a:lnTo>
                  <a:lnTo>
                    <a:pt x="440" y="3"/>
                  </a:lnTo>
                  <a:lnTo>
                    <a:pt x="438" y="1"/>
                  </a:lnTo>
                  <a:lnTo>
                    <a:pt x="436" y="0"/>
                  </a:lnTo>
                  <a:lnTo>
                    <a:pt x="434" y="0"/>
                  </a:lnTo>
                  <a:lnTo>
                    <a:pt x="432" y="1"/>
                  </a:lnTo>
                  <a:lnTo>
                    <a:pt x="431" y="3"/>
                  </a:lnTo>
                  <a:lnTo>
                    <a:pt x="429" y="4"/>
                  </a:lnTo>
                  <a:lnTo>
                    <a:pt x="426" y="8"/>
                  </a:lnTo>
                  <a:lnTo>
                    <a:pt x="424" y="9"/>
                  </a:lnTo>
                  <a:lnTo>
                    <a:pt x="423" y="12"/>
                  </a:lnTo>
                  <a:lnTo>
                    <a:pt x="422" y="13"/>
                  </a:lnTo>
                  <a:lnTo>
                    <a:pt x="420" y="16"/>
                  </a:lnTo>
                  <a:lnTo>
                    <a:pt x="416" y="17"/>
                  </a:lnTo>
                  <a:lnTo>
                    <a:pt x="413" y="20"/>
                  </a:lnTo>
                  <a:lnTo>
                    <a:pt x="410" y="21"/>
                  </a:lnTo>
                  <a:lnTo>
                    <a:pt x="407" y="22"/>
                  </a:lnTo>
                  <a:lnTo>
                    <a:pt x="405" y="21"/>
                  </a:lnTo>
                  <a:lnTo>
                    <a:pt x="402" y="21"/>
                  </a:lnTo>
                  <a:lnTo>
                    <a:pt x="400" y="22"/>
                  </a:lnTo>
                  <a:lnTo>
                    <a:pt x="397" y="24"/>
                  </a:lnTo>
                  <a:lnTo>
                    <a:pt x="394" y="24"/>
                  </a:lnTo>
                  <a:lnTo>
                    <a:pt x="389" y="31"/>
                  </a:lnTo>
                  <a:lnTo>
                    <a:pt x="386" y="35"/>
                  </a:lnTo>
                  <a:lnTo>
                    <a:pt x="384" y="37"/>
                  </a:lnTo>
                  <a:lnTo>
                    <a:pt x="381" y="39"/>
                  </a:lnTo>
                  <a:lnTo>
                    <a:pt x="377" y="41"/>
                  </a:lnTo>
                  <a:lnTo>
                    <a:pt x="373" y="45"/>
                  </a:lnTo>
                  <a:lnTo>
                    <a:pt x="370" y="47"/>
                  </a:lnTo>
                  <a:lnTo>
                    <a:pt x="366" y="49"/>
                  </a:lnTo>
                  <a:lnTo>
                    <a:pt x="361" y="51"/>
                  </a:lnTo>
                  <a:lnTo>
                    <a:pt x="358" y="52"/>
                  </a:lnTo>
                  <a:lnTo>
                    <a:pt x="354" y="52"/>
                  </a:lnTo>
                  <a:lnTo>
                    <a:pt x="351" y="52"/>
                  </a:lnTo>
                  <a:lnTo>
                    <a:pt x="348" y="52"/>
                  </a:lnTo>
                  <a:lnTo>
                    <a:pt x="343" y="53"/>
                  </a:lnTo>
                  <a:lnTo>
                    <a:pt x="343" y="55"/>
                  </a:lnTo>
                  <a:lnTo>
                    <a:pt x="342" y="56"/>
                  </a:lnTo>
                  <a:lnTo>
                    <a:pt x="340" y="57"/>
                  </a:lnTo>
                  <a:lnTo>
                    <a:pt x="337" y="57"/>
                  </a:lnTo>
                  <a:lnTo>
                    <a:pt x="335" y="56"/>
                  </a:lnTo>
                  <a:lnTo>
                    <a:pt x="333" y="54"/>
                  </a:lnTo>
                  <a:lnTo>
                    <a:pt x="326" y="47"/>
                  </a:lnTo>
                  <a:lnTo>
                    <a:pt x="324" y="45"/>
                  </a:lnTo>
                  <a:lnTo>
                    <a:pt x="320" y="41"/>
                  </a:lnTo>
                  <a:lnTo>
                    <a:pt x="318" y="40"/>
                  </a:lnTo>
                  <a:lnTo>
                    <a:pt x="314" y="39"/>
                  </a:lnTo>
                  <a:lnTo>
                    <a:pt x="312" y="39"/>
                  </a:lnTo>
                  <a:lnTo>
                    <a:pt x="309" y="43"/>
                  </a:lnTo>
                  <a:lnTo>
                    <a:pt x="308" y="44"/>
                  </a:lnTo>
                  <a:lnTo>
                    <a:pt x="305" y="46"/>
                  </a:lnTo>
                  <a:lnTo>
                    <a:pt x="302" y="48"/>
                  </a:lnTo>
                  <a:lnTo>
                    <a:pt x="300" y="49"/>
                  </a:lnTo>
                  <a:lnTo>
                    <a:pt x="298" y="51"/>
                  </a:lnTo>
                  <a:lnTo>
                    <a:pt x="295" y="51"/>
                  </a:lnTo>
                  <a:lnTo>
                    <a:pt x="292" y="51"/>
                  </a:lnTo>
                  <a:lnTo>
                    <a:pt x="289" y="51"/>
                  </a:lnTo>
                  <a:lnTo>
                    <a:pt x="287" y="49"/>
                  </a:lnTo>
                  <a:lnTo>
                    <a:pt x="285" y="49"/>
                  </a:lnTo>
                  <a:lnTo>
                    <a:pt x="282" y="48"/>
                  </a:lnTo>
                  <a:lnTo>
                    <a:pt x="280" y="47"/>
                  </a:lnTo>
                  <a:lnTo>
                    <a:pt x="278" y="47"/>
                  </a:lnTo>
                  <a:lnTo>
                    <a:pt x="273" y="48"/>
                  </a:lnTo>
                  <a:lnTo>
                    <a:pt x="270" y="48"/>
                  </a:lnTo>
                  <a:lnTo>
                    <a:pt x="268" y="49"/>
                  </a:lnTo>
                  <a:lnTo>
                    <a:pt x="263" y="49"/>
                  </a:lnTo>
                  <a:lnTo>
                    <a:pt x="262" y="49"/>
                  </a:lnTo>
                  <a:lnTo>
                    <a:pt x="258" y="49"/>
                  </a:lnTo>
                  <a:lnTo>
                    <a:pt x="256" y="48"/>
                  </a:lnTo>
                  <a:lnTo>
                    <a:pt x="248" y="47"/>
                  </a:lnTo>
                  <a:lnTo>
                    <a:pt x="246" y="47"/>
                  </a:lnTo>
                  <a:lnTo>
                    <a:pt x="241" y="47"/>
                  </a:lnTo>
                  <a:lnTo>
                    <a:pt x="240" y="47"/>
                  </a:lnTo>
                  <a:lnTo>
                    <a:pt x="230" y="49"/>
                  </a:lnTo>
                  <a:lnTo>
                    <a:pt x="226" y="49"/>
                  </a:lnTo>
                  <a:lnTo>
                    <a:pt x="223" y="49"/>
                  </a:lnTo>
                  <a:lnTo>
                    <a:pt x="221" y="48"/>
                  </a:lnTo>
                  <a:lnTo>
                    <a:pt x="218" y="47"/>
                  </a:lnTo>
                  <a:lnTo>
                    <a:pt x="216" y="46"/>
                  </a:lnTo>
                  <a:lnTo>
                    <a:pt x="213" y="44"/>
                  </a:lnTo>
                  <a:lnTo>
                    <a:pt x="209" y="44"/>
                  </a:lnTo>
                  <a:lnTo>
                    <a:pt x="206" y="44"/>
                  </a:lnTo>
                  <a:lnTo>
                    <a:pt x="204" y="45"/>
                  </a:lnTo>
                  <a:lnTo>
                    <a:pt x="204" y="46"/>
                  </a:lnTo>
                  <a:lnTo>
                    <a:pt x="204" y="49"/>
                  </a:lnTo>
                  <a:lnTo>
                    <a:pt x="205" y="53"/>
                  </a:lnTo>
                  <a:lnTo>
                    <a:pt x="206" y="55"/>
                  </a:lnTo>
                  <a:lnTo>
                    <a:pt x="208" y="57"/>
                  </a:lnTo>
                  <a:lnTo>
                    <a:pt x="212" y="59"/>
                  </a:lnTo>
                  <a:lnTo>
                    <a:pt x="214" y="61"/>
                  </a:lnTo>
                  <a:lnTo>
                    <a:pt x="217" y="64"/>
                  </a:lnTo>
                  <a:lnTo>
                    <a:pt x="217" y="68"/>
                  </a:lnTo>
                  <a:lnTo>
                    <a:pt x="216" y="70"/>
                  </a:lnTo>
                  <a:lnTo>
                    <a:pt x="212" y="77"/>
                  </a:lnTo>
                  <a:lnTo>
                    <a:pt x="209" y="78"/>
                  </a:lnTo>
                  <a:lnTo>
                    <a:pt x="207" y="80"/>
                  </a:lnTo>
                  <a:lnTo>
                    <a:pt x="204" y="84"/>
                  </a:lnTo>
                  <a:lnTo>
                    <a:pt x="201" y="86"/>
                  </a:lnTo>
                  <a:lnTo>
                    <a:pt x="198" y="88"/>
                  </a:lnTo>
                  <a:lnTo>
                    <a:pt x="194" y="91"/>
                  </a:lnTo>
                  <a:lnTo>
                    <a:pt x="192" y="92"/>
                  </a:lnTo>
                  <a:lnTo>
                    <a:pt x="190" y="94"/>
                  </a:lnTo>
                  <a:lnTo>
                    <a:pt x="189" y="95"/>
                  </a:lnTo>
                  <a:lnTo>
                    <a:pt x="188" y="97"/>
                  </a:lnTo>
                  <a:lnTo>
                    <a:pt x="185" y="101"/>
                  </a:lnTo>
                  <a:lnTo>
                    <a:pt x="180" y="111"/>
                  </a:lnTo>
                  <a:lnTo>
                    <a:pt x="178" y="113"/>
                  </a:lnTo>
                  <a:lnTo>
                    <a:pt x="177" y="117"/>
                  </a:lnTo>
                  <a:lnTo>
                    <a:pt x="176" y="119"/>
                  </a:lnTo>
                  <a:lnTo>
                    <a:pt x="174" y="121"/>
                  </a:lnTo>
                  <a:lnTo>
                    <a:pt x="172" y="123"/>
                  </a:lnTo>
                  <a:lnTo>
                    <a:pt x="168" y="125"/>
                  </a:lnTo>
                  <a:lnTo>
                    <a:pt x="166" y="127"/>
                  </a:lnTo>
                  <a:lnTo>
                    <a:pt x="165" y="129"/>
                  </a:lnTo>
                  <a:lnTo>
                    <a:pt x="162" y="131"/>
                  </a:lnTo>
                  <a:lnTo>
                    <a:pt x="161" y="132"/>
                  </a:lnTo>
                  <a:lnTo>
                    <a:pt x="161" y="134"/>
                  </a:lnTo>
                  <a:lnTo>
                    <a:pt x="159" y="135"/>
                  </a:lnTo>
                  <a:lnTo>
                    <a:pt x="157" y="135"/>
                  </a:lnTo>
                  <a:lnTo>
                    <a:pt x="156" y="135"/>
                  </a:lnTo>
                  <a:lnTo>
                    <a:pt x="154" y="134"/>
                  </a:lnTo>
                  <a:lnTo>
                    <a:pt x="154" y="133"/>
                  </a:lnTo>
                  <a:lnTo>
                    <a:pt x="153" y="131"/>
                  </a:lnTo>
                  <a:lnTo>
                    <a:pt x="152" y="129"/>
                  </a:lnTo>
                  <a:lnTo>
                    <a:pt x="151" y="127"/>
                  </a:lnTo>
                  <a:lnTo>
                    <a:pt x="151" y="126"/>
                  </a:lnTo>
                  <a:lnTo>
                    <a:pt x="150" y="125"/>
                  </a:lnTo>
                  <a:lnTo>
                    <a:pt x="149" y="125"/>
                  </a:lnTo>
                  <a:lnTo>
                    <a:pt x="146" y="125"/>
                  </a:lnTo>
                  <a:lnTo>
                    <a:pt x="144" y="126"/>
                  </a:lnTo>
                  <a:lnTo>
                    <a:pt x="141" y="127"/>
                  </a:lnTo>
                  <a:lnTo>
                    <a:pt x="138" y="127"/>
                  </a:lnTo>
                  <a:lnTo>
                    <a:pt x="136" y="125"/>
                  </a:lnTo>
                  <a:lnTo>
                    <a:pt x="133" y="123"/>
                  </a:lnTo>
                  <a:lnTo>
                    <a:pt x="132" y="121"/>
                  </a:lnTo>
                  <a:lnTo>
                    <a:pt x="130" y="119"/>
                  </a:lnTo>
                  <a:lnTo>
                    <a:pt x="129" y="118"/>
                  </a:lnTo>
                  <a:lnTo>
                    <a:pt x="128" y="117"/>
                  </a:lnTo>
                  <a:lnTo>
                    <a:pt x="127" y="115"/>
                  </a:lnTo>
                  <a:lnTo>
                    <a:pt x="125" y="113"/>
                  </a:lnTo>
                  <a:close/>
                </a:path>
              </a:pathLst>
            </a:custGeom>
            <a:solidFill>
              <a:srgbClr val="C00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38" name="AR"/>
            <p:cNvSpPr>
              <a:spLocks/>
            </p:cNvSpPr>
            <p:nvPr/>
          </p:nvSpPr>
          <p:spPr bwMode="auto">
            <a:xfrm>
              <a:off x="7914683" y="2739076"/>
              <a:ext cx="650798" cy="298308"/>
            </a:xfrm>
            <a:custGeom>
              <a:avLst/>
              <a:gdLst>
                <a:gd name="T0" fmla="*/ 223 w 1617"/>
                <a:gd name="T1" fmla="*/ 692 h 770"/>
                <a:gd name="T2" fmla="*/ 297 w 1617"/>
                <a:gd name="T3" fmla="*/ 669 h 770"/>
                <a:gd name="T4" fmla="*/ 370 w 1617"/>
                <a:gd name="T5" fmla="*/ 681 h 770"/>
                <a:gd name="T6" fmla="*/ 480 w 1617"/>
                <a:gd name="T7" fmla="*/ 686 h 770"/>
                <a:gd name="T8" fmla="*/ 579 w 1617"/>
                <a:gd name="T9" fmla="*/ 683 h 770"/>
                <a:gd name="T10" fmla="*/ 627 w 1617"/>
                <a:gd name="T11" fmla="*/ 633 h 770"/>
                <a:gd name="T12" fmla="*/ 696 w 1617"/>
                <a:gd name="T13" fmla="*/ 568 h 770"/>
                <a:gd name="T14" fmla="*/ 747 w 1617"/>
                <a:gd name="T15" fmla="*/ 523 h 770"/>
                <a:gd name="T16" fmla="*/ 755 w 1617"/>
                <a:gd name="T17" fmla="*/ 512 h 770"/>
                <a:gd name="T18" fmla="*/ 829 w 1617"/>
                <a:gd name="T19" fmla="*/ 510 h 770"/>
                <a:gd name="T20" fmla="*/ 948 w 1617"/>
                <a:gd name="T21" fmla="*/ 461 h 770"/>
                <a:gd name="T22" fmla="*/ 1063 w 1617"/>
                <a:gd name="T23" fmla="*/ 440 h 770"/>
                <a:gd name="T24" fmla="*/ 1179 w 1617"/>
                <a:gd name="T25" fmla="*/ 406 h 770"/>
                <a:gd name="T26" fmla="*/ 1175 w 1617"/>
                <a:gd name="T27" fmla="*/ 457 h 770"/>
                <a:gd name="T28" fmla="*/ 1192 w 1617"/>
                <a:gd name="T29" fmla="*/ 524 h 770"/>
                <a:gd name="T30" fmla="*/ 1209 w 1617"/>
                <a:gd name="T31" fmla="*/ 552 h 770"/>
                <a:gd name="T32" fmla="*/ 1204 w 1617"/>
                <a:gd name="T33" fmla="*/ 601 h 770"/>
                <a:gd name="T34" fmla="*/ 1124 w 1617"/>
                <a:gd name="T35" fmla="*/ 608 h 770"/>
                <a:gd name="T36" fmla="*/ 1076 w 1617"/>
                <a:gd name="T37" fmla="*/ 627 h 770"/>
                <a:gd name="T38" fmla="*/ 1012 w 1617"/>
                <a:gd name="T39" fmla="*/ 662 h 770"/>
                <a:gd name="T40" fmla="*/ 995 w 1617"/>
                <a:gd name="T41" fmla="*/ 693 h 770"/>
                <a:gd name="T42" fmla="*/ 1003 w 1617"/>
                <a:gd name="T43" fmla="*/ 740 h 770"/>
                <a:gd name="T44" fmla="*/ 1095 w 1617"/>
                <a:gd name="T45" fmla="*/ 717 h 770"/>
                <a:gd name="T46" fmla="*/ 1223 w 1617"/>
                <a:gd name="T47" fmla="*/ 638 h 770"/>
                <a:gd name="T48" fmla="*/ 1323 w 1617"/>
                <a:gd name="T49" fmla="*/ 593 h 770"/>
                <a:gd name="T50" fmla="*/ 1425 w 1617"/>
                <a:gd name="T51" fmla="*/ 573 h 770"/>
                <a:gd name="T52" fmla="*/ 1485 w 1617"/>
                <a:gd name="T53" fmla="*/ 628 h 770"/>
                <a:gd name="T54" fmla="*/ 1517 w 1617"/>
                <a:gd name="T55" fmla="*/ 590 h 770"/>
                <a:gd name="T56" fmla="*/ 1495 w 1617"/>
                <a:gd name="T57" fmla="*/ 491 h 770"/>
                <a:gd name="T58" fmla="*/ 1581 w 1617"/>
                <a:gd name="T59" fmla="*/ 426 h 770"/>
                <a:gd name="T60" fmla="*/ 1605 w 1617"/>
                <a:gd name="T61" fmla="*/ 390 h 770"/>
                <a:gd name="T62" fmla="*/ 1578 w 1617"/>
                <a:gd name="T63" fmla="*/ 328 h 770"/>
                <a:gd name="T64" fmla="*/ 1477 w 1617"/>
                <a:gd name="T65" fmla="*/ 302 h 770"/>
                <a:gd name="T66" fmla="*/ 1349 w 1617"/>
                <a:gd name="T67" fmla="*/ 290 h 770"/>
                <a:gd name="T68" fmla="*/ 1316 w 1617"/>
                <a:gd name="T69" fmla="*/ 280 h 770"/>
                <a:gd name="T70" fmla="*/ 1378 w 1617"/>
                <a:gd name="T71" fmla="*/ 212 h 770"/>
                <a:gd name="T72" fmla="*/ 1372 w 1617"/>
                <a:gd name="T73" fmla="*/ 121 h 770"/>
                <a:gd name="T74" fmla="*/ 1275 w 1617"/>
                <a:gd name="T75" fmla="*/ 146 h 770"/>
                <a:gd name="T76" fmla="*/ 1332 w 1617"/>
                <a:gd name="T77" fmla="*/ 82 h 770"/>
                <a:gd name="T78" fmla="*/ 1287 w 1617"/>
                <a:gd name="T79" fmla="*/ 40 h 770"/>
                <a:gd name="T80" fmla="*/ 1201 w 1617"/>
                <a:gd name="T81" fmla="*/ 19 h 770"/>
                <a:gd name="T82" fmla="*/ 1106 w 1617"/>
                <a:gd name="T83" fmla="*/ 65 h 770"/>
                <a:gd name="T84" fmla="*/ 1043 w 1617"/>
                <a:gd name="T85" fmla="*/ 112 h 770"/>
                <a:gd name="T86" fmla="*/ 964 w 1617"/>
                <a:gd name="T87" fmla="*/ 81 h 770"/>
                <a:gd name="T88" fmla="*/ 896 w 1617"/>
                <a:gd name="T89" fmla="*/ 70 h 770"/>
                <a:gd name="T90" fmla="*/ 805 w 1617"/>
                <a:gd name="T91" fmla="*/ 62 h 770"/>
                <a:gd name="T92" fmla="*/ 723 w 1617"/>
                <a:gd name="T93" fmla="*/ 121 h 770"/>
                <a:gd name="T94" fmla="*/ 664 w 1617"/>
                <a:gd name="T95" fmla="*/ 197 h 770"/>
                <a:gd name="T96" fmla="*/ 602 w 1617"/>
                <a:gd name="T97" fmla="*/ 210 h 770"/>
                <a:gd name="T98" fmla="*/ 521 w 1617"/>
                <a:gd name="T99" fmla="*/ 213 h 770"/>
                <a:gd name="T100" fmla="*/ 453 w 1617"/>
                <a:gd name="T101" fmla="*/ 274 h 770"/>
                <a:gd name="T102" fmla="*/ 389 w 1617"/>
                <a:gd name="T103" fmla="*/ 324 h 770"/>
                <a:gd name="T104" fmla="*/ 305 w 1617"/>
                <a:gd name="T105" fmla="*/ 373 h 770"/>
                <a:gd name="T106" fmla="*/ 253 w 1617"/>
                <a:gd name="T107" fmla="*/ 437 h 770"/>
                <a:gd name="T108" fmla="*/ 177 w 1617"/>
                <a:gd name="T109" fmla="*/ 432 h 770"/>
                <a:gd name="T110" fmla="*/ 74 w 1617"/>
                <a:gd name="T111" fmla="*/ 452 h 770"/>
                <a:gd name="T112" fmla="*/ 16 w 1617"/>
                <a:gd name="T113" fmla="*/ 449 h 770"/>
                <a:gd name="T114" fmla="*/ 4 w 1617"/>
                <a:gd name="T115" fmla="*/ 522 h 770"/>
                <a:gd name="T116" fmla="*/ 73 w 1617"/>
                <a:gd name="T117" fmla="*/ 545 h 770"/>
                <a:gd name="T118" fmla="*/ 140 w 1617"/>
                <a:gd name="T119" fmla="*/ 586 h 770"/>
                <a:gd name="T120" fmla="*/ 131 w 1617"/>
                <a:gd name="T121" fmla="*/ 620 h 770"/>
                <a:gd name="T122" fmla="*/ 152 w 1617"/>
                <a:gd name="T123" fmla="*/ 694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7" h="770">
                  <a:moveTo>
                    <a:pt x="148" y="700"/>
                  </a:moveTo>
                  <a:lnTo>
                    <a:pt x="152" y="704"/>
                  </a:lnTo>
                  <a:lnTo>
                    <a:pt x="153" y="705"/>
                  </a:lnTo>
                  <a:lnTo>
                    <a:pt x="155" y="706"/>
                  </a:lnTo>
                  <a:lnTo>
                    <a:pt x="157" y="706"/>
                  </a:lnTo>
                  <a:lnTo>
                    <a:pt x="163" y="707"/>
                  </a:lnTo>
                  <a:lnTo>
                    <a:pt x="164" y="706"/>
                  </a:lnTo>
                  <a:lnTo>
                    <a:pt x="168" y="707"/>
                  </a:lnTo>
                  <a:lnTo>
                    <a:pt x="170" y="707"/>
                  </a:lnTo>
                  <a:lnTo>
                    <a:pt x="172" y="707"/>
                  </a:lnTo>
                  <a:lnTo>
                    <a:pt x="176" y="707"/>
                  </a:lnTo>
                  <a:lnTo>
                    <a:pt x="179" y="706"/>
                  </a:lnTo>
                  <a:lnTo>
                    <a:pt x="180" y="705"/>
                  </a:lnTo>
                  <a:lnTo>
                    <a:pt x="184" y="702"/>
                  </a:lnTo>
                  <a:lnTo>
                    <a:pt x="185" y="701"/>
                  </a:lnTo>
                  <a:lnTo>
                    <a:pt x="187" y="701"/>
                  </a:lnTo>
                  <a:lnTo>
                    <a:pt x="192" y="700"/>
                  </a:lnTo>
                  <a:lnTo>
                    <a:pt x="194" y="700"/>
                  </a:lnTo>
                  <a:lnTo>
                    <a:pt x="200" y="701"/>
                  </a:lnTo>
                  <a:lnTo>
                    <a:pt x="202" y="701"/>
                  </a:lnTo>
                  <a:lnTo>
                    <a:pt x="207" y="701"/>
                  </a:lnTo>
                  <a:lnTo>
                    <a:pt x="212" y="698"/>
                  </a:lnTo>
                  <a:lnTo>
                    <a:pt x="213" y="697"/>
                  </a:lnTo>
                  <a:lnTo>
                    <a:pt x="217" y="694"/>
                  </a:lnTo>
                  <a:lnTo>
                    <a:pt x="219" y="693"/>
                  </a:lnTo>
                  <a:lnTo>
                    <a:pt x="223" y="692"/>
                  </a:lnTo>
                  <a:lnTo>
                    <a:pt x="226" y="691"/>
                  </a:lnTo>
                  <a:lnTo>
                    <a:pt x="229" y="691"/>
                  </a:lnTo>
                  <a:lnTo>
                    <a:pt x="233" y="691"/>
                  </a:lnTo>
                  <a:lnTo>
                    <a:pt x="236" y="690"/>
                  </a:lnTo>
                  <a:lnTo>
                    <a:pt x="240" y="689"/>
                  </a:lnTo>
                  <a:lnTo>
                    <a:pt x="243" y="689"/>
                  </a:lnTo>
                  <a:lnTo>
                    <a:pt x="245" y="689"/>
                  </a:lnTo>
                  <a:lnTo>
                    <a:pt x="249" y="690"/>
                  </a:lnTo>
                  <a:lnTo>
                    <a:pt x="252" y="690"/>
                  </a:lnTo>
                  <a:lnTo>
                    <a:pt x="263" y="689"/>
                  </a:lnTo>
                  <a:lnTo>
                    <a:pt x="266" y="688"/>
                  </a:lnTo>
                  <a:lnTo>
                    <a:pt x="269" y="686"/>
                  </a:lnTo>
                  <a:lnTo>
                    <a:pt x="272" y="685"/>
                  </a:lnTo>
                  <a:lnTo>
                    <a:pt x="276" y="685"/>
                  </a:lnTo>
                  <a:lnTo>
                    <a:pt x="279" y="684"/>
                  </a:lnTo>
                  <a:lnTo>
                    <a:pt x="281" y="683"/>
                  </a:lnTo>
                  <a:lnTo>
                    <a:pt x="284" y="682"/>
                  </a:lnTo>
                  <a:lnTo>
                    <a:pt x="288" y="681"/>
                  </a:lnTo>
                  <a:lnTo>
                    <a:pt x="291" y="681"/>
                  </a:lnTo>
                  <a:lnTo>
                    <a:pt x="293" y="680"/>
                  </a:lnTo>
                  <a:lnTo>
                    <a:pt x="296" y="678"/>
                  </a:lnTo>
                  <a:lnTo>
                    <a:pt x="297" y="677"/>
                  </a:lnTo>
                  <a:lnTo>
                    <a:pt x="297" y="675"/>
                  </a:lnTo>
                  <a:lnTo>
                    <a:pt x="298" y="674"/>
                  </a:lnTo>
                  <a:lnTo>
                    <a:pt x="297" y="670"/>
                  </a:lnTo>
                  <a:lnTo>
                    <a:pt x="297" y="669"/>
                  </a:lnTo>
                  <a:lnTo>
                    <a:pt x="296" y="666"/>
                  </a:lnTo>
                  <a:lnTo>
                    <a:pt x="296" y="665"/>
                  </a:lnTo>
                  <a:lnTo>
                    <a:pt x="299" y="664"/>
                  </a:lnTo>
                  <a:lnTo>
                    <a:pt x="300" y="664"/>
                  </a:lnTo>
                  <a:lnTo>
                    <a:pt x="303" y="664"/>
                  </a:lnTo>
                  <a:lnTo>
                    <a:pt x="305" y="665"/>
                  </a:lnTo>
                  <a:lnTo>
                    <a:pt x="308" y="665"/>
                  </a:lnTo>
                  <a:lnTo>
                    <a:pt x="311" y="665"/>
                  </a:lnTo>
                  <a:lnTo>
                    <a:pt x="315" y="666"/>
                  </a:lnTo>
                  <a:lnTo>
                    <a:pt x="320" y="666"/>
                  </a:lnTo>
                  <a:lnTo>
                    <a:pt x="322" y="666"/>
                  </a:lnTo>
                  <a:lnTo>
                    <a:pt x="325" y="666"/>
                  </a:lnTo>
                  <a:lnTo>
                    <a:pt x="329" y="666"/>
                  </a:lnTo>
                  <a:lnTo>
                    <a:pt x="332" y="666"/>
                  </a:lnTo>
                  <a:lnTo>
                    <a:pt x="336" y="667"/>
                  </a:lnTo>
                  <a:lnTo>
                    <a:pt x="339" y="668"/>
                  </a:lnTo>
                  <a:lnTo>
                    <a:pt x="343" y="668"/>
                  </a:lnTo>
                  <a:lnTo>
                    <a:pt x="346" y="669"/>
                  </a:lnTo>
                  <a:lnTo>
                    <a:pt x="349" y="669"/>
                  </a:lnTo>
                  <a:lnTo>
                    <a:pt x="355" y="670"/>
                  </a:lnTo>
                  <a:lnTo>
                    <a:pt x="359" y="670"/>
                  </a:lnTo>
                  <a:lnTo>
                    <a:pt x="361" y="672"/>
                  </a:lnTo>
                  <a:lnTo>
                    <a:pt x="363" y="673"/>
                  </a:lnTo>
                  <a:lnTo>
                    <a:pt x="368" y="677"/>
                  </a:lnTo>
                  <a:lnTo>
                    <a:pt x="368" y="678"/>
                  </a:lnTo>
                  <a:lnTo>
                    <a:pt x="370" y="681"/>
                  </a:lnTo>
                  <a:lnTo>
                    <a:pt x="375" y="684"/>
                  </a:lnTo>
                  <a:lnTo>
                    <a:pt x="376" y="685"/>
                  </a:lnTo>
                  <a:lnTo>
                    <a:pt x="378" y="688"/>
                  </a:lnTo>
                  <a:lnTo>
                    <a:pt x="381" y="690"/>
                  </a:lnTo>
                  <a:lnTo>
                    <a:pt x="384" y="691"/>
                  </a:lnTo>
                  <a:lnTo>
                    <a:pt x="389" y="694"/>
                  </a:lnTo>
                  <a:lnTo>
                    <a:pt x="393" y="696"/>
                  </a:lnTo>
                  <a:lnTo>
                    <a:pt x="401" y="697"/>
                  </a:lnTo>
                  <a:lnTo>
                    <a:pt x="405" y="697"/>
                  </a:lnTo>
                  <a:lnTo>
                    <a:pt x="409" y="697"/>
                  </a:lnTo>
                  <a:lnTo>
                    <a:pt x="416" y="696"/>
                  </a:lnTo>
                  <a:lnTo>
                    <a:pt x="420" y="696"/>
                  </a:lnTo>
                  <a:lnTo>
                    <a:pt x="424" y="694"/>
                  </a:lnTo>
                  <a:lnTo>
                    <a:pt x="427" y="694"/>
                  </a:lnTo>
                  <a:lnTo>
                    <a:pt x="432" y="693"/>
                  </a:lnTo>
                  <a:lnTo>
                    <a:pt x="435" y="692"/>
                  </a:lnTo>
                  <a:lnTo>
                    <a:pt x="441" y="691"/>
                  </a:lnTo>
                  <a:lnTo>
                    <a:pt x="448" y="688"/>
                  </a:lnTo>
                  <a:lnTo>
                    <a:pt x="453" y="688"/>
                  </a:lnTo>
                  <a:lnTo>
                    <a:pt x="460" y="686"/>
                  </a:lnTo>
                  <a:lnTo>
                    <a:pt x="461" y="686"/>
                  </a:lnTo>
                  <a:lnTo>
                    <a:pt x="464" y="685"/>
                  </a:lnTo>
                  <a:lnTo>
                    <a:pt x="468" y="685"/>
                  </a:lnTo>
                  <a:lnTo>
                    <a:pt x="471" y="685"/>
                  </a:lnTo>
                  <a:lnTo>
                    <a:pt x="475" y="686"/>
                  </a:lnTo>
                  <a:lnTo>
                    <a:pt x="480" y="686"/>
                  </a:lnTo>
                  <a:lnTo>
                    <a:pt x="483" y="686"/>
                  </a:lnTo>
                  <a:lnTo>
                    <a:pt x="487" y="686"/>
                  </a:lnTo>
                  <a:lnTo>
                    <a:pt x="490" y="686"/>
                  </a:lnTo>
                  <a:lnTo>
                    <a:pt x="493" y="688"/>
                  </a:lnTo>
                  <a:lnTo>
                    <a:pt x="497" y="688"/>
                  </a:lnTo>
                  <a:lnTo>
                    <a:pt x="500" y="688"/>
                  </a:lnTo>
                  <a:lnTo>
                    <a:pt x="504" y="688"/>
                  </a:lnTo>
                  <a:lnTo>
                    <a:pt x="507" y="689"/>
                  </a:lnTo>
                  <a:lnTo>
                    <a:pt x="509" y="689"/>
                  </a:lnTo>
                  <a:lnTo>
                    <a:pt x="513" y="689"/>
                  </a:lnTo>
                  <a:lnTo>
                    <a:pt x="516" y="689"/>
                  </a:lnTo>
                  <a:lnTo>
                    <a:pt x="523" y="689"/>
                  </a:lnTo>
                  <a:lnTo>
                    <a:pt x="528" y="689"/>
                  </a:lnTo>
                  <a:lnTo>
                    <a:pt x="532" y="689"/>
                  </a:lnTo>
                  <a:lnTo>
                    <a:pt x="537" y="689"/>
                  </a:lnTo>
                  <a:lnTo>
                    <a:pt x="543" y="690"/>
                  </a:lnTo>
                  <a:lnTo>
                    <a:pt x="545" y="689"/>
                  </a:lnTo>
                  <a:lnTo>
                    <a:pt x="549" y="689"/>
                  </a:lnTo>
                  <a:lnTo>
                    <a:pt x="552" y="689"/>
                  </a:lnTo>
                  <a:lnTo>
                    <a:pt x="559" y="689"/>
                  </a:lnTo>
                  <a:lnTo>
                    <a:pt x="561" y="689"/>
                  </a:lnTo>
                  <a:lnTo>
                    <a:pt x="565" y="688"/>
                  </a:lnTo>
                  <a:lnTo>
                    <a:pt x="568" y="686"/>
                  </a:lnTo>
                  <a:lnTo>
                    <a:pt x="572" y="685"/>
                  </a:lnTo>
                  <a:lnTo>
                    <a:pt x="575" y="685"/>
                  </a:lnTo>
                  <a:lnTo>
                    <a:pt x="579" y="683"/>
                  </a:lnTo>
                  <a:lnTo>
                    <a:pt x="580" y="682"/>
                  </a:lnTo>
                  <a:lnTo>
                    <a:pt x="583" y="681"/>
                  </a:lnTo>
                  <a:lnTo>
                    <a:pt x="591" y="674"/>
                  </a:lnTo>
                  <a:lnTo>
                    <a:pt x="597" y="668"/>
                  </a:lnTo>
                  <a:lnTo>
                    <a:pt x="602" y="662"/>
                  </a:lnTo>
                  <a:lnTo>
                    <a:pt x="603" y="662"/>
                  </a:lnTo>
                  <a:lnTo>
                    <a:pt x="605" y="660"/>
                  </a:lnTo>
                  <a:lnTo>
                    <a:pt x="607" y="658"/>
                  </a:lnTo>
                  <a:lnTo>
                    <a:pt x="608" y="658"/>
                  </a:lnTo>
                  <a:lnTo>
                    <a:pt x="610" y="657"/>
                  </a:lnTo>
                  <a:lnTo>
                    <a:pt x="613" y="654"/>
                  </a:lnTo>
                  <a:lnTo>
                    <a:pt x="617" y="654"/>
                  </a:lnTo>
                  <a:lnTo>
                    <a:pt x="619" y="656"/>
                  </a:lnTo>
                  <a:lnTo>
                    <a:pt x="620" y="656"/>
                  </a:lnTo>
                  <a:lnTo>
                    <a:pt x="624" y="656"/>
                  </a:lnTo>
                  <a:lnTo>
                    <a:pt x="625" y="657"/>
                  </a:lnTo>
                  <a:lnTo>
                    <a:pt x="627" y="656"/>
                  </a:lnTo>
                  <a:lnTo>
                    <a:pt x="628" y="653"/>
                  </a:lnTo>
                  <a:lnTo>
                    <a:pt x="628" y="651"/>
                  </a:lnTo>
                  <a:lnTo>
                    <a:pt x="629" y="649"/>
                  </a:lnTo>
                  <a:lnTo>
                    <a:pt x="631" y="646"/>
                  </a:lnTo>
                  <a:lnTo>
                    <a:pt x="631" y="642"/>
                  </a:lnTo>
                  <a:lnTo>
                    <a:pt x="629" y="641"/>
                  </a:lnTo>
                  <a:lnTo>
                    <a:pt x="628" y="637"/>
                  </a:lnTo>
                  <a:lnTo>
                    <a:pt x="628" y="635"/>
                  </a:lnTo>
                  <a:lnTo>
                    <a:pt x="627" y="633"/>
                  </a:lnTo>
                  <a:lnTo>
                    <a:pt x="627" y="630"/>
                  </a:lnTo>
                  <a:lnTo>
                    <a:pt x="627" y="628"/>
                  </a:lnTo>
                  <a:lnTo>
                    <a:pt x="628" y="626"/>
                  </a:lnTo>
                  <a:lnTo>
                    <a:pt x="629" y="622"/>
                  </a:lnTo>
                  <a:lnTo>
                    <a:pt x="631" y="620"/>
                  </a:lnTo>
                  <a:lnTo>
                    <a:pt x="633" y="618"/>
                  </a:lnTo>
                  <a:lnTo>
                    <a:pt x="636" y="614"/>
                  </a:lnTo>
                  <a:lnTo>
                    <a:pt x="640" y="611"/>
                  </a:lnTo>
                  <a:lnTo>
                    <a:pt x="652" y="600"/>
                  </a:lnTo>
                  <a:lnTo>
                    <a:pt x="656" y="594"/>
                  </a:lnTo>
                  <a:lnTo>
                    <a:pt x="657" y="594"/>
                  </a:lnTo>
                  <a:lnTo>
                    <a:pt x="660" y="590"/>
                  </a:lnTo>
                  <a:lnTo>
                    <a:pt x="661" y="589"/>
                  </a:lnTo>
                  <a:lnTo>
                    <a:pt x="663" y="587"/>
                  </a:lnTo>
                  <a:lnTo>
                    <a:pt x="665" y="585"/>
                  </a:lnTo>
                  <a:lnTo>
                    <a:pt x="667" y="584"/>
                  </a:lnTo>
                  <a:lnTo>
                    <a:pt x="669" y="582"/>
                  </a:lnTo>
                  <a:lnTo>
                    <a:pt x="672" y="580"/>
                  </a:lnTo>
                  <a:lnTo>
                    <a:pt x="674" y="580"/>
                  </a:lnTo>
                  <a:lnTo>
                    <a:pt x="676" y="579"/>
                  </a:lnTo>
                  <a:lnTo>
                    <a:pt x="679" y="578"/>
                  </a:lnTo>
                  <a:lnTo>
                    <a:pt x="682" y="576"/>
                  </a:lnTo>
                  <a:lnTo>
                    <a:pt x="685" y="573"/>
                  </a:lnTo>
                  <a:lnTo>
                    <a:pt x="688" y="572"/>
                  </a:lnTo>
                  <a:lnTo>
                    <a:pt x="691" y="570"/>
                  </a:lnTo>
                  <a:lnTo>
                    <a:pt x="696" y="568"/>
                  </a:lnTo>
                  <a:lnTo>
                    <a:pt x="697" y="565"/>
                  </a:lnTo>
                  <a:lnTo>
                    <a:pt x="699" y="564"/>
                  </a:lnTo>
                  <a:lnTo>
                    <a:pt x="703" y="562"/>
                  </a:lnTo>
                  <a:lnTo>
                    <a:pt x="704" y="561"/>
                  </a:lnTo>
                  <a:lnTo>
                    <a:pt x="707" y="557"/>
                  </a:lnTo>
                  <a:lnTo>
                    <a:pt x="708" y="556"/>
                  </a:lnTo>
                  <a:lnTo>
                    <a:pt x="709" y="554"/>
                  </a:lnTo>
                  <a:lnTo>
                    <a:pt x="714" y="548"/>
                  </a:lnTo>
                  <a:lnTo>
                    <a:pt x="714" y="546"/>
                  </a:lnTo>
                  <a:lnTo>
                    <a:pt x="715" y="545"/>
                  </a:lnTo>
                  <a:lnTo>
                    <a:pt x="716" y="542"/>
                  </a:lnTo>
                  <a:lnTo>
                    <a:pt x="717" y="540"/>
                  </a:lnTo>
                  <a:lnTo>
                    <a:pt x="720" y="538"/>
                  </a:lnTo>
                  <a:lnTo>
                    <a:pt x="724" y="536"/>
                  </a:lnTo>
                  <a:lnTo>
                    <a:pt x="727" y="534"/>
                  </a:lnTo>
                  <a:lnTo>
                    <a:pt x="730" y="533"/>
                  </a:lnTo>
                  <a:lnTo>
                    <a:pt x="732" y="533"/>
                  </a:lnTo>
                  <a:lnTo>
                    <a:pt x="736" y="533"/>
                  </a:lnTo>
                  <a:lnTo>
                    <a:pt x="739" y="532"/>
                  </a:lnTo>
                  <a:lnTo>
                    <a:pt x="741" y="532"/>
                  </a:lnTo>
                  <a:lnTo>
                    <a:pt x="743" y="531"/>
                  </a:lnTo>
                  <a:lnTo>
                    <a:pt x="745" y="530"/>
                  </a:lnTo>
                  <a:lnTo>
                    <a:pt x="746" y="529"/>
                  </a:lnTo>
                  <a:lnTo>
                    <a:pt x="747" y="528"/>
                  </a:lnTo>
                  <a:lnTo>
                    <a:pt x="747" y="525"/>
                  </a:lnTo>
                  <a:lnTo>
                    <a:pt x="747" y="523"/>
                  </a:lnTo>
                  <a:lnTo>
                    <a:pt x="744" y="521"/>
                  </a:lnTo>
                  <a:lnTo>
                    <a:pt x="741" y="518"/>
                  </a:lnTo>
                  <a:lnTo>
                    <a:pt x="739" y="517"/>
                  </a:lnTo>
                  <a:lnTo>
                    <a:pt x="737" y="515"/>
                  </a:lnTo>
                  <a:lnTo>
                    <a:pt x="736" y="514"/>
                  </a:lnTo>
                  <a:lnTo>
                    <a:pt x="735" y="510"/>
                  </a:lnTo>
                  <a:lnTo>
                    <a:pt x="735" y="507"/>
                  </a:lnTo>
                  <a:lnTo>
                    <a:pt x="733" y="505"/>
                  </a:lnTo>
                  <a:lnTo>
                    <a:pt x="733" y="502"/>
                  </a:lnTo>
                  <a:lnTo>
                    <a:pt x="733" y="500"/>
                  </a:lnTo>
                  <a:lnTo>
                    <a:pt x="735" y="498"/>
                  </a:lnTo>
                  <a:lnTo>
                    <a:pt x="736" y="496"/>
                  </a:lnTo>
                  <a:lnTo>
                    <a:pt x="738" y="493"/>
                  </a:lnTo>
                  <a:lnTo>
                    <a:pt x="740" y="493"/>
                  </a:lnTo>
                  <a:lnTo>
                    <a:pt x="743" y="493"/>
                  </a:lnTo>
                  <a:lnTo>
                    <a:pt x="745" y="494"/>
                  </a:lnTo>
                  <a:lnTo>
                    <a:pt x="747" y="497"/>
                  </a:lnTo>
                  <a:lnTo>
                    <a:pt x="747" y="499"/>
                  </a:lnTo>
                  <a:lnTo>
                    <a:pt x="746" y="500"/>
                  </a:lnTo>
                  <a:lnTo>
                    <a:pt x="745" y="502"/>
                  </a:lnTo>
                  <a:lnTo>
                    <a:pt x="745" y="504"/>
                  </a:lnTo>
                  <a:lnTo>
                    <a:pt x="746" y="506"/>
                  </a:lnTo>
                  <a:lnTo>
                    <a:pt x="746" y="508"/>
                  </a:lnTo>
                  <a:lnTo>
                    <a:pt x="748" y="509"/>
                  </a:lnTo>
                  <a:lnTo>
                    <a:pt x="752" y="510"/>
                  </a:lnTo>
                  <a:lnTo>
                    <a:pt x="755" y="512"/>
                  </a:lnTo>
                  <a:lnTo>
                    <a:pt x="759" y="512"/>
                  </a:lnTo>
                  <a:lnTo>
                    <a:pt x="763" y="510"/>
                  </a:lnTo>
                  <a:lnTo>
                    <a:pt x="767" y="510"/>
                  </a:lnTo>
                  <a:lnTo>
                    <a:pt x="770" y="513"/>
                  </a:lnTo>
                  <a:lnTo>
                    <a:pt x="772" y="514"/>
                  </a:lnTo>
                  <a:lnTo>
                    <a:pt x="777" y="514"/>
                  </a:lnTo>
                  <a:lnTo>
                    <a:pt x="780" y="514"/>
                  </a:lnTo>
                  <a:lnTo>
                    <a:pt x="783" y="513"/>
                  </a:lnTo>
                  <a:lnTo>
                    <a:pt x="785" y="509"/>
                  </a:lnTo>
                  <a:lnTo>
                    <a:pt x="786" y="508"/>
                  </a:lnTo>
                  <a:lnTo>
                    <a:pt x="788" y="508"/>
                  </a:lnTo>
                  <a:lnTo>
                    <a:pt x="789" y="508"/>
                  </a:lnTo>
                  <a:lnTo>
                    <a:pt x="791" y="509"/>
                  </a:lnTo>
                  <a:lnTo>
                    <a:pt x="792" y="512"/>
                  </a:lnTo>
                  <a:lnTo>
                    <a:pt x="792" y="514"/>
                  </a:lnTo>
                  <a:lnTo>
                    <a:pt x="793" y="517"/>
                  </a:lnTo>
                  <a:lnTo>
                    <a:pt x="794" y="520"/>
                  </a:lnTo>
                  <a:lnTo>
                    <a:pt x="797" y="520"/>
                  </a:lnTo>
                  <a:lnTo>
                    <a:pt x="802" y="518"/>
                  </a:lnTo>
                  <a:lnTo>
                    <a:pt x="805" y="517"/>
                  </a:lnTo>
                  <a:lnTo>
                    <a:pt x="811" y="516"/>
                  </a:lnTo>
                  <a:lnTo>
                    <a:pt x="817" y="515"/>
                  </a:lnTo>
                  <a:lnTo>
                    <a:pt x="820" y="514"/>
                  </a:lnTo>
                  <a:lnTo>
                    <a:pt x="823" y="514"/>
                  </a:lnTo>
                  <a:lnTo>
                    <a:pt x="826" y="512"/>
                  </a:lnTo>
                  <a:lnTo>
                    <a:pt x="829" y="510"/>
                  </a:lnTo>
                  <a:lnTo>
                    <a:pt x="835" y="508"/>
                  </a:lnTo>
                  <a:lnTo>
                    <a:pt x="842" y="504"/>
                  </a:lnTo>
                  <a:lnTo>
                    <a:pt x="851" y="498"/>
                  </a:lnTo>
                  <a:lnTo>
                    <a:pt x="858" y="494"/>
                  </a:lnTo>
                  <a:lnTo>
                    <a:pt x="865" y="493"/>
                  </a:lnTo>
                  <a:lnTo>
                    <a:pt x="869" y="493"/>
                  </a:lnTo>
                  <a:lnTo>
                    <a:pt x="873" y="492"/>
                  </a:lnTo>
                  <a:lnTo>
                    <a:pt x="876" y="491"/>
                  </a:lnTo>
                  <a:lnTo>
                    <a:pt x="880" y="491"/>
                  </a:lnTo>
                  <a:lnTo>
                    <a:pt x="882" y="490"/>
                  </a:lnTo>
                  <a:lnTo>
                    <a:pt x="883" y="489"/>
                  </a:lnTo>
                  <a:lnTo>
                    <a:pt x="885" y="488"/>
                  </a:lnTo>
                  <a:lnTo>
                    <a:pt x="889" y="485"/>
                  </a:lnTo>
                  <a:lnTo>
                    <a:pt x="890" y="484"/>
                  </a:lnTo>
                  <a:lnTo>
                    <a:pt x="891" y="482"/>
                  </a:lnTo>
                  <a:lnTo>
                    <a:pt x="893" y="480"/>
                  </a:lnTo>
                  <a:lnTo>
                    <a:pt x="896" y="478"/>
                  </a:lnTo>
                  <a:lnTo>
                    <a:pt x="899" y="477"/>
                  </a:lnTo>
                  <a:lnTo>
                    <a:pt x="903" y="477"/>
                  </a:lnTo>
                  <a:lnTo>
                    <a:pt x="915" y="469"/>
                  </a:lnTo>
                  <a:lnTo>
                    <a:pt x="925" y="465"/>
                  </a:lnTo>
                  <a:lnTo>
                    <a:pt x="933" y="462"/>
                  </a:lnTo>
                  <a:lnTo>
                    <a:pt x="937" y="462"/>
                  </a:lnTo>
                  <a:lnTo>
                    <a:pt x="939" y="462"/>
                  </a:lnTo>
                  <a:lnTo>
                    <a:pt x="945" y="462"/>
                  </a:lnTo>
                  <a:lnTo>
                    <a:pt x="948" y="461"/>
                  </a:lnTo>
                  <a:lnTo>
                    <a:pt x="953" y="461"/>
                  </a:lnTo>
                  <a:lnTo>
                    <a:pt x="959" y="460"/>
                  </a:lnTo>
                  <a:lnTo>
                    <a:pt x="962" y="460"/>
                  </a:lnTo>
                  <a:lnTo>
                    <a:pt x="965" y="460"/>
                  </a:lnTo>
                  <a:lnTo>
                    <a:pt x="970" y="459"/>
                  </a:lnTo>
                  <a:lnTo>
                    <a:pt x="973" y="459"/>
                  </a:lnTo>
                  <a:lnTo>
                    <a:pt x="977" y="458"/>
                  </a:lnTo>
                  <a:lnTo>
                    <a:pt x="980" y="457"/>
                  </a:lnTo>
                  <a:lnTo>
                    <a:pt x="984" y="454"/>
                  </a:lnTo>
                  <a:lnTo>
                    <a:pt x="986" y="453"/>
                  </a:lnTo>
                  <a:lnTo>
                    <a:pt x="988" y="451"/>
                  </a:lnTo>
                  <a:lnTo>
                    <a:pt x="994" y="448"/>
                  </a:lnTo>
                  <a:lnTo>
                    <a:pt x="999" y="445"/>
                  </a:lnTo>
                  <a:lnTo>
                    <a:pt x="1002" y="444"/>
                  </a:lnTo>
                  <a:lnTo>
                    <a:pt x="1005" y="443"/>
                  </a:lnTo>
                  <a:lnTo>
                    <a:pt x="1010" y="442"/>
                  </a:lnTo>
                  <a:lnTo>
                    <a:pt x="1017" y="441"/>
                  </a:lnTo>
                  <a:lnTo>
                    <a:pt x="1023" y="440"/>
                  </a:lnTo>
                  <a:lnTo>
                    <a:pt x="1026" y="440"/>
                  </a:lnTo>
                  <a:lnTo>
                    <a:pt x="1032" y="440"/>
                  </a:lnTo>
                  <a:lnTo>
                    <a:pt x="1035" y="440"/>
                  </a:lnTo>
                  <a:lnTo>
                    <a:pt x="1041" y="440"/>
                  </a:lnTo>
                  <a:lnTo>
                    <a:pt x="1051" y="440"/>
                  </a:lnTo>
                  <a:lnTo>
                    <a:pt x="1057" y="438"/>
                  </a:lnTo>
                  <a:lnTo>
                    <a:pt x="1059" y="438"/>
                  </a:lnTo>
                  <a:lnTo>
                    <a:pt x="1063" y="440"/>
                  </a:lnTo>
                  <a:lnTo>
                    <a:pt x="1067" y="440"/>
                  </a:lnTo>
                  <a:lnTo>
                    <a:pt x="1069" y="440"/>
                  </a:lnTo>
                  <a:lnTo>
                    <a:pt x="1075" y="438"/>
                  </a:lnTo>
                  <a:lnTo>
                    <a:pt x="1076" y="438"/>
                  </a:lnTo>
                  <a:lnTo>
                    <a:pt x="1083" y="434"/>
                  </a:lnTo>
                  <a:lnTo>
                    <a:pt x="1084" y="433"/>
                  </a:lnTo>
                  <a:lnTo>
                    <a:pt x="1089" y="428"/>
                  </a:lnTo>
                  <a:lnTo>
                    <a:pt x="1090" y="426"/>
                  </a:lnTo>
                  <a:lnTo>
                    <a:pt x="1091" y="424"/>
                  </a:lnTo>
                  <a:lnTo>
                    <a:pt x="1092" y="421"/>
                  </a:lnTo>
                  <a:lnTo>
                    <a:pt x="1095" y="419"/>
                  </a:lnTo>
                  <a:lnTo>
                    <a:pt x="1099" y="414"/>
                  </a:lnTo>
                  <a:lnTo>
                    <a:pt x="1101" y="413"/>
                  </a:lnTo>
                  <a:lnTo>
                    <a:pt x="1106" y="411"/>
                  </a:lnTo>
                  <a:lnTo>
                    <a:pt x="1109" y="411"/>
                  </a:lnTo>
                  <a:lnTo>
                    <a:pt x="1117" y="410"/>
                  </a:lnTo>
                  <a:lnTo>
                    <a:pt x="1120" y="410"/>
                  </a:lnTo>
                  <a:lnTo>
                    <a:pt x="1125" y="410"/>
                  </a:lnTo>
                  <a:lnTo>
                    <a:pt x="1133" y="409"/>
                  </a:lnTo>
                  <a:lnTo>
                    <a:pt x="1138" y="409"/>
                  </a:lnTo>
                  <a:lnTo>
                    <a:pt x="1145" y="409"/>
                  </a:lnTo>
                  <a:lnTo>
                    <a:pt x="1153" y="409"/>
                  </a:lnTo>
                  <a:lnTo>
                    <a:pt x="1157" y="409"/>
                  </a:lnTo>
                  <a:lnTo>
                    <a:pt x="1165" y="408"/>
                  </a:lnTo>
                  <a:lnTo>
                    <a:pt x="1176" y="406"/>
                  </a:lnTo>
                  <a:lnTo>
                    <a:pt x="1179" y="406"/>
                  </a:lnTo>
                  <a:lnTo>
                    <a:pt x="1188" y="406"/>
                  </a:lnTo>
                  <a:lnTo>
                    <a:pt x="1195" y="406"/>
                  </a:lnTo>
                  <a:lnTo>
                    <a:pt x="1202" y="408"/>
                  </a:lnTo>
                  <a:lnTo>
                    <a:pt x="1210" y="408"/>
                  </a:lnTo>
                  <a:lnTo>
                    <a:pt x="1216" y="408"/>
                  </a:lnTo>
                  <a:lnTo>
                    <a:pt x="1219" y="409"/>
                  </a:lnTo>
                  <a:lnTo>
                    <a:pt x="1220" y="411"/>
                  </a:lnTo>
                  <a:lnTo>
                    <a:pt x="1219" y="414"/>
                  </a:lnTo>
                  <a:lnTo>
                    <a:pt x="1217" y="418"/>
                  </a:lnTo>
                  <a:lnTo>
                    <a:pt x="1217" y="420"/>
                  </a:lnTo>
                  <a:lnTo>
                    <a:pt x="1216" y="421"/>
                  </a:lnTo>
                  <a:lnTo>
                    <a:pt x="1212" y="427"/>
                  </a:lnTo>
                  <a:lnTo>
                    <a:pt x="1211" y="429"/>
                  </a:lnTo>
                  <a:lnTo>
                    <a:pt x="1209" y="430"/>
                  </a:lnTo>
                  <a:lnTo>
                    <a:pt x="1202" y="436"/>
                  </a:lnTo>
                  <a:lnTo>
                    <a:pt x="1200" y="437"/>
                  </a:lnTo>
                  <a:lnTo>
                    <a:pt x="1197" y="438"/>
                  </a:lnTo>
                  <a:lnTo>
                    <a:pt x="1194" y="441"/>
                  </a:lnTo>
                  <a:lnTo>
                    <a:pt x="1193" y="443"/>
                  </a:lnTo>
                  <a:lnTo>
                    <a:pt x="1191" y="445"/>
                  </a:lnTo>
                  <a:lnTo>
                    <a:pt x="1188" y="448"/>
                  </a:lnTo>
                  <a:lnTo>
                    <a:pt x="1186" y="449"/>
                  </a:lnTo>
                  <a:lnTo>
                    <a:pt x="1180" y="450"/>
                  </a:lnTo>
                  <a:lnTo>
                    <a:pt x="1178" y="452"/>
                  </a:lnTo>
                  <a:lnTo>
                    <a:pt x="1176" y="454"/>
                  </a:lnTo>
                  <a:lnTo>
                    <a:pt x="1175" y="457"/>
                  </a:lnTo>
                  <a:lnTo>
                    <a:pt x="1173" y="460"/>
                  </a:lnTo>
                  <a:lnTo>
                    <a:pt x="1171" y="464"/>
                  </a:lnTo>
                  <a:lnTo>
                    <a:pt x="1169" y="466"/>
                  </a:lnTo>
                  <a:lnTo>
                    <a:pt x="1168" y="468"/>
                  </a:lnTo>
                  <a:lnTo>
                    <a:pt x="1163" y="472"/>
                  </a:lnTo>
                  <a:lnTo>
                    <a:pt x="1160" y="474"/>
                  </a:lnTo>
                  <a:lnTo>
                    <a:pt x="1159" y="475"/>
                  </a:lnTo>
                  <a:lnTo>
                    <a:pt x="1157" y="476"/>
                  </a:lnTo>
                  <a:lnTo>
                    <a:pt x="1157" y="478"/>
                  </a:lnTo>
                  <a:lnTo>
                    <a:pt x="1157" y="481"/>
                  </a:lnTo>
                  <a:lnTo>
                    <a:pt x="1161" y="485"/>
                  </a:lnTo>
                  <a:lnTo>
                    <a:pt x="1162" y="489"/>
                  </a:lnTo>
                  <a:lnTo>
                    <a:pt x="1162" y="491"/>
                  </a:lnTo>
                  <a:lnTo>
                    <a:pt x="1163" y="494"/>
                  </a:lnTo>
                  <a:lnTo>
                    <a:pt x="1164" y="499"/>
                  </a:lnTo>
                  <a:lnTo>
                    <a:pt x="1165" y="504"/>
                  </a:lnTo>
                  <a:lnTo>
                    <a:pt x="1165" y="507"/>
                  </a:lnTo>
                  <a:lnTo>
                    <a:pt x="1168" y="509"/>
                  </a:lnTo>
                  <a:lnTo>
                    <a:pt x="1172" y="515"/>
                  </a:lnTo>
                  <a:lnTo>
                    <a:pt x="1176" y="517"/>
                  </a:lnTo>
                  <a:lnTo>
                    <a:pt x="1177" y="518"/>
                  </a:lnTo>
                  <a:lnTo>
                    <a:pt x="1179" y="522"/>
                  </a:lnTo>
                  <a:lnTo>
                    <a:pt x="1183" y="524"/>
                  </a:lnTo>
                  <a:lnTo>
                    <a:pt x="1185" y="524"/>
                  </a:lnTo>
                  <a:lnTo>
                    <a:pt x="1189" y="524"/>
                  </a:lnTo>
                  <a:lnTo>
                    <a:pt x="1192" y="524"/>
                  </a:lnTo>
                  <a:lnTo>
                    <a:pt x="1193" y="524"/>
                  </a:lnTo>
                  <a:lnTo>
                    <a:pt x="1195" y="526"/>
                  </a:lnTo>
                  <a:lnTo>
                    <a:pt x="1196" y="529"/>
                  </a:lnTo>
                  <a:lnTo>
                    <a:pt x="1196" y="530"/>
                  </a:lnTo>
                  <a:lnTo>
                    <a:pt x="1195" y="532"/>
                  </a:lnTo>
                  <a:lnTo>
                    <a:pt x="1194" y="536"/>
                  </a:lnTo>
                  <a:lnTo>
                    <a:pt x="1194" y="538"/>
                  </a:lnTo>
                  <a:lnTo>
                    <a:pt x="1194" y="539"/>
                  </a:lnTo>
                  <a:lnTo>
                    <a:pt x="1192" y="544"/>
                  </a:lnTo>
                  <a:lnTo>
                    <a:pt x="1191" y="545"/>
                  </a:lnTo>
                  <a:lnTo>
                    <a:pt x="1189" y="548"/>
                  </a:lnTo>
                  <a:lnTo>
                    <a:pt x="1188" y="550"/>
                  </a:lnTo>
                  <a:lnTo>
                    <a:pt x="1186" y="554"/>
                  </a:lnTo>
                  <a:lnTo>
                    <a:pt x="1185" y="556"/>
                  </a:lnTo>
                  <a:lnTo>
                    <a:pt x="1185" y="558"/>
                  </a:lnTo>
                  <a:lnTo>
                    <a:pt x="1185" y="560"/>
                  </a:lnTo>
                  <a:lnTo>
                    <a:pt x="1187" y="560"/>
                  </a:lnTo>
                  <a:lnTo>
                    <a:pt x="1188" y="558"/>
                  </a:lnTo>
                  <a:lnTo>
                    <a:pt x="1191" y="557"/>
                  </a:lnTo>
                  <a:lnTo>
                    <a:pt x="1193" y="555"/>
                  </a:lnTo>
                  <a:lnTo>
                    <a:pt x="1195" y="555"/>
                  </a:lnTo>
                  <a:lnTo>
                    <a:pt x="1199" y="555"/>
                  </a:lnTo>
                  <a:lnTo>
                    <a:pt x="1201" y="555"/>
                  </a:lnTo>
                  <a:lnTo>
                    <a:pt x="1203" y="554"/>
                  </a:lnTo>
                  <a:lnTo>
                    <a:pt x="1207" y="553"/>
                  </a:lnTo>
                  <a:lnTo>
                    <a:pt x="1209" y="552"/>
                  </a:lnTo>
                  <a:lnTo>
                    <a:pt x="1211" y="552"/>
                  </a:lnTo>
                  <a:lnTo>
                    <a:pt x="1212" y="552"/>
                  </a:lnTo>
                  <a:lnTo>
                    <a:pt x="1215" y="553"/>
                  </a:lnTo>
                  <a:lnTo>
                    <a:pt x="1217" y="555"/>
                  </a:lnTo>
                  <a:lnTo>
                    <a:pt x="1218" y="556"/>
                  </a:lnTo>
                  <a:lnTo>
                    <a:pt x="1220" y="558"/>
                  </a:lnTo>
                  <a:lnTo>
                    <a:pt x="1221" y="558"/>
                  </a:lnTo>
                  <a:lnTo>
                    <a:pt x="1224" y="560"/>
                  </a:lnTo>
                  <a:lnTo>
                    <a:pt x="1226" y="562"/>
                  </a:lnTo>
                  <a:lnTo>
                    <a:pt x="1226" y="564"/>
                  </a:lnTo>
                  <a:lnTo>
                    <a:pt x="1226" y="566"/>
                  </a:lnTo>
                  <a:lnTo>
                    <a:pt x="1224" y="569"/>
                  </a:lnTo>
                  <a:lnTo>
                    <a:pt x="1224" y="572"/>
                  </a:lnTo>
                  <a:lnTo>
                    <a:pt x="1224" y="574"/>
                  </a:lnTo>
                  <a:lnTo>
                    <a:pt x="1224" y="578"/>
                  </a:lnTo>
                  <a:lnTo>
                    <a:pt x="1223" y="579"/>
                  </a:lnTo>
                  <a:lnTo>
                    <a:pt x="1220" y="580"/>
                  </a:lnTo>
                  <a:lnTo>
                    <a:pt x="1217" y="581"/>
                  </a:lnTo>
                  <a:lnTo>
                    <a:pt x="1216" y="584"/>
                  </a:lnTo>
                  <a:lnTo>
                    <a:pt x="1211" y="587"/>
                  </a:lnTo>
                  <a:lnTo>
                    <a:pt x="1210" y="590"/>
                  </a:lnTo>
                  <a:lnTo>
                    <a:pt x="1209" y="593"/>
                  </a:lnTo>
                  <a:lnTo>
                    <a:pt x="1208" y="595"/>
                  </a:lnTo>
                  <a:lnTo>
                    <a:pt x="1205" y="597"/>
                  </a:lnTo>
                  <a:lnTo>
                    <a:pt x="1204" y="598"/>
                  </a:lnTo>
                  <a:lnTo>
                    <a:pt x="1204" y="601"/>
                  </a:lnTo>
                  <a:lnTo>
                    <a:pt x="1203" y="602"/>
                  </a:lnTo>
                  <a:lnTo>
                    <a:pt x="1202" y="603"/>
                  </a:lnTo>
                  <a:lnTo>
                    <a:pt x="1201" y="604"/>
                  </a:lnTo>
                  <a:lnTo>
                    <a:pt x="1196" y="603"/>
                  </a:lnTo>
                  <a:lnTo>
                    <a:pt x="1194" y="603"/>
                  </a:lnTo>
                  <a:lnTo>
                    <a:pt x="1194" y="601"/>
                  </a:lnTo>
                  <a:lnTo>
                    <a:pt x="1193" y="598"/>
                  </a:lnTo>
                  <a:lnTo>
                    <a:pt x="1192" y="597"/>
                  </a:lnTo>
                  <a:lnTo>
                    <a:pt x="1187" y="596"/>
                  </a:lnTo>
                  <a:lnTo>
                    <a:pt x="1185" y="595"/>
                  </a:lnTo>
                  <a:lnTo>
                    <a:pt x="1183" y="596"/>
                  </a:lnTo>
                  <a:lnTo>
                    <a:pt x="1179" y="596"/>
                  </a:lnTo>
                  <a:lnTo>
                    <a:pt x="1175" y="597"/>
                  </a:lnTo>
                  <a:lnTo>
                    <a:pt x="1171" y="598"/>
                  </a:lnTo>
                  <a:lnTo>
                    <a:pt x="1168" y="600"/>
                  </a:lnTo>
                  <a:lnTo>
                    <a:pt x="1164" y="601"/>
                  </a:lnTo>
                  <a:lnTo>
                    <a:pt x="1160" y="602"/>
                  </a:lnTo>
                  <a:lnTo>
                    <a:pt x="1154" y="603"/>
                  </a:lnTo>
                  <a:lnTo>
                    <a:pt x="1148" y="602"/>
                  </a:lnTo>
                  <a:lnTo>
                    <a:pt x="1144" y="602"/>
                  </a:lnTo>
                  <a:lnTo>
                    <a:pt x="1139" y="603"/>
                  </a:lnTo>
                  <a:lnTo>
                    <a:pt x="1137" y="602"/>
                  </a:lnTo>
                  <a:lnTo>
                    <a:pt x="1131" y="602"/>
                  </a:lnTo>
                  <a:lnTo>
                    <a:pt x="1128" y="602"/>
                  </a:lnTo>
                  <a:lnTo>
                    <a:pt x="1124" y="604"/>
                  </a:lnTo>
                  <a:lnTo>
                    <a:pt x="1124" y="608"/>
                  </a:lnTo>
                  <a:lnTo>
                    <a:pt x="1123" y="610"/>
                  </a:lnTo>
                  <a:lnTo>
                    <a:pt x="1121" y="612"/>
                  </a:lnTo>
                  <a:lnTo>
                    <a:pt x="1120" y="612"/>
                  </a:lnTo>
                  <a:lnTo>
                    <a:pt x="1114" y="612"/>
                  </a:lnTo>
                  <a:lnTo>
                    <a:pt x="1111" y="611"/>
                  </a:lnTo>
                  <a:lnTo>
                    <a:pt x="1109" y="610"/>
                  </a:lnTo>
                  <a:lnTo>
                    <a:pt x="1108" y="608"/>
                  </a:lnTo>
                  <a:lnTo>
                    <a:pt x="1106" y="606"/>
                  </a:lnTo>
                  <a:lnTo>
                    <a:pt x="1104" y="604"/>
                  </a:lnTo>
                  <a:lnTo>
                    <a:pt x="1101" y="602"/>
                  </a:lnTo>
                  <a:lnTo>
                    <a:pt x="1098" y="601"/>
                  </a:lnTo>
                  <a:lnTo>
                    <a:pt x="1093" y="600"/>
                  </a:lnTo>
                  <a:lnTo>
                    <a:pt x="1090" y="601"/>
                  </a:lnTo>
                  <a:lnTo>
                    <a:pt x="1087" y="602"/>
                  </a:lnTo>
                  <a:lnTo>
                    <a:pt x="1084" y="603"/>
                  </a:lnTo>
                  <a:lnTo>
                    <a:pt x="1084" y="605"/>
                  </a:lnTo>
                  <a:lnTo>
                    <a:pt x="1084" y="609"/>
                  </a:lnTo>
                  <a:lnTo>
                    <a:pt x="1082" y="610"/>
                  </a:lnTo>
                  <a:lnTo>
                    <a:pt x="1081" y="611"/>
                  </a:lnTo>
                  <a:lnTo>
                    <a:pt x="1079" y="612"/>
                  </a:lnTo>
                  <a:lnTo>
                    <a:pt x="1077" y="614"/>
                  </a:lnTo>
                  <a:lnTo>
                    <a:pt x="1076" y="616"/>
                  </a:lnTo>
                  <a:lnTo>
                    <a:pt x="1076" y="618"/>
                  </a:lnTo>
                  <a:lnTo>
                    <a:pt x="1077" y="621"/>
                  </a:lnTo>
                  <a:lnTo>
                    <a:pt x="1076" y="625"/>
                  </a:lnTo>
                  <a:lnTo>
                    <a:pt x="1076" y="627"/>
                  </a:lnTo>
                  <a:lnTo>
                    <a:pt x="1075" y="630"/>
                  </a:lnTo>
                  <a:lnTo>
                    <a:pt x="1074" y="635"/>
                  </a:lnTo>
                  <a:lnTo>
                    <a:pt x="1074" y="638"/>
                  </a:lnTo>
                  <a:lnTo>
                    <a:pt x="1075" y="643"/>
                  </a:lnTo>
                  <a:lnTo>
                    <a:pt x="1075" y="645"/>
                  </a:lnTo>
                  <a:lnTo>
                    <a:pt x="1074" y="648"/>
                  </a:lnTo>
                  <a:lnTo>
                    <a:pt x="1073" y="650"/>
                  </a:lnTo>
                  <a:lnTo>
                    <a:pt x="1071" y="652"/>
                  </a:lnTo>
                  <a:lnTo>
                    <a:pt x="1069" y="652"/>
                  </a:lnTo>
                  <a:lnTo>
                    <a:pt x="1065" y="653"/>
                  </a:lnTo>
                  <a:lnTo>
                    <a:pt x="1058" y="653"/>
                  </a:lnTo>
                  <a:lnTo>
                    <a:pt x="1055" y="653"/>
                  </a:lnTo>
                  <a:lnTo>
                    <a:pt x="1050" y="653"/>
                  </a:lnTo>
                  <a:lnTo>
                    <a:pt x="1047" y="653"/>
                  </a:lnTo>
                  <a:lnTo>
                    <a:pt x="1041" y="653"/>
                  </a:lnTo>
                  <a:lnTo>
                    <a:pt x="1037" y="654"/>
                  </a:lnTo>
                  <a:lnTo>
                    <a:pt x="1034" y="656"/>
                  </a:lnTo>
                  <a:lnTo>
                    <a:pt x="1032" y="657"/>
                  </a:lnTo>
                  <a:lnTo>
                    <a:pt x="1025" y="660"/>
                  </a:lnTo>
                  <a:lnTo>
                    <a:pt x="1023" y="662"/>
                  </a:lnTo>
                  <a:lnTo>
                    <a:pt x="1021" y="664"/>
                  </a:lnTo>
                  <a:lnTo>
                    <a:pt x="1019" y="665"/>
                  </a:lnTo>
                  <a:lnTo>
                    <a:pt x="1018" y="665"/>
                  </a:lnTo>
                  <a:lnTo>
                    <a:pt x="1016" y="665"/>
                  </a:lnTo>
                  <a:lnTo>
                    <a:pt x="1015" y="664"/>
                  </a:lnTo>
                  <a:lnTo>
                    <a:pt x="1012" y="662"/>
                  </a:lnTo>
                  <a:lnTo>
                    <a:pt x="1010" y="662"/>
                  </a:lnTo>
                  <a:lnTo>
                    <a:pt x="1009" y="662"/>
                  </a:lnTo>
                  <a:lnTo>
                    <a:pt x="1007" y="662"/>
                  </a:lnTo>
                  <a:lnTo>
                    <a:pt x="1005" y="662"/>
                  </a:lnTo>
                  <a:lnTo>
                    <a:pt x="1004" y="662"/>
                  </a:lnTo>
                  <a:lnTo>
                    <a:pt x="1003" y="664"/>
                  </a:lnTo>
                  <a:lnTo>
                    <a:pt x="1002" y="665"/>
                  </a:lnTo>
                  <a:lnTo>
                    <a:pt x="1001" y="666"/>
                  </a:lnTo>
                  <a:lnTo>
                    <a:pt x="1000" y="666"/>
                  </a:lnTo>
                  <a:lnTo>
                    <a:pt x="999" y="667"/>
                  </a:lnTo>
                  <a:lnTo>
                    <a:pt x="1000" y="669"/>
                  </a:lnTo>
                  <a:lnTo>
                    <a:pt x="1000" y="672"/>
                  </a:lnTo>
                  <a:lnTo>
                    <a:pt x="999" y="675"/>
                  </a:lnTo>
                  <a:lnTo>
                    <a:pt x="999" y="677"/>
                  </a:lnTo>
                  <a:lnTo>
                    <a:pt x="999" y="678"/>
                  </a:lnTo>
                  <a:lnTo>
                    <a:pt x="1001" y="681"/>
                  </a:lnTo>
                  <a:lnTo>
                    <a:pt x="1002" y="682"/>
                  </a:lnTo>
                  <a:lnTo>
                    <a:pt x="1002" y="683"/>
                  </a:lnTo>
                  <a:lnTo>
                    <a:pt x="1002" y="684"/>
                  </a:lnTo>
                  <a:lnTo>
                    <a:pt x="1002" y="685"/>
                  </a:lnTo>
                  <a:lnTo>
                    <a:pt x="1001" y="685"/>
                  </a:lnTo>
                  <a:lnTo>
                    <a:pt x="999" y="688"/>
                  </a:lnTo>
                  <a:lnTo>
                    <a:pt x="996" y="689"/>
                  </a:lnTo>
                  <a:lnTo>
                    <a:pt x="995" y="689"/>
                  </a:lnTo>
                  <a:lnTo>
                    <a:pt x="994" y="691"/>
                  </a:lnTo>
                  <a:lnTo>
                    <a:pt x="995" y="693"/>
                  </a:lnTo>
                  <a:lnTo>
                    <a:pt x="996" y="693"/>
                  </a:lnTo>
                  <a:lnTo>
                    <a:pt x="999" y="696"/>
                  </a:lnTo>
                  <a:lnTo>
                    <a:pt x="1000" y="697"/>
                  </a:lnTo>
                  <a:lnTo>
                    <a:pt x="1000" y="699"/>
                  </a:lnTo>
                  <a:lnTo>
                    <a:pt x="1000" y="701"/>
                  </a:lnTo>
                  <a:lnTo>
                    <a:pt x="1000" y="702"/>
                  </a:lnTo>
                  <a:lnTo>
                    <a:pt x="1000" y="704"/>
                  </a:lnTo>
                  <a:lnTo>
                    <a:pt x="1001" y="705"/>
                  </a:lnTo>
                  <a:lnTo>
                    <a:pt x="1004" y="707"/>
                  </a:lnTo>
                  <a:lnTo>
                    <a:pt x="1007" y="708"/>
                  </a:lnTo>
                  <a:lnTo>
                    <a:pt x="1008" y="709"/>
                  </a:lnTo>
                  <a:lnTo>
                    <a:pt x="1008" y="710"/>
                  </a:lnTo>
                  <a:lnTo>
                    <a:pt x="1008" y="714"/>
                  </a:lnTo>
                  <a:lnTo>
                    <a:pt x="1007" y="715"/>
                  </a:lnTo>
                  <a:lnTo>
                    <a:pt x="1005" y="715"/>
                  </a:lnTo>
                  <a:lnTo>
                    <a:pt x="1007" y="717"/>
                  </a:lnTo>
                  <a:lnTo>
                    <a:pt x="1008" y="720"/>
                  </a:lnTo>
                  <a:lnTo>
                    <a:pt x="1009" y="721"/>
                  </a:lnTo>
                  <a:lnTo>
                    <a:pt x="1009" y="723"/>
                  </a:lnTo>
                  <a:lnTo>
                    <a:pt x="1009" y="725"/>
                  </a:lnTo>
                  <a:lnTo>
                    <a:pt x="1005" y="729"/>
                  </a:lnTo>
                  <a:lnTo>
                    <a:pt x="1004" y="731"/>
                  </a:lnTo>
                  <a:lnTo>
                    <a:pt x="1002" y="734"/>
                  </a:lnTo>
                  <a:lnTo>
                    <a:pt x="1002" y="737"/>
                  </a:lnTo>
                  <a:lnTo>
                    <a:pt x="1002" y="739"/>
                  </a:lnTo>
                  <a:lnTo>
                    <a:pt x="1003" y="740"/>
                  </a:lnTo>
                  <a:lnTo>
                    <a:pt x="1004" y="744"/>
                  </a:lnTo>
                  <a:lnTo>
                    <a:pt x="1008" y="746"/>
                  </a:lnTo>
                  <a:lnTo>
                    <a:pt x="1009" y="747"/>
                  </a:lnTo>
                  <a:lnTo>
                    <a:pt x="1011" y="748"/>
                  </a:lnTo>
                  <a:lnTo>
                    <a:pt x="1015" y="749"/>
                  </a:lnTo>
                  <a:lnTo>
                    <a:pt x="1017" y="750"/>
                  </a:lnTo>
                  <a:lnTo>
                    <a:pt x="1020" y="753"/>
                  </a:lnTo>
                  <a:lnTo>
                    <a:pt x="1023" y="754"/>
                  </a:lnTo>
                  <a:lnTo>
                    <a:pt x="1025" y="756"/>
                  </a:lnTo>
                  <a:lnTo>
                    <a:pt x="1026" y="757"/>
                  </a:lnTo>
                  <a:lnTo>
                    <a:pt x="1027" y="760"/>
                  </a:lnTo>
                  <a:lnTo>
                    <a:pt x="1028" y="763"/>
                  </a:lnTo>
                  <a:lnTo>
                    <a:pt x="1029" y="765"/>
                  </a:lnTo>
                  <a:lnTo>
                    <a:pt x="1032" y="770"/>
                  </a:lnTo>
                  <a:lnTo>
                    <a:pt x="1039" y="769"/>
                  </a:lnTo>
                  <a:lnTo>
                    <a:pt x="1044" y="764"/>
                  </a:lnTo>
                  <a:lnTo>
                    <a:pt x="1048" y="762"/>
                  </a:lnTo>
                  <a:lnTo>
                    <a:pt x="1053" y="758"/>
                  </a:lnTo>
                  <a:lnTo>
                    <a:pt x="1060" y="755"/>
                  </a:lnTo>
                  <a:lnTo>
                    <a:pt x="1069" y="752"/>
                  </a:lnTo>
                  <a:lnTo>
                    <a:pt x="1074" y="746"/>
                  </a:lnTo>
                  <a:lnTo>
                    <a:pt x="1082" y="739"/>
                  </a:lnTo>
                  <a:lnTo>
                    <a:pt x="1085" y="733"/>
                  </a:lnTo>
                  <a:lnTo>
                    <a:pt x="1087" y="729"/>
                  </a:lnTo>
                  <a:lnTo>
                    <a:pt x="1092" y="718"/>
                  </a:lnTo>
                  <a:lnTo>
                    <a:pt x="1095" y="717"/>
                  </a:lnTo>
                  <a:lnTo>
                    <a:pt x="1103" y="718"/>
                  </a:lnTo>
                  <a:lnTo>
                    <a:pt x="1107" y="722"/>
                  </a:lnTo>
                  <a:lnTo>
                    <a:pt x="1112" y="722"/>
                  </a:lnTo>
                  <a:lnTo>
                    <a:pt x="1116" y="722"/>
                  </a:lnTo>
                  <a:lnTo>
                    <a:pt x="1123" y="718"/>
                  </a:lnTo>
                  <a:lnTo>
                    <a:pt x="1125" y="714"/>
                  </a:lnTo>
                  <a:lnTo>
                    <a:pt x="1129" y="705"/>
                  </a:lnTo>
                  <a:lnTo>
                    <a:pt x="1130" y="700"/>
                  </a:lnTo>
                  <a:lnTo>
                    <a:pt x="1136" y="697"/>
                  </a:lnTo>
                  <a:lnTo>
                    <a:pt x="1143" y="700"/>
                  </a:lnTo>
                  <a:lnTo>
                    <a:pt x="1145" y="704"/>
                  </a:lnTo>
                  <a:lnTo>
                    <a:pt x="1152" y="705"/>
                  </a:lnTo>
                  <a:lnTo>
                    <a:pt x="1154" y="700"/>
                  </a:lnTo>
                  <a:lnTo>
                    <a:pt x="1156" y="697"/>
                  </a:lnTo>
                  <a:lnTo>
                    <a:pt x="1156" y="691"/>
                  </a:lnTo>
                  <a:lnTo>
                    <a:pt x="1160" y="686"/>
                  </a:lnTo>
                  <a:lnTo>
                    <a:pt x="1162" y="681"/>
                  </a:lnTo>
                  <a:lnTo>
                    <a:pt x="1167" y="676"/>
                  </a:lnTo>
                  <a:lnTo>
                    <a:pt x="1171" y="674"/>
                  </a:lnTo>
                  <a:lnTo>
                    <a:pt x="1177" y="674"/>
                  </a:lnTo>
                  <a:lnTo>
                    <a:pt x="1184" y="674"/>
                  </a:lnTo>
                  <a:lnTo>
                    <a:pt x="1192" y="670"/>
                  </a:lnTo>
                  <a:lnTo>
                    <a:pt x="1205" y="662"/>
                  </a:lnTo>
                  <a:lnTo>
                    <a:pt x="1210" y="659"/>
                  </a:lnTo>
                  <a:lnTo>
                    <a:pt x="1217" y="646"/>
                  </a:lnTo>
                  <a:lnTo>
                    <a:pt x="1223" y="638"/>
                  </a:lnTo>
                  <a:lnTo>
                    <a:pt x="1228" y="629"/>
                  </a:lnTo>
                  <a:lnTo>
                    <a:pt x="1236" y="621"/>
                  </a:lnTo>
                  <a:lnTo>
                    <a:pt x="1241" y="617"/>
                  </a:lnTo>
                  <a:lnTo>
                    <a:pt x="1245" y="613"/>
                  </a:lnTo>
                  <a:lnTo>
                    <a:pt x="1249" y="612"/>
                  </a:lnTo>
                  <a:lnTo>
                    <a:pt x="1253" y="611"/>
                  </a:lnTo>
                  <a:lnTo>
                    <a:pt x="1257" y="610"/>
                  </a:lnTo>
                  <a:lnTo>
                    <a:pt x="1259" y="609"/>
                  </a:lnTo>
                  <a:lnTo>
                    <a:pt x="1263" y="608"/>
                  </a:lnTo>
                  <a:lnTo>
                    <a:pt x="1264" y="606"/>
                  </a:lnTo>
                  <a:lnTo>
                    <a:pt x="1269" y="605"/>
                  </a:lnTo>
                  <a:lnTo>
                    <a:pt x="1273" y="603"/>
                  </a:lnTo>
                  <a:lnTo>
                    <a:pt x="1279" y="602"/>
                  </a:lnTo>
                  <a:lnTo>
                    <a:pt x="1280" y="601"/>
                  </a:lnTo>
                  <a:lnTo>
                    <a:pt x="1282" y="601"/>
                  </a:lnTo>
                  <a:lnTo>
                    <a:pt x="1285" y="598"/>
                  </a:lnTo>
                  <a:lnTo>
                    <a:pt x="1290" y="598"/>
                  </a:lnTo>
                  <a:lnTo>
                    <a:pt x="1292" y="598"/>
                  </a:lnTo>
                  <a:lnTo>
                    <a:pt x="1293" y="600"/>
                  </a:lnTo>
                  <a:lnTo>
                    <a:pt x="1298" y="600"/>
                  </a:lnTo>
                  <a:lnTo>
                    <a:pt x="1303" y="598"/>
                  </a:lnTo>
                  <a:lnTo>
                    <a:pt x="1307" y="595"/>
                  </a:lnTo>
                  <a:lnTo>
                    <a:pt x="1311" y="594"/>
                  </a:lnTo>
                  <a:lnTo>
                    <a:pt x="1316" y="594"/>
                  </a:lnTo>
                  <a:lnTo>
                    <a:pt x="1319" y="593"/>
                  </a:lnTo>
                  <a:lnTo>
                    <a:pt x="1323" y="593"/>
                  </a:lnTo>
                  <a:lnTo>
                    <a:pt x="1325" y="594"/>
                  </a:lnTo>
                  <a:lnTo>
                    <a:pt x="1329" y="594"/>
                  </a:lnTo>
                  <a:lnTo>
                    <a:pt x="1331" y="594"/>
                  </a:lnTo>
                  <a:lnTo>
                    <a:pt x="1335" y="593"/>
                  </a:lnTo>
                  <a:lnTo>
                    <a:pt x="1338" y="592"/>
                  </a:lnTo>
                  <a:lnTo>
                    <a:pt x="1344" y="590"/>
                  </a:lnTo>
                  <a:lnTo>
                    <a:pt x="1346" y="592"/>
                  </a:lnTo>
                  <a:lnTo>
                    <a:pt x="1351" y="590"/>
                  </a:lnTo>
                  <a:lnTo>
                    <a:pt x="1354" y="590"/>
                  </a:lnTo>
                  <a:lnTo>
                    <a:pt x="1357" y="590"/>
                  </a:lnTo>
                  <a:lnTo>
                    <a:pt x="1361" y="592"/>
                  </a:lnTo>
                  <a:lnTo>
                    <a:pt x="1364" y="593"/>
                  </a:lnTo>
                  <a:lnTo>
                    <a:pt x="1369" y="594"/>
                  </a:lnTo>
                  <a:lnTo>
                    <a:pt x="1376" y="592"/>
                  </a:lnTo>
                  <a:lnTo>
                    <a:pt x="1380" y="588"/>
                  </a:lnTo>
                  <a:lnTo>
                    <a:pt x="1386" y="585"/>
                  </a:lnTo>
                  <a:lnTo>
                    <a:pt x="1389" y="582"/>
                  </a:lnTo>
                  <a:lnTo>
                    <a:pt x="1392" y="581"/>
                  </a:lnTo>
                  <a:lnTo>
                    <a:pt x="1395" y="577"/>
                  </a:lnTo>
                  <a:lnTo>
                    <a:pt x="1397" y="573"/>
                  </a:lnTo>
                  <a:lnTo>
                    <a:pt x="1400" y="572"/>
                  </a:lnTo>
                  <a:lnTo>
                    <a:pt x="1405" y="570"/>
                  </a:lnTo>
                  <a:lnTo>
                    <a:pt x="1410" y="571"/>
                  </a:lnTo>
                  <a:lnTo>
                    <a:pt x="1415" y="572"/>
                  </a:lnTo>
                  <a:lnTo>
                    <a:pt x="1417" y="573"/>
                  </a:lnTo>
                  <a:lnTo>
                    <a:pt x="1425" y="573"/>
                  </a:lnTo>
                  <a:lnTo>
                    <a:pt x="1429" y="574"/>
                  </a:lnTo>
                  <a:lnTo>
                    <a:pt x="1434" y="574"/>
                  </a:lnTo>
                  <a:lnTo>
                    <a:pt x="1439" y="576"/>
                  </a:lnTo>
                  <a:lnTo>
                    <a:pt x="1443" y="577"/>
                  </a:lnTo>
                  <a:lnTo>
                    <a:pt x="1448" y="580"/>
                  </a:lnTo>
                  <a:lnTo>
                    <a:pt x="1450" y="582"/>
                  </a:lnTo>
                  <a:lnTo>
                    <a:pt x="1451" y="585"/>
                  </a:lnTo>
                  <a:lnTo>
                    <a:pt x="1452" y="587"/>
                  </a:lnTo>
                  <a:lnTo>
                    <a:pt x="1453" y="589"/>
                  </a:lnTo>
                  <a:lnTo>
                    <a:pt x="1457" y="592"/>
                  </a:lnTo>
                  <a:lnTo>
                    <a:pt x="1458" y="594"/>
                  </a:lnTo>
                  <a:lnTo>
                    <a:pt x="1461" y="597"/>
                  </a:lnTo>
                  <a:lnTo>
                    <a:pt x="1463" y="600"/>
                  </a:lnTo>
                  <a:lnTo>
                    <a:pt x="1468" y="602"/>
                  </a:lnTo>
                  <a:lnTo>
                    <a:pt x="1472" y="605"/>
                  </a:lnTo>
                  <a:lnTo>
                    <a:pt x="1472" y="608"/>
                  </a:lnTo>
                  <a:lnTo>
                    <a:pt x="1473" y="611"/>
                  </a:lnTo>
                  <a:lnTo>
                    <a:pt x="1471" y="613"/>
                  </a:lnTo>
                  <a:lnTo>
                    <a:pt x="1468" y="614"/>
                  </a:lnTo>
                  <a:lnTo>
                    <a:pt x="1466" y="617"/>
                  </a:lnTo>
                  <a:lnTo>
                    <a:pt x="1466" y="620"/>
                  </a:lnTo>
                  <a:lnTo>
                    <a:pt x="1467" y="622"/>
                  </a:lnTo>
                  <a:lnTo>
                    <a:pt x="1472" y="624"/>
                  </a:lnTo>
                  <a:lnTo>
                    <a:pt x="1475" y="626"/>
                  </a:lnTo>
                  <a:lnTo>
                    <a:pt x="1481" y="627"/>
                  </a:lnTo>
                  <a:lnTo>
                    <a:pt x="1485" y="628"/>
                  </a:lnTo>
                  <a:lnTo>
                    <a:pt x="1492" y="630"/>
                  </a:lnTo>
                  <a:lnTo>
                    <a:pt x="1499" y="633"/>
                  </a:lnTo>
                  <a:lnTo>
                    <a:pt x="1505" y="634"/>
                  </a:lnTo>
                  <a:lnTo>
                    <a:pt x="1511" y="636"/>
                  </a:lnTo>
                  <a:lnTo>
                    <a:pt x="1516" y="640"/>
                  </a:lnTo>
                  <a:lnTo>
                    <a:pt x="1521" y="642"/>
                  </a:lnTo>
                  <a:lnTo>
                    <a:pt x="1523" y="643"/>
                  </a:lnTo>
                  <a:lnTo>
                    <a:pt x="1527" y="645"/>
                  </a:lnTo>
                  <a:lnTo>
                    <a:pt x="1530" y="645"/>
                  </a:lnTo>
                  <a:lnTo>
                    <a:pt x="1531" y="643"/>
                  </a:lnTo>
                  <a:lnTo>
                    <a:pt x="1533" y="642"/>
                  </a:lnTo>
                  <a:lnTo>
                    <a:pt x="1537" y="642"/>
                  </a:lnTo>
                  <a:lnTo>
                    <a:pt x="1540" y="643"/>
                  </a:lnTo>
                  <a:lnTo>
                    <a:pt x="1544" y="644"/>
                  </a:lnTo>
                  <a:lnTo>
                    <a:pt x="1547" y="643"/>
                  </a:lnTo>
                  <a:lnTo>
                    <a:pt x="1551" y="641"/>
                  </a:lnTo>
                  <a:lnTo>
                    <a:pt x="1551" y="637"/>
                  </a:lnTo>
                  <a:lnTo>
                    <a:pt x="1552" y="635"/>
                  </a:lnTo>
                  <a:lnTo>
                    <a:pt x="1549" y="632"/>
                  </a:lnTo>
                  <a:lnTo>
                    <a:pt x="1544" y="626"/>
                  </a:lnTo>
                  <a:lnTo>
                    <a:pt x="1533" y="614"/>
                  </a:lnTo>
                  <a:lnTo>
                    <a:pt x="1528" y="608"/>
                  </a:lnTo>
                  <a:lnTo>
                    <a:pt x="1525" y="605"/>
                  </a:lnTo>
                  <a:lnTo>
                    <a:pt x="1522" y="601"/>
                  </a:lnTo>
                  <a:lnTo>
                    <a:pt x="1519" y="594"/>
                  </a:lnTo>
                  <a:lnTo>
                    <a:pt x="1517" y="590"/>
                  </a:lnTo>
                  <a:lnTo>
                    <a:pt x="1512" y="586"/>
                  </a:lnTo>
                  <a:lnTo>
                    <a:pt x="1506" y="581"/>
                  </a:lnTo>
                  <a:lnTo>
                    <a:pt x="1504" y="578"/>
                  </a:lnTo>
                  <a:lnTo>
                    <a:pt x="1500" y="573"/>
                  </a:lnTo>
                  <a:lnTo>
                    <a:pt x="1498" y="571"/>
                  </a:lnTo>
                  <a:lnTo>
                    <a:pt x="1495" y="565"/>
                  </a:lnTo>
                  <a:lnTo>
                    <a:pt x="1491" y="561"/>
                  </a:lnTo>
                  <a:lnTo>
                    <a:pt x="1485" y="555"/>
                  </a:lnTo>
                  <a:lnTo>
                    <a:pt x="1483" y="553"/>
                  </a:lnTo>
                  <a:lnTo>
                    <a:pt x="1481" y="550"/>
                  </a:lnTo>
                  <a:lnTo>
                    <a:pt x="1481" y="548"/>
                  </a:lnTo>
                  <a:lnTo>
                    <a:pt x="1481" y="541"/>
                  </a:lnTo>
                  <a:lnTo>
                    <a:pt x="1483" y="537"/>
                  </a:lnTo>
                  <a:lnTo>
                    <a:pt x="1483" y="530"/>
                  </a:lnTo>
                  <a:lnTo>
                    <a:pt x="1482" y="526"/>
                  </a:lnTo>
                  <a:lnTo>
                    <a:pt x="1481" y="523"/>
                  </a:lnTo>
                  <a:lnTo>
                    <a:pt x="1477" y="517"/>
                  </a:lnTo>
                  <a:lnTo>
                    <a:pt x="1476" y="515"/>
                  </a:lnTo>
                  <a:lnTo>
                    <a:pt x="1476" y="512"/>
                  </a:lnTo>
                  <a:lnTo>
                    <a:pt x="1476" y="508"/>
                  </a:lnTo>
                  <a:lnTo>
                    <a:pt x="1479" y="506"/>
                  </a:lnTo>
                  <a:lnTo>
                    <a:pt x="1481" y="505"/>
                  </a:lnTo>
                  <a:lnTo>
                    <a:pt x="1482" y="502"/>
                  </a:lnTo>
                  <a:lnTo>
                    <a:pt x="1489" y="496"/>
                  </a:lnTo>
                  <a:lnTo>
                    <a:pt x="1491" y="493"/>
                  </a:lnTo>
                  <a:lnTo>
                    <a:pt x="1495" y="491"/>
                  </a:lnTo>
                  <a:lnTo>
                    <a:pt x="1499" y="485"/>
                  </a:lnTo>
                  <a:lnTo>
                    <a:pt x="1503" y="483"/>
                  </a:lnTo>
                  <a:lnTo>
                    <a:pt x="1506" y="480"/>
                  </a:lnTo>
                  <a:lnTo>
                    <a:pt x="1509" y="475"/>
                  </a:lnTo>
                  <a:lnTo>
                    <a:pt x="1515" y="470"/>
                  </a:lnTo>
                  <a:lnTo>
                    <a:pt x="1519" y="468"/>
                  </a:lnTo>
                  <a:lnTo>
                    <a:pt x="1521" y="468"/>
                  </a:lnTo>
                  <a:lnTo>
                    <a:pt x="1527" y="470"/>
                  </a:lnTo>
                  <a:lnTo>
                    <a:pt x="1529" y="470"/>
                  </a:lnTo>
                  <a:lnTo>
                    <a:pt x="1530" y="469"/>
                  </a:lnTo>
                  <a:lnTo>
                    <a:pt x="1531" y="466"/>
                  </a:lnTo>
                  <a:lnTo>
                    <a:pt x="1531" y="464"/>
                  </a:lnTo>
                  <a:lnTo>
                    <a:pt x="1533" y="460"/>
                  </a:lnTo>
                  <a:lnTo>
                    <a:pt x="1536" y="459"/>
                  </a:lnTo>
                  <a:lnTo>
                    <a:pt x="1539" y="458"/>
                  </a:lnTo>
                  <a:lnTo>
                    <a:pt x="1543" y="456"/>
                  </a:lnTo>
                  <a:lnTo>
                    <a:pt x="1546" y="453"/>
                  </a:lnTo>
                  <a:lnTo>
                    <a:pt x="1548" y="451"/>
                  </a:lnTo>
                  <a:lnTo>
                    <a:pt x="1552" y="448"/>
                  </a:lnTo>
                  <a:lnTo>
                    <a:pt x="1555" y="445"/>
                  </a:lnTo>
                  <a:lnTo>
                    <a:pt x="1559" y="443"/>
                  </a:lnTo>
                  <a:lnTo>
                    <a:pt x="1562" y="440"/>
                  </a:lnTo>
                  <a:lnTo>
                    <a:pt x="1565" y="436"/>
                  </a:lnTo>
                  <a:lnTo>
                    <a:pt x="1568" y="434"/>
                  </a:lnTo>
                  <a:lnTo>
                    <a:pt x="1576" y="428"/>
                  </a:lnTo>
                  <a:lnTo>
                    <a:pt x="1581" y="426"/>
                  </a:lnTo>
                  <a:lnTo>
                    <a:pt x="1583" y="426"/>
                  </a:lnTo>
                  <a:lnTo>
                    <a:pt x="1585" y="428"/>
                  </a:lnTo>
                  <a:lnTo>
                    <a:pt x="1589" y="432"/>
                  </a:lnTo>
                  <a:lnTo>
                    <a:pt x="1592" y="434"/>
                  </a:lnTo>
                  <a:lnTo>
                    <a:pt x="1596" y="434"/>
                  </a:lnTo>
                  <a:lnTo>
                    <a:pt x="1600" y="435"/>
                  </a:lnTo>
                  <a:lnTo>
                    <a:pt x="1603" y="435"/>
                  </a:lnTo>
                  <a:lnTo>
                    <a:pt x="1607" y="434"/>
                  </a:lnTo>
                  <a:lnTo>
                    <a:pt x="1609" y="432"/>
                  </a:lnTo>
                  <a:lnTo>
                    <a:pt x="1609" y="428"/>
                  </a:lnTo>
                  <a:lnTo>
                    <a:pt x="1608" y="426"/>
                  </a:lnTo>
                  <a:lnTo>
                    <a:pt x="1607" y="422"/>
                  </a:lnTo>
                  <a:lnTo>
                    <a:pt x="1607" y="419"/>
                  </a:lnTo>
                  <a:lnTo>
                    <a:pt x="1605" y="418"/>
                  </a:lnTo>
                  <a:lnTo>
                    <a:pt x="1602" y="414"/>
                  </a:lnTo>
                  <a:lnTo>
                    <a:pt x="1602" y="411"/>
                  </a:lnTo>
                  <a:lnTo>
                    <a:pt x="1604" y="409"/>
                  </a:lnTo>
                  <a:lnTo>
                    <a:pt x="1608" y="405"/>
                  </a:lnTo>
                  <a:lnTo>
                    <a:pt x="1611" y="403"/>
                  </a:lnTo>
                  <a:lnTo>
                    <a:pt x="1616" y="402"/>
                  </a:lnTo>
                  <a:lnTo>
                    <a:pt x="1617" y="397"/>
                  </a:lnTo>
                  <a:lnTo>
                    <a:pt x="1615" y="394"/>
                  </a:lnTo>
                  <a:lnTo>
                    <a:pt x="1612" y="394"/>
                  </a:lnTo>
                  <a:lnTo>
                    <a:pt x="1608" y="394"/>
                  </a:lnTo>
                  <a:lnTo>
                    <a:pt x="1607" y="393"/>
                  </a:lnTo>
                  <a:lnTo>
                    <a:pt x="1605" y="390"/>
                  </a:lnTo>
                  <a:lnTo>
                    <a:pt x="1602" y="388"/>
                  </a:lnTo>
                  <a:lnTo>
                    <a:pt x="1601" y="386"/>
                  </a:lnTo>
                  <a:lnTo>
                    <a:pt x="1596" y="386"/>
                  </a:lnTo>
                  <a:lnTo>
                    <a:pt x="1594" y="386"/>
                  </a:lnTo>
                  <a:lnTo>
                    <a:pt x="1591" y="386"/>
                  </a:lnTo>
                  <a:lnTo>
                    <a:pt x="1586" y="386"/>
                  </a:lnTo>
                  <a:lnTo>
                    <a:pt x="1585" y="382"/>
                  </a:lnTo>
                  <a:lnTo>
                    <a:pt x="1587" y="379"/>
                  </a:lnTo>
                  <a:lnTo>
                    <a:pt x="1594" y="376"/>
                  </a:lnTo>
                  <a:lnTo>
                    <a:pt x="1595" y="372"/>
                  </a:lnTo>
                  <a:lnTo>
                    <a:pt x="1594" y="369"/>
                  </a:lnTo>
                  <a:lnTo>
                    <a:pt x="1593" y="365"/>
                  </a:lnTo>
                  <a:lnTo>
                    <a:pt x="1593" y="361"/>
                  </a:lnTo>
                  <a:lnTo>
                    <a:pt x="1595" y="357"/>
                  </a:lnTo>
                  <a:lnTo>
                    <a:pt x="1600" y="356"/>
                  </a:lnTo>
                  <a:lnTo>
                    <a:pt x="1604" y="353"/>
                  </a:lnTo>
                  <a:lnTo>
                    <a:pt x="1608" y="350"/>
                  </a:lnTo>
                  <a:lnTo>
                    <a:pt x="1610" y="347"/>
                  </a:lnTo>
                  <a:lnTo>
                    <a:pt x="1611" y="344"/>
                  </a:lnTo>
                  <a:lnTo>
                    <a:pt x="1608" y="341"/>
                  </a:lnTo>
                  <a:lnTo>
                    <a:pt x="1604" y="339"/>
                  </a:lnTo>
                  <a:lnTo>
                    <a:pt x="1600" y="338"/>
                  </a:lnTo>
                  <a:lnTo>
                    <a:pt x="1593" y="333"/>
                  </a:lnTo>
                  <a:lnTo>
                    <a:pt x="1588" y="331"/>
                  </a:lnTo>
                  <a:lnTo>
                    <a:pt x="1585" y="330"/>
                  </a:lnTo>
                  <a:lnTo>
                    <a:pt x="1578" y="328"/>
                  </a:lnTo>
                  <a:lnTo>
                    <a:pt x="1573" y="326"/>
                  </a:lnTo>
                  <a:lnTo>
                    <a:pt x="1569" y="325"/>
                  </a:lnTo>
                  <a:lnTo>
                    <a:pt x="1563" y="323"/>
                  </a:lnTo>
                  <a:lnTo>
                    <a:pt x="1559" y="322"/>
                  </a:lnTo>
                  <a:lnTo>
                    <a:pt x="1554" y="321"/>
                  </a:lnTo>
                  <a:lnTo>
                    <a:pt x="1549" y="320"/>
                  </a:lnTo>
                  <a:lnTo>
                    <a:pt x="1546" y="317"/>
                  </a:lnTo>
                  <a:lnTo>
                    <a:pt x="1545" y="315"/>
                  </a:lnTo>
                  <a:lnTo>
                    <a:pt x="1541" y="312"/>
                  </a:lnTo>
                  <a:lnTo>
                    <a:pt x="1538" y="308"/>
                  </a:lnTo>
                  <a:lnTo>
                    <a:pt x="1535" y="307"/>
                  </a:lnTo>
                  <a:lnTo>
                    <a:pt x="1530" y="306"/>
                  </a:lnTo>
                  <a:lnTo>
                    <a:pt x="1527" y="307"/>
                  </a:lnTo>
                  <a:lnTo>
                    <a:pt x="1522" y="308"/>
                  </a:lnTo>
                  <a:lnTo>
                    <a:pt x="1520" y="308"/>
                  </a:lnTo>
                  <a:lnTo>
                    <a:pt x="1516" y="312"/>
                  </a:lnTo>
                  <a:lnTo>
                    <a:pt x="1512" y="313"/>
                  </a:lnTo>
                  <a:lnTo>
                    <a:pt x="1507" y="314"/>
                  </a:lnTo>
                  <a:lnTo>
                    <a:pt x="1504" y="314"/>
                  </a:lnTo>
                  <a:lnTo>
                    <a:pt x="1499" y="314"/>
                  </a:lnTo>
                  <a:lnTo>
                    <a:pt x="1495" y="313"/>
                  </a:lnTo>
                  <a:lnTo>
                    <a:pt x="1491" y="310"/>
                  </a:lnTo>
                  <a:lnTo>
                    <a:pt x="1488" y="308"/>
                  </a:lnTo>
                  <a:lnTo>
                    <a:pt x="1484" y="306"/>
                  </a:lnTo>
                  <a:lnTo>
                    <a:pt x="1482" y="302"/>
                  </a:lnTo>
                  <a:lnTo>
                    <a:pt x="1477" y="302"/>
                  </a:lnTo>
                  <a:lnTo>
                    <a:pt x="1474" y="299"/>
                  </a:lnTo>
                  <a:lnTo>
                    <a:pt x="1472" y="299"/>
                  </a:lnTo>
                  <a:lnTo>
                    <a:pt x="1468" y="299"/>
                  </a:lnTo>
                  <a:lnTo>
                    <a:pt x="1465" y="299"/>
                  </a:lnTo>
                  <a:lnTo>
                    <a:pt x="1463" y="300"/>
                  </a:lnTo>
                  <a:lnTo>
                    <a:pt x="1460" y="301"/>
                  </a:lnTo>
                  <a:lnTo>
                    <a:pt x="1453" y="302"/>
                  </a:lnTo>
                  <a:lnTo>
                    <a:pt x="1442" y="300"/>
                  </a:lnTo>
                  <a:lnTo>
                    <a:pt x="1439" y="297"/>
                  </a:lnTo>
                  <a:lnTo>
                    <a:pt x="1436" y="293"/>
                  </a:lnTo>
                  <a:lnTo>
                    <a:pt x="1432" y="291"/>
                  </a:lnTo>
                  <a:lnTo>
                    <a:pt x="1427" y="286"/>
                  </a:lnTo>
                  <a:lnTo>
                    <a:pt x="1421" y="283"/>
                  </a:lnTo>
                  <a:lnTo>
                    <a:pt x="1416" y="282"/>
                  </a:lnTo>
                  <a:lnTo>
                    <a:pt x="1408" y="280"/>
                  </a:lnTo>
                  <a:lnTo>
                    <a:pt x="1402" y="278"/>
                  </a:lnTo>
                  <a:lnTo>
                    <a:pt x="1399" y="277"/>
                  </a:lnTo>
                  <a:lnTo>
                    <a:pt x="1394" y="277"/>
                  </a:lnTo>
                  <a:lnTo>
                    <a:pt x="1389" y="280"/>
                  </a:lnTo>
                  <a:lnTo>
                    <a:pt x="1384" y="282"/>
                  </a:lnTo>
                  <a:lnTo>
                    <a:pt x="1378" y="285"/>
                  </a:lnTo>
                  <a:lnTo>
                    <a:pt x="1372" y="288"/>
                  </a:lnTo>
                  <a:lnTo>
                    <a:pt x="1362" y="289"/>
                  </a:lnTo>
                  <a:lnTo>
                    <a:pt x="1356" y="288"/>
                  </a:lnTo>
                  <a:lnTo>
                    <a:pt x="1354" y="288"/>
                  </a:lnTo>
                  <a:lnTo>
                    <a:pt x="1349" y="290"/>
                  </a:lnTo>
                  <a:lnTo>
                    <a:pt x="1346" y="292"/>
                  </a:lnTo>
                  <a:lnTo>
                    <a:pt x="1344" y="297"/>
                  </a:lnTo>
                  <a:lnTo>
                    <a:pt x="1343" y="300"/>
                  </a:lnTo>
                  <a:lnTo>
                    <a:pt x="1344" y="304"/>
                  </a:lnTo>
                  <a:lnTo>
                    <a:pt x="1343" y="307"/>
                  </a:lnTo>
                  <a:lnTo>
                    <a:pt x="1340" y="307"/>
                  </a:lnTo>
                  <a:lnTo>
                    <a:pt x="1337" y="306"/>
                  </a:lnTo>
                  <a:lnTo>
                    <a:pt x="1335" y="305"/>
                  </a:lnTo>
                  <a:lnTo>
                    <a:pt x="1330" y="301"/>
                  </a:lnTo>
                  <a:lnTo>
                    <a:pt x="1328" y="299"/>
                  </a:lnTo>
                  <a:lnTo>
                    <a:pt x="1325" y="297"/>
                  </a:lnTo>
                  <a:lnTo>
                    <a:pt x="1320" y="297"/>
                  </a:lnTo>
                  <a:lnTo>
                    <a:pt x="1316" y="296"/>
                  </a:lnTo>
                  <a:lnTo>
                    <a:pt x="1314" y="294"/>
                  </a:lnTo>
                  <a:lnTo>
                    <a:pt x="1312" y="292"/>
                  </a:lnTo>
                  <a:lnTo>
                    <a:pt x="1308" y="292"/>
                  </a:lnTo>
                  <a:lnTo>
                    <a:pt x="1304" y="292"/>
                  </a:lnTo>
                  <a:lnTo>
                    <a:pt x="1300" y="291"/>
                  </a:lnTo>
                  <a:lnTo>
                    <a:pt x="1300" y="289"/>
                  </a:lnTo>
                  <a:lnTo>
                    <a:pt x="1304" y="288"/>
                  </a:lnTo>
                  <a:lnTo>
                    <a:pt x="1306" y="286"/>
                  </a:lnTo>
                  <a:lnTo>
                    <a:pt x="1308" y="284"/>
                  </a:lnTo>
                  <a:lnTo>
                    <a:pt x="1312" y="283"/>
                  </a:lnTo>
                  <a:lnTo>
                    <a:pt x="1313" y="281"/>
                  </a:lnTo>
                  <a:lnTo>
                    <a:pt x="1315" y="280"/>
                  </a:lnTo>
                  <a:lnTo>
                    <a:pt x="1316" y="280"/>
                  </a:lnTo>
                  <a:lnTo>
                    <a:pt x="1324" y="272"/>
                  </a:lnTo>
                  <a:lnTo>
                    <a:pt x="1328" y="268"/>
                  </a:lnTo>
                  <a:lnTo>
                    <a:pt x="1327" y="267"/>
                  </a:lnTo>
                  <a:lnTo>
                    <a:pt x="1325" y="265"/>
                  </a:lnTo>
                  <a:lnTo>
                    <a:pt x="1324" y="262"/>
                  </a:lnTo>
                  <a:lnTo>
                    <a:pt x="1323" y="260"/>
                  </a:lnTo>
                  <a:lnTo>
                    <a:pt x="1323" y="257"/>
                  </a:lnTo>
                  <a:lnTo>
                    <a:pt x="1324" y="254"/>
                  </a:lnTo>
                  <a:lnTo>
                    <a:pt x="1325" y="251"/>
                  </a:lnTo>
                  <a:lnTo>
                    <a:pt x="1327" y="251"/>
                  </a:lnTo>
                  <a:lnTo>
                    <a:pt x="1331" y="251"/>
                  </a:lnTo>
                  <a:lnTo>
                    <a:pt x="1336" y="249"/>
                  </a:lnTo>
                  <a:lnTo>
                    <a:pt x="1340" y="246"/>
                  </a:lnTo>
                  <a:lnTo>
                    <a:pt x="1346" y="244"/>
                  </a:lnTo>
                  <a:lnTo>
                    <a:pt x="1349" y="242"/>
                  </a:lnTo>
                  <a:lnTo>
                    <a:pt x="1353" y="238"/>
                  </a:lnTo>
                  <a:lnTo>
                    <a:pt x="1356" y="236"/>
                  </a:lnTo>
                  <a:lnTo>
                    <a:pt x="1360" y="235"/>
                  </a:lnTo>
                  <a:lnTo>
                    <a:pt x="1362" y="233"/>
                  </a:lnTo>
                  <a:lnTo>
                    <a:pt x="1364" y="228"/>
                  </a:lnTo>
                  <a:lnTo>
                    <a:pt x="1365" y="224"/>
                  </a:lnTo>
                  <a:lnTo>
                    <a:pt x="1365" y="220"/>
                  </a:lnTo>
                  <a:lnTo>
                    <a:pt x="1368" y="219"/>
                  </a:lnTo>
                  <a:lnTo>
                    <a:pt x="1372" y="216"/>
                  </a:lnTo>
                  <a:lnTo>
                    <a:pt x="1376" y="213"/>
                  </a:lnTo>
                  <a:lnTo>
                    <a:pt x="1378" y="212"/>
                  </a:lnTo>
                  <a:lnTo>
                    <a:pt x="1383" y="210"/>
                  </a:lnTo>
                  <a:lnTo>
                    <a:pt x="1386" y="209"/>
                  </a:lnTo>
                  <a:lnTo>
                    <a:pt x="1389" y="206"/>
                  </a:lnTo>
                  <a:lnTo>
                    <a:pt x="1392" y="204"/>
                  </a:lnTo>
                  <a:lnTo>
                    <a:pt x="1393" y="202"/>
                  </a:lnTo>
                  <a:lnTo>
                    <a:pt x="1394" y="200"/>
                  </a:lnTo>
                  <a:lnTo>
                    <a:pt x="1396" y="196"/>
                  </a:lnTo>
                  <a:lnTo>
                    <a:pt x="1396" y="192"/>
                  </a:lnTo>
                  <a:lnTo>
                    <a:pt x="1397" y="188"/>
                  </a:lnTo>
                  <a:lnTo>
                    <a:pt x="1393" y="180"/>
                  </a:lnTo>
                  <a:lnTo>
                    <a:pt x="1380" y="165"/>
                  </a:lnTo>
                  <a:lnTo>
                    <a:pt x="1379" y="161"/>
                  </a:lnTo>
                  <a:lnTo>
                    <a:pt x="1379" y="156"/>
                  </a:lnTo>
                  <a:lnTo>
                    <a:pt x="1378" y="152"/>
                  </a:lnTo>
                  <a:lnTo>
                    <a:pt x="1378" y="148"/>
                  </a:lnTo>
                  <a:lnTo>
                    <a:pt x="1377" y="144"/>
                  </a:lnTo>
                  <a:lnTo>
                    <a:pt x="1376" y="141"/>
                  </a:lnTo>
                  <a:lnTo>
                    <a:pt x="1371" y="140"/>
                  </a:lnTo>
                  <a:lnTo>
                    <a:pt x="1369" y="142"/>
                  </a:lnTo>
                  <a:lnTo>
                    <a:pt x="1364" y="142"/>
                  </a:lnTo>
                  <a:lnTo>
                    <a:pt x="1363" y="139"/>
                  </a:lnTo>
                  <a:lnTo>
                    <a:pt x="1363" y="134"/>
                  </a:lnTo>
                  <a:lnTo>
                    <a:pt x="1365" y="131"/>
                  </a:lnTo>
                  <a:lnTo>
                    <a:pt x="1367" y="129"/>
                  </a:lnTo>
                  <a:lnTo>
                    <a:pt x="1369" y="125"/>
                  </a:lnTo>
                  <a:lnTo>
                    <a:pt x="1372" y="121"/>
                  </a:lnTo>
                  <a:lnTo>
                    <a:pt x="1375" y="118"/>
                  </a:lnTo>
                  <a:lnTo>
                    <a:pt x="1378" y="115"/>
                  </a:lnTo>
                  <a:lnTo>
                    <a:pt x="1379" y="110"/>
                  </a:lnTo>
                  <a:lnTo>
                    <a:pt x="1377" y="110"/>
                  </a:lnTo>
                  <a:lnTo>
                    <a:pt x="1375" y="110"/>
                  </a:lnTo>
                  <a:lnTo>
                    <a:pt x="1370" y="113"/>
                  </a:lnTo>
                  <a:lnTo>
                    <a:pt x="1365" y="115"/>
                  </a:lnTo>
                  <a:lnTo>
                    <a:pt x="1360" y="117"/>
                  </a:lnTo>
                  <a:lnTo>
                    <a:pt x="1353" y="120"/>
                  </a:lnTo>
                  <a:lnTo>
                    <a:pt x="1346" y="120"/>
                  </a:lnTo>
                  <a:lnTo>
                    <a:pt x="1339" y="120"/>
                  </a:lnTo>
                  <a:lnTo>
                    <a:pt x="1333" y="121"/>
                  </a:lnTo>
                  <a:lnTo>
                    <a:pt x="1325" y="122"/>
                  </a:lnTo>
                  <a:lnTo>
                    <a:pt x="1319" y="125"/>
                  </a:lnTo>
                  <a:lnTo>
                    <a:pt x="1312" y="129"/>
                  </a:lnTo>
                  <a:lnTo>
                    <a:pt x="1307" y="134"/>
                  </a:lnTo>
                  <a:lnTo>
                    <a:pt x="1301" y="140"/>
                  </a:lnTo>
                  <a:lnTo>
                    <a:pt x="1297" y="146"/>
                  </a:lnTo>
                  <a:lnTo>
                    <a:pt x="1292" y="148"/>
                  </a:lnTo>
                  <a:lnTo>
                    <a:pt x="1288" y="150"/>
                  </a:lnTo>
                  <a:lnTo>
                    <a:pt x="1285" y="153"/>
                  </a:lnTo>
                  <a:lnTo>
                    <a:pt x="1283" y="153"/>
                  </a:lnTo>
                  <a:lnTo>
                    <a:pt x="1281" y="152"/>
                  </a:lnTo>
                  <a:lnTo>
                    <a:pt x="1279" y="150"/>
                  </a:lnTo>
                  <a:lnTo>
                    <a:pt x="1276" y="148"/>
                  </a:lnTo>
                  <a:lnTo>
                    <a:pt x="1275" y="146"/>
                  </a:lnTo>
                  <a:lnTo>
                    <a:pt x="1274" y="144"/>
                  </a:lnTo>
                  <a:lnTo>
                    <a:pt x="1276" y="141"/>
                  </a:lnTo>
                  <a:lnTo>
                    <a:pt x="1280" y="138"/>
                  </a:lnTo>
                  <a:lnTo>
                    <a:pt x="1281" y="130"/>
                  </a:lnTo>
                  <a:lnTo>
                    <a:pt x="1280" y="128"/>
                  </a:lnTo>
                  <a:lnTo>
                    <a:pt x="1280" y="124"/>
                  </a:lnTo>
                  <a:lnTo>
                    <a:pt x="1279" y="120"/>
                  </a:lnTo>
                  <a:lnTo>
                    <a:pt x="1277" y="117"/>
                  </a:lnTo>
                  <a:lnTo>
                    <a:pt x="1273" y="114"/>
                  </a:lnTo>
                  <a:lnTo>
                    <a:pt x="1271" y="110"/>
                  </a:lnTo>
                  <a:lnTo>
                    <a:pt x="1268" y="108"/>
                  </a:lnTo>
                  <a:lnTo>
                    <a:pt x="1268" y="106"/>
                  </a:lnTo>
                  <a:lnTo>
                    <a:pt x="1271" y="105"/>
                  </a:lnTo>
                  <a:lnTo>
                    <a:pt x="1272" y="104"/>
                  </a:lnTo>
                  <a:lnTo>
                    <a:pt x="1280" y="101"/>
                  </a:lnTo>
                  <a:lnTo>
                    <a:pt x="1284" y="100"/>
                  </a:lnTo>
                  <a:lnTo>
                    <a:pt x="1288" y="98"/>
                  </a:lnTo>
                  <a:lnTo>
                    <a:pt x="1290" y="97"/>
                  </a:lnTo>
                  <a:lnTo>
                    <a:pt x="1295" y="89"/>
                  </a:lnTo>
                  <a:lnTo>
                    <a:pt x="1299" y="85"/>
                  </a:lnTo>
                  <a:lnTo>
                    <a:pt x="1304" y="84"/>
                  </a:lnTo>
                  <a:lnTo>
                    <a:pt x="1308" y="83"/>
                  </a:lnTo>
                  <a:lnTo>
                    <a:pt x="1314" y="83"/>
                  </a:lnTo>
                  <a:lnTo>
                    <a:pt x="1320" y="82"/>
                  </a:lnTo>
                  <a:lnTo>
                    <a:pt x="1325" y="83"/>
                  </a:lnTo>
                  <a:lnTo>
                    <a:pt x="1332" y="82"/>
                  </a:lnTo>
                  <a:lnTo>
                    <a:pt x="1336" y="78"/>
                  </a:lnTo>
                  <a:lnTo>
                    <a:pt x="1338" y="75"/>
                  </a:lnTo>
                  <a:lnTo>
                    <a:pt x="1339" y="72"/>
                  </a:lnTo>
                  <a:lnTo>
                    <a:pt x="1341" y="67"/>
                  </a:lnTo>
                  <a:lnTo>
                    <a:pt x="1343" y="62"/>
                  </a:lnTo>
                  <a:lnTo>
                    <a:pt x="1344" y="59"/>
                  </a:lnTo>
                  <a:lnTo>
                    <a:pt x="1344" y="54"/>
                  </a:lnTo>
                  <a:lnTo>
                    <a:pt x="1343" y="50"/>
                  </a:lnTo>
                  <a:lnTo>
                    <a:pt x="1339" y="49"/>
                  </a:lnTo>
                  <a:lnTo>
                    <a:pt x="1337" y="49"/>
                  </a:lnTo>
                  <a:lnTo>
                    <a:pt x="1335" y="51"/>
                  </a:lnTo>
                  <a:lnTo>
                    <a:pt x="1333" y="53"/>
                  </a:lnTo>
                  <a:lnTo>
                    <a:pt x="1330" y="54"/>
                  </a:lnTo>
                  <a:lnTo>
                    <a:pt x="1327" y="58"/>
                  </a:lnTo>
                  <a:lnTo>
                    <a:pt x="1323" y="58"/>
                  </a:lnTo>
                  <a:lnTo>
                    <a:pt x="1321" y="61"/>
                  </a:lnTo>
                  <a:lnTo>
                    <a:pt x="1316" y="65"/>
                  </a:lnTo>
                  <a:lnTo>
                    <a:pt x="1311" y="66"/>
                  </a:lnTo>
                  <a:lnTo>
                    <a:pt x="1306" y="65"/>
                  </a:lnTo>
                  <a:lnTo>
                    <a:pt x="1303" y="64"/>
                  </a:lnTo>
                  <a:lnTo>
                    <a:pt x="1299" y="60"/>
                  </a:lnTo>
                  <a:lnTo>
                    <a:pt x="1298" y="57"/>
                  </a:lnTo>
                  <a:lnTo>
                    <a:pt x="1296" y="53"/>
                  </a:lnTo>
                  <a:lnTo>
                    <a:pt x="1291" y="49"/>
                  </a:lnTo>
                  <a:lnTo>
                    <a:pt x="1289" y="43"/>
                  </a:lnTo>
                  <a:lnTo>
                    <a:pt x="1287" y="40"/>
                  </a:lnTo>
                  <a:lnTo>
                    <a:pt x="1287" y="36"/>
                  </a:lnTo>
                  <a:lnTo>
                    <a:pt x="1284" y="32"/>
                  </a:lnTo>
                  <a:lnTo>
                    <a:pt x="1283" y="27"/>
                  </a:lnTo>
                  <a:lnTo>
                    <a:pt x="1283" y="24"/>
                  </a:lnTo>
                  <a:lnTo>
                    <a:pt x="1281" y="20"/>
                  </a:lnTo>
                  <a:lnTo>
                    <a:pt x="1279" y="17"/>
                  </a:lnTo>
                  <a:lnTo>
                    <a:pt x="1275" y="13"/>
                  </a:lnTo>
                  <a:lnTo>
                    <a:pt x="1272" y="11"/>
                  </a:lnTo>
                  <a:lnTo>
                    <a:pt x="1267" y="8"/>
                  </a:lnTo>
                  <a:lnTo>
                    <a:pt x="1265" y="4"/>
                  </a:lnTo>
                  <a:lnTo>
                    <a:pt x="1264" y="2"/>
                  </a:lnTo>
                  <a:lnTo>
                    <a:pt x="1258" y="0"/>
                  </a:lnTo>
                  <a:lnTo>
                    <a:pt x="1255" y="1"/>
                  </a:lnTo>
                  <a:lnTo>
                    <a:pt x="1250" y="2"/>
                  </a:lnTo>
                  <a:lnTo>
                    <a:pt x="1247" y="4"/>
                  </a:lnTo>
                  <a:lnTo>
                    <a:pt x="1243" y="8"/>
                  </a:lnTo>
                  <a:lnTo>
                    <a:pt x="1241" y="9"/>
                  </a:lnTo>
                  <a:lnTo>
                    <a:pt x="1237" y="11"/>
                  </a:lnTo>
                  <a:lnTo>
                    <a:pt x="1233" y="12"/>
                  </a:lnTo>
                  <a:lnTo>
                    <a:pt x="1224" y="13"/>
                  </a:lnTo>
                  <a:lnTo>
                    <a:pt x="1223" y="14"/>
                  </a:lnTo>
                  <a:lnTo>
                    <a:pt x="1220" y="17"/>
                  </a:lnTo>
                  <a:lnTo>
                    <a:pt x="1217" y="19"/>
                  </a:lnTo>
                  <a:lnTo>
                    <a:pt x="1212" y="21"/>
                  </a:lnTo>
                  <a:lnTo>
                    <a:pt x="1204" y="19"/>
                  </a:lnTo>
                  <a:lnTo>
                    <a:pt x="1201" y="19"/>
                  </a:lnTo>
                  <a:lnTo>
                    <a:pt x="1195" y="21"/>
                  </a:lnTo>
                  <a:lnTo>
                    <a:pt x="1192" y="22"/>
                  </a:lnTo>
                  <a:lnTo>
                    <a:pt x="1187" y="25"/>
                  </a:lnTo>
                  <a:lnTo>
                    <a:pt x="1184" y="27"/>
                  </a:lnTo>
                  <a:lnTo>
                    <a:pt x="1179" y="28"/>
                  </a:lnTo>
                  <a:lnTo>
                    <a:pt x="1172" y="29"/>
                  </a:lnTo>
                  <a:lnTo>
                    <a:pt x="1169" y="30"/>
                  </a:lnTo>
                  <a:lnTo>
                    <a:pt x="1163" y="33"/>
                  </a:lnTo>
                  <a:lnTo>
                    <a:pt x="1161" y="37"/>
                  </a:lnTo>
                  <a:lnTo>
                    <a:pt x="1159" y="38"/>
                  </a:lnTo>
                  <a:lnTo>
                    <a:pt x="1156" y="42"/>
                  </a:lnTo>
                  <a:lnTo>
                    <a:pt x="1153" y="43"/>
                  </a:lnTo>
                  <a:lnTo>
                    <a:pt x="1147" y="45"/>
                  </a:lnTo>
                  <a:lnTo>
                    <a:pt x="1136" y="56"/>
                  </a:lnTo>
                  <a:lnTo>
                    <a:pt x="1131" y="57"/>
                  </a:lnTo>
                  <a:lnTo>
                    <a:pt x="1128" y="56"/>
                  </a:lnTo>
                  <a:lnTo>
                    <a:pt x="1123" y="56"/>
                  </a:lnTo>
                  <a:lnTo>
                    <a:pt x="1120" y="53"/>
                  </a:lnTo>
                  <a:lnTo>
                    <a:pt x="1117" y="53"/>
                  </a:lnTo>
                  <a:lnTo>
                    <a:pt x="1116" y="56"/>
                  </a:lnTo>
                  <a:lnTo>
                    <a:pt x="1116" y="59"/>
                  </a:lnTo>
                  <a:lnTo>
                    <a:pt x="1114" y="62"/>
                  </a:lnTo>
                  <a:lnTo>
                    <a:pt x="1112" y="64"/>
                  </a:lnTo>
                  <a:lnTo>
                    <a:pt x="1109" y="65"/>
                  </a:lnTo>
                  <a:lnTo>
                    <a:pt x="1107" y="65"/>
                  </a:lnTo>
                  <a:lnTo>
                    <a:pt x="1106" y="65"/>
                  </a:lnTo>
                  <a:lnTo>
                    <a:pt x="1100" y="62"/>
                  </a:lnTo>
                  <a:lnTo>
                    <a:pt x="1098" y="66"/>
                  </a:lnTo>
                  <a:lnTo>
                    <a:pt x="1097" y="68"/>
                  </a:lnTo>
                  <a:lnTo>
                    <a:pt x="1097" y="69"/>
                  </a:lnTo>
                  <a:lnTo>
                    <a:pt x="1104" y="75"/>
                  </a:lnTo>
                  <a:lnTo>
                    <a:pt x="1105" y="78"/>
                  </a:lnTo>
                  <a:lnTo>
                    <a:pt x="1105" y="83"/>
                  </a:lnTo>
                  <a:lnTo>
                    <a:pt x="1104" y="85"/>
                  </a:lnTo>
                  <a:lnTo>
                    <a:pt x="1099" y="88"/>
                  </a:lnTo>
                  <a:lnTo>
                    <a:pt x="1095" y="89"/>
                  </a:lnTo>
                  <a:lnTo>
                    <a:pt x="1092" y="88"/>
                  </a:lnTo>
                  <a:lnTo>
                    <a:pt x="1090" y="88"/>
                  </a:lnTo>
                  <a:lnTo>
                    <a:pt x="1088" y="90"/>
                  </a:lnTo>
                  <a:lnTo>
                    <a:pt x="1088" y="94"/>
                  </a:lnTo>
                  <a:lnTo>
                    <a:pt x="1088" y="99"/>
                  </a:lnTo>
                  <a:lnTo>
                    <a:pt x="1088" y="102"/>
                  </a:lnTo>
                  <a:lnTo>
                    <a:pt x="1087" y="107"/>
                  </a:lnTo>
                  <a:lnTo>
                    <a:pt x="1084" y="109"/>
                  </a:lnTo>
                  <a:lnTo>
                    <a:pt x="1082" y="112"/>
                  </a:lnTo>
                  <a:lnTo>
                    <a:pt x="1079" y="114"/>
                  </a:lnTo>
                  <a:lnTo>
                    <a:pt x="1074" y="116"/>
                  </a:lnTo>
                  <a:lnTo>
                    <a:pt x="1068" y="117"/>
                  </a:lnTo>
                  <a:lnTo>
                    <a:pt x="1063" y="116"/>
                  </a:lnTo>
                  <a:lnTo>
                    <a:pt x="1050" y="114"/>
                  </a:lnTo>
                  <a:lnTo>
                    <a:pt x="1045" y="113"/>
                  </a:lnTo>
                  <a:lnTo>
                    <a:pt x="1043" y="112"/>
                  </a:lnTo>
                  <a:lnTo>
                    <a:pt x="1042" y="110"/>
                  </a:lnTo>
                  <a:lnTo>
                    <a:pt x="1036" y="108"/>
                  </a:lnTo>
                  <a:lnTo>
                    <a:pt x="1034" y="108"/>
                  </a:lnTo>
                  <a:lnTo>
                    <a:pt x="1029" y="110"/>
                  </a:lnTo>
                  <a:lnTo>
                    <a:pt x="1028" y="112"/>
                  </a:lnTo>
                  <a:lnTo>
                    <a:pt x="1025" y="112"/>
                  </a:lnTo>
                  <a:lnTo>
                    <a:pt x="1021" y="109"/>
                  </a:lnTo>
                  <a:lnTo>
                    <a:pt x="1021" y="106"/>
                  </a:lnTo>
                  <a:lnTo>
                    <a:pt x="1023" y="104"/>
                  </a:lnTo>
                  <a:lnTo>
                    <a:pt x="1023" y="101"/>
                  </a:lnTo>
                  <a:lnTo>
                    <a:pt x="1023" y="98"/>
                  </a:lnTo>
                  <a:lnTo>
                    <a:pt x="1019" y="97"/>
                  </a:lnTo>
                  <a:lnTo>
                    <a:pt x="1009" y="96"/>
                  </a:lnTo>
                  <a:lnTo>
                    <a:pt x="1007" y="96"/>
                  </a:lnTo>
                  <a:lnTo>
                    <a:pt x="1004" y="96"/>
                  </a:lnTo>
                  <a:lnTo>
                    <a:pt x="1000" y="94"/>
                  </a:lnTo>
                  <a:lnTo>
                    <a:pt x="994" y="94"/>
                  </a:lnTo>
                  <a:lnTo>
                    <a:pt x="991" y="93"/>
                  </a:lnTo>
                  <a:lnTo>
                    <a:pt x="986" y="92"/>
                  </a:lnTo>
                  <a:lnTo>
                    <a:pt x="984" y="91"/>
                  </a:lnTo>
                  <a:lnTo>
                    <a:pt x="980" y="89"/>
                  </a:lnTo>
                  <a:lnTo>
                    <a:pt x="977" y="86"/>
                  </a:lnTo>
                  <a:lnTo>
                    <a:pt x="973" y="84"/>
                  </a:lnTo>
                  <a:lnTo>
                    <a:pt x="970" y="83"/>
                  </a:lnTo>
                  <a:lnTo>
                    <a:pt x="968" y="82"/>
                  </a:lnTo>
                  <a:lnTo>
                    <a:pt x="964" y="81"/>
                  </a:lnTo>
                  <a:lnTo>
                    <a:pt x="960" y="80"/>
                  </a:lnTo>
                  <a:lnTo>
                    <a:pt x="956" y="80"/>
                  </a:lnTo>
                  <a:lnTo>
                    <a:pt x="953" y="76"/>
                  </a:lnTo>
                  <a:lnTo>
                    <a:pt x="948" y="75"/>
                  </a:lnTo>
                  <a:lnTo>
                    <a:pt x="946" y="75"/>
                  </a:lnTo>
                  <a:lnTo>
                    <a:pt x="945" y="78"/>
                  </a:lnTo>
                  <a:lnTo>
                    <a:pt x="947" y="81"/>
                  </a:lnTo>
                  <a:lnTo>
                    <a:pt x="952" y="83"/>
                  </a:lnTo>
                  <a:lnTo>
                    <a:pt x="954" y="85"/>
                  </a:lnTo>
                  <a:lnTo>
                    <a:pt x="954" y="89"/>
                  </a:lnTo>
                  <a:lnTo>
                    <a:pt x="952" y="89"/>
                  </a:lnTo>
                  <a:lnTo>
                    <a:pt x="949" y="89"/>
                  </a:lnTo>
                  <a:lnTo>
                    <a:pt x="947" y="88"/>
                  </a:lnTo>
                  <a:lnTo>
                    <a:pt x="944" y="86"/>
                  </a:lnTo>
                  <a:lnTo>
                    <a:pt x="940" y="84"/>
                  </a:lnTo>
                  <a:lnTo>
                    <a:pt x="937" y="83"/>
                  </a:lnTo>
                  <a:lnTo>
                    <a:pt x="932" y="83"/>
                  </a:lnTo>
                  <a:lnTo>
                    <a:pt x="925" y="82"/>
                  </a:lnTo>
                  <a:lnTo>
                    <a:pt x="921" y="80"/>
                  </a:lnTo>
                  <a:lnTo>
                    <a:pt x="916" y="78"/>
                  </a:lnTo>
                  <a:lnTo>
                    <a:pt x="911" y="78"/>
                  </a:lnTo>
                  <a:lnTo>
                    <a:pt x="906" y="80"/>
                  </a:lnTo>
                  <a:lnTo>
                    <a:pt x="901" y="80"/>
                  </a:lnTo>
                  <a:lnTo>
                    <a:pt x="899" y="78"/>
                  </a:lnTo>
                  <a:lnTo>
                    <a:pt x="897" y="74"/>
                  </a:lnTo>
                  <a:lnTo>
                    <a:pt x="896" y="70"/>
                  </a:lnTo>
                  <a:lnTo>
                    <a:pt x="895" y="67"/>
                  </a:lnTo>
                  <a:lnTo>
                    <a:pt x="892" y="61"/>
                  </a:lnTo>
                  <a:lnTo>
                    <a:pt x="888" y="57"/>
                  </a:lnTo>
                  <a:lnTo>
                    <a:pt x="882" y="50"/>
                  </a:lnTo>
                  <a:lnTo>
                    <a:pt x="879" y="48"/>
                  </a:lnTo>
                  <a:lnTo>
                    <a:pt x="874" y="44"/>
                  </a:lnTo>
                  <a:lnTo>
                    <a:pt x="872" y="42"/>
                  </a:lnTo>
                  <a:lnTo>
                    <a:pt x="866" y="38"/>
                  </a:lnTo>
                  <a:lnTo>
                    <a:pt x="863" y="36"/>
                  </a:lnTo>
                  <a:lnTo>
                    <a:pt x="859" y="34"/>
                  </a:lnTo>
                  <a:lnTo>
                    <a:pt x="856" y="30"/>
                  </a:lnTo>
                  <a:lnTo>
                    <a:pt x="851" y="29"/>
                  </a:lnTo>
                  <a:lnTo>
                    <a:pt x="848" y="33"/>
                  </a:lnTo>
                  <a:lnTo>
                    <a:pt x="848" y="36"/>
                  </a:lnTo>
                  <a:lnTo>
                    <a:pt x="847" y="40"/>
                  </a:lnTo>
                  <a:lnTo>
                    <a:pt x="844" y="42"/>
                  </a:lnTo>
                  <a:lnTo>
                    <a:pt x="842" y="44"/>
                  </a:lnTo>
                  <a:lnTo>
                    <a:pt x="839" y="46"/>
                  </a:lnTo>
                  <a:lnTo>
                    <a:pt x="836" y="51"/>
                  </a:lnTo>
                  <a:lnTo>
                    <a:pt x="833" y="57"/>
                  </a:lnTo>
                  <a:lnTo>
                    <a:pt x="831" y="59"/>
                  </a:lnTo>
                  <a:lnTo>
                    <a:pt x="828" y="61"/>
                  </a:lnTo>
                  <a:lnTo>
                    <a:pt x="818" y="64"/>
                  </a:lnTo>
                  <a:lnTo>
                    <a:pt x="815" y="62"/>
                  </a:lnTo>
                  <a:lnTo>
                    <a:pt x="809" y="62"/>
                  </a:lnTo>
                  <a:lnTo>
                    <a:pt x="805" y="62"/>
                  </a:lnTo>
                  <a:lnTo>
                    <a:pt x="801" y="62"/>
                  </a:lnTo>
                  <a:lnTo>
                    <a:pt x="795" y="62"/>
                  </a:lnTo>
                  <a:lnTo>
                    <a:pt x="793" y="62"/>
                  </a:lnTo>
                  <a:lnTo>
                    <a:pt x="789" y="62"/>
                  </a:lnTo>
                  <a:lnTo>
                    <a:pt x="784" y="66"/>
                  </a:lnTo>
                  <a:lnTo>
                    <a:pt x="781" y="67"/>
                  </a:lnTo>
                  <a:lnTo>
                    <a:pt x="779" y="69"/>
                  </a:lnTo>
                  <a:lnTo>
                    <a:pt x="777" y="73"/>
                  </a:lnTo>
                  <a:lnTo>
                    <a:pt x="775" y="76"/>
                  </a:lnTo>
                  <a:lnTo>
                    <a:pt x="773" y="78"/>
                  </a:lnTo>
                  <a:lnTo>
                    <a:pt x="770" y="82"/>
                  </a:lnTo>
                  <a:lnTo>
                    <a:pt x="767" y="83"/>
                  </a:lnTo>
                  <a:lnTo>
                    <a:pt x="761" y="83"/>
                  </a:lnTo>
                  <a:lnTo>
                    <a:pt x="757" y="83"/>
                  </a:lnTo>
                  <a:lnTo>
                    <a:pt x="754" y="85"/>
                  </a:lnTo>
                  <a:lnTo>
                    <a:pt x="753" y="86"/>
                  </a:lnTo>
                  <a:lnTo>
                    <a:pt x="752" y="89"/>
                  </a:lnTo>
                  <a:lnTo>
                    <a:pt x="749" y="91"/>
                  </a:lnTo>
                  <a:lnTo>
                    <a:pt x="747" y="93"/>
                  </a:lnTo>
                  <a:lnTo>
                    <a:pt x="746" y="96"/>
                  </a:lnTo>
                  <a:lnTo>
                    <a:pt x="741" y="98"/>
                  </a:lnTo>
                  <a:lnTo>
                    <a:pt x="733" y="102"/>
                  </a:lnTo>
                  <a:lnTo>
                    <a:pt x="730" y="107"/>
                  </a:lnTo>
                  <a:lnTo>
                    <a:pt x="728" y="112"/>
                  </a:lnTo>
                  <a:lnTo>
                    <a:pt x="725" y="115"/>
                  </a:lnTo>
                  <a:lnTo>
                    <a:pt x="723" y="121"/>
                  </a:lnTo>
                  <a:lnTo>
                    <a:pt x="722" y="124"/>
                  </a:lnTo>
                  <a:lnTo>
                    <a:pt x="719" y="130"/>
                  </a:lnTo>
                  <a:lnTo>
                    <a:pt x="717" y="133"/>
                  </a:lnTo>
                  <a:lnTo>
                    <a:pt x="716" y="136"/>
                  </a:lnTo>
                  <a:lnTo>
                    <a:pt x="713" y="138"/>
                  </a:lnTo>
                  <a:lnTo>
                    <a:pt x="711" y="140"/>
                  </a:lnTo>
                  <a:lnTo>
                    <a:pt x="699" y="149"/>
                  </a:lnTo>
                  <a:lnTo>
                    <a:pt x="687" y="160"/>
                  </a:lnTo>
                  <a:lnTo>
                    <a:pt x="683" y="162"/>
                  </a:lnTo>
                  <a:lnTo>
                    <a:pt x="681" y="163"/>
                  </a:lnTo>
                  <a:lnTo>
                    <a:pt x="677" y="164"/>
                  </a:lnTo>
                  <a:lnTo>
                    <a:pt x="676" y="166"/>
                  </a:lnTo>
                  <a:lnTo>
                    <a:pt x="676" y="170"/>
                  </a:lnTo>
                  <a:lnTo>
                    <a:pt x="675" y="172"/>
                  </a:lnTo>
                  <a:lnTo>
                    <a:pt x="673" y="174"/>
                  </a:lnTo>
                  <a:lnTo>
                    <a:pt x="672" y="178"/>
                  </a:lnTo>
                  <a:lnTo>
                    <a:pt x="674" y="180"/>
                  </a:lnTo>
                  <a:lnTo>
                    <a:pt x="676" y="182"/>
                  </a:lnTo>
                  <a:lnTo>
                    <a:pt x="676" y="184"/>
                  </a:lnTo>
                  <a:lnTo>
                    <a:pt x="676" y="186"/>
                  </a:lnTo>
                  <a:lnTo>
                    <a:pt x="674" y="187"/>
                  </a:lnTo>
                  <a:lnTo>
                    <a:pt x="673" y="188"/>
                  </a:lnTo>
                  <a:lnTo>
                    <a:pt x="667" y="189"/>
                  </a:lnTo>
                  <a:lnTo>
                    <a:pt x="665" y="190"/>
                  </a:lnTo>
                  <a:lnTo>
                    <a:pt x="665" y="194"/>
                  </a:lnTo>
                  <a:lnTo>
                    <a:pt x="664" y="197"/>
                  </a:lnTo>
                  <a:lnTo>
                    <a:pt x="664" y="203"/>
                  </a:lnTo>
                  <a:lnTo>
                    <a:pt x="664" y="206"/>
                  </a:lnTo>
                  <a:lnTo>
                    <a:pt x="663" y="209"/>
                  </a:lnTo>
                  <a:lnTo>
                    <a:pt x="660" y="211"/>
                  </a:lnTo>
                  <a:lnTo>
                    <a:pt x="655" y="213"/>
                  </a:lnTo>
                  <a:lnTo>
                    <a:pt x="652" y="213"/>
                  </a:lnTo>
                  <a:lnTo>
                    <a:pt x="647" y="212"/>
                  </a:lnTo>
                  <a:lnTo>
                    <a:pt x="643" y="211"/>
                  </a:lnTo>
                  <a:lnTo>
                    <a:pt x="643" y="210"/>
                  </a:lnTo>
                  <a:lnTo>
                    <a:pt x="641" y="208"/>
                  </a:lnTo>
                  <a:lnTo>
                    <a:pt x="637" y="206"/>
                  </a:lnTo>
                  <a:lnTo>
                    <a:pt x="634" y="206"/>
                  </a:lnTo>
                  <a:lnTo>
                    <a:pt x="629" y="209"/>
                  </a:lnTo>
                  <a:lnTo>
                    <a:pt x="626" y="210"/>
                  </a:lnTo>
                  <a:lnTo>
                    <a:pt x="625" y="211"/>
                  </a:lnTo>
                  <a:lnTo>
                    <a:pt x="623" y="213"/>
                  </a:lnTo>
                  <a:lnTo>
                    <a:pt x="619" y="216"/>
                  </a:lnTo>
                  <a:lnTo>
                    <a:pt x="617" y="216"/>
                  </a:lnTo>
                  <a:lnTo>
                    <a:pt x="616" y="214"/>
                  </a:lnTo>
                  <a:lnTo>
                    <a:pt x="615" y="214"/>
                  </a:lnTo>
                  <a:lnTo>
                    <a:pt x="612" y="213"/>
                  </a:lnTo>
                  <a:lnTo>
                    <a:pt x="611" y="213"/>
                  </a:lnTo>
                  <a:lnTo>
                    <a:pt x="610" y="212"/>
                  </a:lnTo>
                  <a:lnTo>
                    <a:pt x="609" y="211"/>
                  </a:lnTo>
                  <a:lnTo>
                    <a:pt x="607" y="210"/>
                  </a:lnTo>
                  <a:lnTo>
                    <a:pt x="602" y="210"/>
                  </a:lnTo>
                  <a:lnTo>
                    <a:pt x="597" y="211"/>
                  </a:lnTo>
                  <a:lnTo>
                    <a:pt x="592" y="213"/>
                  </a:lnTo>
                  <a:lnTo>
                    <a:pt x="587" y="213"/>
                  </a:lnTo>
                  <a:lnTo>
                    <a:pt x="585" y="213"/>
                  </a:lnTo>
                  <a:lnTo>
                    <a:pt x="580" y="216"/>
                  </a:lnTo>
                  <a:lnTo>
                    <a:pt x="577" y="217"/>
                  </a:lnTo>
                  <a:lnTo>
                    <a:pt x="573" y="218"/>
                  </a:lnTo>
                  <a:lnTo>
                    <a:pt x="570" y="218"/>
                  </a:lnTo>
                  <a:lnTo>
                    <a:pt x="567" y="218"/>
                  </a:lnTo>
                  <a:lnTo>
                    <a:pt x="563" y="219"/>
                  </a:lnTo>
                  <a:lnTo>
                    <a:pt x="557" y="218"/>
                  </a:lnTo>
                  <a:lnTo>
                    <a:pt x="553" y="217"/>
                  </a:lnTo>
                  <a:lnTo>
                    <a:pt x="548" y="218"/>
                  </a:lnTo>
                  <a:lnTo>
                    <a:pt x="543" y="217"/>
                  </a:lnTo>
                  <a:lnTo>
                    <a:pt x="540" y="216"/>
                  </a:lnTo>
                  <a:lnTo>
                    <a:pt x="539" y="213"/>
                  </a:lnTo>
                  <a:lnTo>
                    <a:pt x="536" y="212"/>
                  </a:lnTo>
                  <a:lnTo>
                    <a:pt x="532" y="212"/>
                  </a:lnTo>
                  <a:lnTo>
                    <a:pt x="531" y="213"/>
                  </a:lnTo>
                  <a:lnTo>
                    <a:pt x="530" y="214"/>
                  </a:lnTo>
                  <a:lnTo>
                    <a:pt x="528" y="216"/>
                  </a:lnTo>
                  <a:lnTo>
                    <a:pt x="527" y="216"/>
                  </a:lnTo>
                  <a:lnTo>
                    <a:pt x="525" y="214"/>
                  </a:lnTo>
                  <a:lnTo>
                    <a:pt x="524" y="213"/>
                  </a:lnTo>
                  <a:lnTo>
                    <a:pt x="522" y="213"/>
                  </a:lnTo>
                  <a:lnTo>
                    <a:pt x="521" y="213"/>
                  </a:lnTo>
                  <a:lnTo>
                    <a:pt x="515" y="216"/>
                  </a:lnTo>
                  <a:lnTo>
                    <a:pt x="513" y="218"/>
                  </a:lnTo>
                  <a:lnTo>
                    <a:pt x="512" y="220"/>
                  </a:lnTo>
                  <a:lnTo>
                    <a:pt x="508" y="221"/>
                  </a:lnTo>
                  <a:lnTo>
                    <a:pt x="505" y="221"/>
                  </a:lnTo>
                  <a:lnTo>
                    <a:pt x="500" y="221"/>
                  </a:lnTo>
                  <a:lnTo>
                    <a:pt x="498" y="221"/>
                  </a:lnTo>
                  <a:lnTo>
                    <a:pt x="496" y="220"/>
                  </a:lnTo>
                  <a:lnTo>
                    <a:pt x="493" y="220"/>
                  </a:lnTo>
                  <a:lnTo>
                    <a:pt x="490" y="220"/>
                  </a:lnTo>
                  <a:lnTo>
                    <a:pt x="489" y="224"/>
                  </a:lnTo>
                  <a:lnTo>
                    <a:pt x="488" y="225"/>
                  </a:lnTo>
                  <a:lnTo>
                    <a:pt x="487" y="228"/>
                  </a:lnTo>
                  <a:lnTo>
                    <a:pt x="484" y="230"/>
                  </a:lnTo>
                  <a:lnTo>
                    <a:pt x="482" y="235"/>
                  </a:lnTo>
                  <a:lnTo>
                    <a:pt x="481" y="238"/>
                  </a:lnTo>
                  <a:lnTo>
                    <a:pt x="479" y="244"/>
                  </a:lnTo>
                  <a:lnTo>
                    <a:pt x="477" y="248"/>
                  </a:lnTo>
                  <a:lnTo>
                    <a:pt x="476" y="250"/>
                  </a:lnTo>
                  <a:lnTo>
                    <a:pt x="474" y="253"/>
                  </a:lnTo>
                  <a:lnTo>
                    <a:pt x="472" y="256"/>
                  </a:lnTo>
                  <a:lnTo>
                    <a:pt x="468" y="260"/>
                  </a:lnTo>
                  <a:lnTo>
                    <a:pt x="465" y="264"/>
                  </a:lnTo>
                  <a:lnTo>
                    <a:pt x="458" y="270"/>
                  </a:lnTo>
                  <a:lnTo>
                    <a:pt x="456" y="272"/>
                  </a:lnTo>
                  <a:lnTo>
                    <a:pt x="453" y="274"/>
                  </a:lnTo>
                  <a:lnTo>
                    <a:pt x="450" y="278"/>
                  </a:lnTo>
                  <a:lnTo>
                    <a:pt x="452" y="282"/>
                  </a:lnTo>
                  <a:lnTo>
                    <a:pt x="457" y="285"/>
                  </a:lnTo>
                  <a:lnTo>
                    <a:pt x="459" y="289"/>
                  </a:lnTo>
                  <a:lnTo>
                    <a:pt x="459" y="293"/>
                  </a:lnTo>
                  <a:lnTo>
                    <a:pt x="460" y="297"/>
                  </a:lnTo>
                  <a:lnTo>
                    <a:pt x="458" y="302"/>
                  </a:lnTo>
                  <a:lnTo>
                    <a:pt x="457" y="306"/>
                  </a:lnTo>
                  <a:lnTo>
                    <a:pt x="455" y="307"/>
                  </a:lnTo>
                  <a:lnTo>
                    <a:pt x="451" y="308"/>
                  </a:lnTo>
                  <a:lnTo>
                    <a:pt x="445" y="309"/>
                  </a:lnTo>
                  <a:lnTo>
                    <a:pt x="439" y="310"/>
                  </a:lnTo>
                  <a:lnTo>
                    <a:pt x="431" y="312"/>
                  </a:lnTo>
                  <a:lnTo>
                    <a:pt x="420" y="313"/>
                  </a:lnTo>
                  <a:lnTo>
                    <a:pt x="416" y="313"/>
                  </a:lnTo>
                  <a:lnTo>
                    <a:pt x="410" y="313"/>
                  </a:lnTo>
                  <a:lnTo>
                    <a:pt x="407" y="313"/>
                  </a:lnTo>
                  <a:lnTo>
                    <a:pt x="403" y="314"/>
                  </a:lnTo>
                  <a:lnTo>
                    <a:pt x="404" y="316"/>
                  </a:lnTo>
                  <a:lnTo>
                    <a:pt x="404" y="322"/>
                  </a:lnTo>
                  <a:lnTo>
                    <a:pt x="405" y="326"/>
                  </a:lnTo>
                  <a:lnTo>
                    <a:pt x="404" y="329"/>
                  </a:lnTo>
                  <a:lnTo>
                    <a:pt x="401" y="332"/>
                  </a:lnTo>
                  <a:lnTo>
                    <a:pt x="396" y="332"/>
                  </a:lnTo>
                  <a:lnTo>
                    <a:pt x="393" y="328"/>
                  </a:lnTo>
                  <a:lnTo>
                    <a:pt x="389" y="324"/>
                  </a:lnTo>
                  <a:lnTo>
                    <a:pt x="384" y="324"/>
                  </a:lnTo>
                  <a:lnTo>
                    <a:pt x="380" y="325"/>
                  </a:lnTo>
                  <a:lnTo>
                    <a:pt x="377" y="326"/>
                  </a:lnTo>
                  <a:lnTo>
                    <a:pt x="375" y="330"/>
                  </a:lnTo>
                  <a:lnTo>
                    <a:pt x="372" y="332"/>
                  </a:lnTo>
                  <a:lnTo>
                    <a:pt x="368" y="344"/>
                  </a:lnTo>
                  <a:lnTo>
                    <a:pt x="359" y="348"/>
                  </a:lnTo>
                  <a:lnTo>
                    <a:pt x="353" y="349"/>
                  </a:lnTo>
                  <a:lnTo>
                    <a:pt x="351" y="350"/>
                  </a:lnTo>
                  <a:lnTo>
                    <a:pt x="348" y="350"/>
                  </a:lnTo>
                  <a:lnTo>
                    <a:pt x="346" y="348"/>
                  </a:lnTo>
                  <a:lnTo>
                    <a:pt x="346" y="345"/>
                  </a:lnTo>
                  <a:lnTo>
                    <a:pt x="344" y="342"/>
                  </a:lnTo>
                  <a:lnTo>
                    <a:pt x="341" y="342"/>
                  </a:lnTo>
                  <a:lnTo>
                    <a:pt x="339" y="344"/>
                  </a:lnTo>
                  <a:lnTo>
                    <a:pt x="336" y="346"/>
                  </a:lnTo>
                  <a:lnTo>
                    <a:pt x="333" y="350"/>
                  </a:lnTo>
                  <a:lnTo>
                    <a:pt x="332" y="352"/>
                  </a:lnTo>
                  <a:lnTo>
                    <a:pt x="325" y="354"/>
                  </a:lnTo>
                  <a:lnTo>
                    <a:pt x="321" y="356"/>
                  </a:lnTo>
                  <a:lnTo>
                    <a:pt x="316" y="360"/>
                  </a:lnTo>
                  <a:lnTo>
                    <a:pt x="314" y="362"/>
                  </a:lnTo>
                  <a:lnTo>
                    <a:pt x="312" y="364"/>
                  </a:lnTo>
                  <a:lnTo>
                    <a:pt x="309" y="366"/>
                  </a:lnTo>
                  <a:lnTo>
                    <a:pt x="307" y="370"/>
                  </a:lnTo>
                  <a:lnTo>
                    <a:pt x="305" y="373"/>
                  </a:lnTo>
                  <a:lnTo>
                    <a:pt x="304" y="377"/>
                  </a:lnTo>
                  <a:lnTo>
                    <a:pt x="305" y="379"/>
                  </a:lnTo>
                  <a:lnTo>
                    <a:pt x="306" y="381"/>
                  </a:lnTo>
                  <a:lnTo>
                    <a:pt x="308" y="384"/>
                  </a:lnTo>
                  <a:lnTo>
                    <a:pt x="313" y="385"/>
                  </a:lnTo>
                  <a:lnTo>
                    <a:pt x="316" y="388"/>
                  </a:lnTo>
                  <a:lnTo>
                    <a:pt x="319" y="392"/>
                  </a:lnTo>
                  <a:lnTo>
                    <a:pt x="319" y="395"/>
                  </a:lnTo>
                  <a:lnTo>
                    <a:pt x="317" y="398"/>
                  </a:lnTo>
                  <a:lnTo>
                    <a:pt x="312" y="405"/>
                  </a:lnTo>
                  <a:lnTo>
                    <a:pt x="308" y="411"/>
                  </a:lnTo>
                  <a:lnTo>
                    <a:pt x="304" y="413"/>
                  </a:lnTo>
                  <a:lnTo>
                    <a:pt x="299" y="414"/>
                  </a:lnTo>
                  <a:lnTo>
                    <a:pt x="295" y="417"/>
                  </a:lnTo>
                  <a:lnTo>
                    <a:pt x="291" y="419"/>
                  </a:lnTo>
                  <a:lnTo>
                    <a:pt x="288" y="421"/>
                  </a:lnTo>
                  <a:lnTo>
                    <a:pt x="285" y="422"/>
                  </a:lnTo>
                  <a:lnTo>
                    <a:pt x="281" y="427"/>
                  </a:lnTo>
                  <a:lnTo>
                    <a:pt x="269" y="438"/>
                  </a:lnTo>
                  <a:lnTo>
                    <a:pt x="267" y="440"/>
                  </a:lnTo>
                  <a:lnTo>
                    <a:pt x="264" y="438"/>
                  </a:lnTo>
                  <a:lnTo>
                    <a:pt x="264" y="437"/>
                  </a:lnTo>
                  <a:lnTo>
                    <a:pt x="265" y="435"/>
                  </a:lnTo>
                  <a:lnTo>
                    <a:pt x="260" y="432"/>
                  </a:lnTo>
                  <a:lnTo>
                    <a:pt x="256" y="435"/>
                  </a:lnTo>
                  <a:lnTo>
                    <a:pt x="253" y="437"/>
                  </a:lnTo>
                  <a:lnTo>
                    <a:pt x="247" y="441"/>
                  </a:lnTo>
                  <a:lnTo>
                    <a:pt x="241" y="443"/>
                  </a:lnTo>
                  <a:lnTo>
                    <a:pt x="237" y="444"/>
                  </a:lnTo>
                  <a:lnTo>
                    <a:pt x="232" y="442"/>
                  </a:lnTo>
                  <a:lnTo>
                    <a:pt x="229" y="442"/>
                  </a:lnTo>
                  <a:lnTo>
                    <a:pt x="226" y="444"/>
                  </a:lnTo>
                  <a:lnTo>
                    <a:pt x="226" y="445"/>
                  </a:lnTo>
                  <a:lnTo>
                    <a:pt x="221" y="450"/>
                  </a:lnTo>
                  <a:lnTo>
                    <a:pt x="217" y="451"/>
                  </a:lnTo>
                  <a:lnTo>
                    <a:pt x="211" y="450"/>
                  </a:lnTo>
                  <a:lnTo>
                    <a:pt x="209" y="450"/>
                  </a:lnTo>
                  <a:lnTo>
                    <a:pt x="205" y="449"/>
                  </a:lnTo>
                  <a:lnTo>
                    <a:pt x="205" y="448"/>
                  </a:lnTo>
                  <a:lnTo>
                    <a:pt x="203" y="443"/>
                  </a:lnTo>
                  <a:lnTo>
                    <a:pt x="201" y="443"/>
                  </a:lnTo>
                  <a:lnTo>
                    <a:pt x="199" y="441"/>
                  </a:lnTo>
                  <a:lnTo>
                    <a:pt x="197" y="438"/>
                  </a:lnTo>
                  <a:lnTo>
                    <a:pt x="196" y="436"/>
                  </a:lnTo>
                  <a:lnTo>
                    <a:pt x="196" y="434"/>
                  </a:lnTo>
                  <a:lnTo>
                    <a:pt x="194" y="429"/>
                  </a:lnTo>
                  <a:lnTo>
                    <a:pt x="193" y="428"/>
                  </a:lnTo>
                  <a:lnTo>
                    <a:pt x="189" y="428"/>
                  </a:lnTo>
                  <a:lnTo>
                    <a:pt x="186" y="428"/>
                  </a:lnTo>
                  <a:lnTo>
                    <a:pt x="184" y="429"/>
                  </a:lnTo>
                  <a:lnTo>
                    <a:pt x="181" y="429"/>
                  </a:lnTo>
                  <a:lnTo>
                    <a:pt x="177" y="432"/>
                  </a:lnTo>
                  <a:lnTo>
                    <a:pt x="169" y="436"/>
                  </a:lnTo>
                  <a:lnTo>
                    <a:pt x="163" y="441"/>
                  </a:lnTo>
                  <a:lnTo>
                    <a:pt x="161" y="442"/>
                  </a:lnTo>
                  <a:lnTo>
                    <a:pt x="157" y="443"/>
                  </a:lnTo>
                  <a:lnTo>
                    <a:pt x="153" y="445"/>
                  </a:lnTo>
                  <a:lnTo>
                    <a:pt x="151" y="448"/>
                  </a:lnTo>
                  <a:lnTo>
                    <a:pt x="145" y="452"/>
                  </a:lnTo>
                  <a:lnTo>
                    <a:pt x="139" y="453"/>
                  </a:lnTo>
                  <a:lnTo>
                    <a:pt x="136" y="456"/>
                  </a:lnTo>
                  <a:lnTo>
                    <a:pt x="133" y="457"/>
                  </a:lnTo>
                  <a:lnTo>
                    <a:pt x="123" y="461"/>
                  </a:lnTo>
                  <a:lnTo>
                    <a:pt x="117" y="464"/>
                  </a:lnTo>
                  <a:lnTo>
                    <a:pt x="111" y="467"/>
                  </a:lnTo>
                  <a:lnTo>
                    <a:pt x="106" y="470"/>
                  </a:lnTo>
                  <a:lnTo>
                    <a:pt x="101" y="473"/>
                  </a:lnTo>
                  <a:lnTo>
                    <a:pt x="98" y="473"/>
                  </a:lnTo>
                  <a:lnTo>
                    <a:pt x="93" y="470"/>
                  </a:lnTo>
                  <a:lnTo>
                    <a:pt x="90" y="470"/>
                  </a:lnTo>
                  <a:lnTo>
                    <a:pt x="88" y="469"/>
                  </a:lnTo>
                  <a:lnTo>
                    <a:pt x="85" y="467"/>
                  </a:lnTo>
                  <a:lnTo>
                    <a:pt x="83" y="465"/>
                  </a:lnTo>
                  <a:lnTo>
                    <a:pt x="82" y="460"/>
                  </a:lnTo>
                  <a:lnTo>
                    <a:pt x="81" y="457"/>
                  </a:lnTo>
                  <a:lnTo>
                    <a:pt x="79" y="454"/>
                  </a:lnTo>
                  <a:lnTo>
                    <a:pt x="76" y="453"/>
                  </a:lnTo>
                  <a:lnTo>
                    <a:pt x="74" y="452"/>
                  </a:lnTo>
                  <a:lnTo>
                    <a:pt x="71" y="450"/>
                  </a:lnTo>
                  <a:lnTo>
                    <a:pt x="67" y="450"/>
                  </a:lnTo>
                  <a:lnTo>
                    <a:pt x="65" y="449"/>
                  </a:lnTo>
                  <a:lnTo>
                    <a:pt x="61" y="450"/>
                  </a:lnTo>
                  <a:lnTo>
                    <a:pt x="56" y="450"/>
                  </a:lnTo>
                  <a:lnTo>
                    <a:pt x="51" y="451"/>
                  </a:lnTo>
                  <a:lnTo>
                    <a:pt x="47" y="451"/>
                  </a:lnTo>
                  <a:lnTo>
                    <a:pt x="45" y="450"/>
                  </a:lnTo>
                  <a:lnTo>
                    <a:pt x="43" y="448"/>
                  </a:lnTo>
                  <a:lnTo>
                    <a:pt x="41" y="445"/>
                  </a:lnTo>
                  <a:lnTo>
                    <a:pt x="36" y="441"/>
                  </a:lnTo>
                  <a:lnTo>
                    <a:pt x="34" y="438"/>
                  </a:lnTo>
                  <a:lnTo>
                    <a:pt x="33" y="436"/>
                  </a:lnTo>
                  <a:lnTo>
                    <a:pt x="31" y="435"/>
                  </a:lnTo>
                  <a:lnTo>
                    <a:pt x="27" y="434"/>
                  </a:lnTo>
                  <a:lnTo>
                    <a:pt x="23" y="435"/>
                  </a:lnTo>
                  <a:lnTo>
                    <a:pt x="20" y="436"/>
                  </a:lnTo>
                  <a:lnTo>
                    <a:pt x="15" y="436"/>
                  </a:lnTo>
                  <a:lnTo>
                    <a:pt x="12" y="436"/>
                  </a:lnTo>
                  <a:lnTo>
                    <a:pt x="9" y="435"/>
                  </a:lnTo>
                  <a:lnTo>
                    <a:pt x="8" y="437"/>
                  </a:lnTo>
                  <a:lnTo>
                    <a:pt x="8" y="441"/>
                  </a:lnTo>
                  <a:lnTo>
                    <a:pt x="9" y="444"/>
                  </a:lnTo>
                  <a:lnTo>
                    <a:pt x="11" y="444"/>
                  </a:lnTo>
                  <a:lnTo>
                    <a:pt x="15" y="446"/>
                  </a:lnTo>
                  <a:lnTo>
                    <a:pt x="16" y="449"/>
                  </a:lnTo>
                  <a:lnTo>
                    <a:pt x="17" y="452"/>
                  </a:lnTo>
                  <a:lnTo>
                    <a:pt x="17" y="456"/>
                  </a:lnTo>
                  <a:lnTo>
                    <a:pt x="16" y="458"/>
                  </a:lnTo>
                  <a:lnTo>
                    <a:pt x="15" y="460"/>
                  </a:lnTo>
                  <a:lnTo>
                    <a:pt x="16" y="462"/>
                  </a:lnTo>
                  <a:lnTo>
                    <a:pt x="16" y="467"/>
                  </a:lnTo>
                  <a:lnTo>
                    <a:pt x="15" y="469"/>
                  </a:lnTo>
                  <a:lnTo>
                    <a:pt x="12" y="473"/>
                  </a:lnTo>
                  <a:lnTo>
                    <a:pt x="11" y="476"/>
                  </a:lnTo>
                  <a:lnTo>
                    <a:pt x="11" y="480"/>
                  </a:lnTo>
                  <a:lnTo>
                    <a:pt x="9" y="482"/>
                  </a:lnTo>
                  <a:lnTo>
                    <a:pt x="5" y="483"/>
                  </a:lnTo>
                  <a:lnTo>
                    <a:pt x="4" y="484"/>
                  </a:lnTo>
                  <a:lnTo>
                    <a:pt x="3" y="490"/>
                  </a:lnTo>
                  <a:lnTo>
                    <a:pt x="2" y="492"/>
                  </a:lnTo>
                  <a:lnTo>
                    <a:pt x="2" y="496"/>
                  </a:lnTo>
                  <a:lnTo>
                    <a:pt x="2" y="499"/>
                  </a:lnTo>
                  <a:lnTo>
                    <a:pt x="2" y="502"/>
                  </a:lnTo>
                  <a:lnTo>
                    <a:pt x="2" y="504"/>
                  </a:lnTo>
                  <a:lnTo>
                    <a:pt x="0" y="509"/>
                  </a:lnTo>
                  <a:lnTo>
                    <a:pt x="0" y="513"/>
                  </a:lnTo>
                  <a:lnTo>
                    <a:pt x="1" y="515"/>
                  </a:lnTo>
                  <a:lnTo>
                    <a:pt x="2" y="516"/>
                  </a:lnTo>
                  <a:lnTo>
                    <a:pt x="3" y="518"/>
                  </a:lnTo>
                  <a:lnTo>
                    <a:pt x="4" y="521"/>
                  </a:lnTo>
                  <a:lnTo>
                    <a:pt x="4" y="522"/>
                  </a:lnTo>
                  <a:lnTo>
                    <a:pt x="7" y="524"/>
                  </a:lnTo>
                  <a:lnTo>
                    <a:pt x="8" y="525"/>
                  </a:lnTo>
                  <a:lnTo>
                    <a:pt x="11" y="526"/>
                  </a:lnTo>
                  <a:lnTo>
                    <a:pt x="11" y="529"/>
                  </a:lnTo>
                  <a:lnTo>
                    <a:pt x="13" y="531"/>
                  </a:lnTo>
                  <a:lnTo>
                    <a:pt x="16" y="532"/>
                  </a:lnTo>
                  <a:lnTo>
                    <a:pt x="17" y="534"/>
                  </a:lnTo>
                  <a:lnTo>
                    <a:pt x="18" y="537"/>
                  </a:lnTo>
                  <a:lnTo>
                    <a:pt x="24" y="540"/>
                  </a:lnTo>
                  <a:lnTo>
                    <a:pt x="27" y="540"/>
                  </a:lnTo>
                  <a:lnTo>
                    <a:pt x="28" y="540"/>
                  </a:lnTo>
                  <a:lnTo>
                    <a:pt x="32" y="540"/>
                  </a:lnTo>
                  <a:lnTo>
                    <a:pt x="33" y="539"/>
                  </a:lnTo>
                  <a:lnTo>
                    <a:pt x="36" y="539"/>
                  </a:lnTo>
                  <a:lnTo>
                    <a:pt x="39" y="540"/>
                  </a:lnTo>
                  <a:lnTo>
                    <a:pt x="39" y="545"/>
                  </a:lnTo>
                  <a:lnTo>
                    <a:pt x="41" y="548"/>
                  </a:lnTo>
                  <a:lnTo>
                    <a:pt x="43" y="549"/>
                  </a:lnTo>
                  <a:lnTo>
                    <a:pt x="45" y="549"/>
                  </a:lnTo>
                  <a:lnTo>
                    <a:pt x="48" y="548"/>
                  </a:lnTo>
                  <a:lnTo>
                    <a:pt x="52" y="548"/>
                  </a:lnTo>
                  <a:lnTo>
                    <a:pt x="56" y="547"/>
                  </a:lnTo>
                  <a:lnTo>
                    <a:pt x="60" y="545"/>
                  </a:lnTo>
                  <a:lnTo>
                    <a:pt x="64" y="544"/>
                  </a:lnTo>
                  <a:lnTo>
                    <a:pt x="68" y="544"/>
                  </a:lnTo>
                  <a:lnTo>
                    <a:pt x="73" y="545"/>
                  </a:lnTo>
                  <a:lnTo>
                    <a:pt x="75" y="547"/>
                  </a:lnTo>
                  <a:lnTo>
                    <a:pt x="77" y="548"/>
                  </a:lnTo>
                  <a:lnTo>
                    <a:pt x="82" y="547"/>
                  </a:lnTo>
                  <a:lnTo>
                    <a:pt x="85" y="546"/>
                  </a:lnTo>
                  <a:lnTo>
                    <a:pt x="91" y="546"/>
                  </a:lnTo>
                  <a:lnTo>
                    <a:pt x="96" y="544"/>
                  </a:lnTo>
                  <a:lnTo>
                    <a:pt x="99" y="542"/>
                  </a:lnTo>
                  <a:lnTo>
                    <a:pt x="101" y="542"/>
                  </a:lnTo>
                  <a:lnTo>
                    <a:pt x="105" y="544"/>
                  </a:lnTo>
                  <a:lnTo>
                    <a:pt x="106" y="545"/>
                  </a:lnTo>
                  <a:lnTo>
                    <a:pt x="108" y="546"/>
                  </a:lnTo>
                  <a:lnTo>
                    <a:pt x="115" y="545"/>
                  </a:lnTo>
                  <a:lnTo>
                    <a:pt x="117" y="545"/>
                  </a:lnTo>
                  <a:lnTo>
                    <a:pt x="121" y="548"/>
                  </a:lnTo>
                  <a:lnTo>
                    <a:pt x="122" y="552"/>
                  </a:lnTo>
                  <a:lnTo>
                    <a:pt x="123" y="555"/>
                  </a:lnTo>
                  <a:lnTo>
                    <a:pt x="125" y="557"/>
                  </a:lnTo>
                  <a:lnTo>
                    <a:pt x="129" y="560"/>
                  </a:lnTo>
                  <a:lnTo>
                    <a:pt x="130" y="563"/>
                  </a:lnTo>
                  <a:lnTo>
                    <a:pt x="130" y="566"/>
                  </a:lnTo>
                  <a:lnTo>
                    <a:pt x="129" y="572"/>
                  </a:lnTo>
                  <a:lnTo>
                    <a:pt x="130" y="579"/>
                  </a:lnTo>
                  <a:lnTo>
                    <a:pt x="132" y="580"/>
                  </a:lnTo>
                  <a:lnTo>
                    <a:pt x="135" y="582"/>
                  </a:lnTo>
                  <a:lnTo>
                    <a:pt x="137" y="584"/>
                  </a:lnTo>
                  <a:lnTo>
                    <a:pt x="140" y="586"/>
                  </a:lnTo>
                  <a:lnTo>
                    <a:pt x="143" y="587"/>
                  </a:lnTo>
                  <a:lnTo>
                    <a:pt x="144" y="588"/>
                  </a:lnTo>
                  <a:lnTo>
                    <a:pt x="147" y="589"/>
                  </a:lnTo>
                  <a:lnTo>
                    <a:pt x="149" y="592"/>
                  </a:lnTo>
                  <a:lnTo>
                    <a:pt x="151" y="593"/>
                  </a:lnTo>
                  <a:lnTo>
                    <a:pt x="153" y="595"/>
                  </a:lnTo>
                  <a:lnTo>
                    <a:pt x="155" y="596"/>
                  </a:lnTo>
                  <a:lnTo>
                    <a:pt x="157" y="596"/>
                  </a:lnTo>
                  <a:lnTo>
                    <a:pt x="159" y="598"/>
                  </a:lnTo>
                  <a:lnTo>
                    <a:pt x="157" y="601"/>
                  </a:lnTo>
                  <a:lnTo>
                    <a:pt x="154" y="602"/>
                  </a:lnTo>
                  <a:lnTo>
                    <a:pt x="149" y="602"/>
                  </a:lnTo>
                  <a:lnTo>
                    <a:pt x="145" y="600"/>
                  </a:lnTo>
                  <a:lnTo>
                    <a:pt x="141" y="597"/>
                  </a:lnTo>
                  <a:lnTo>
                    <a:pt x="139" y="597"/>
                  </a:lnTo>
                  <a:lnTo>
                    <a:pt x="136" y="597"/>
                  </a:lnTo>
                  <a:lnTo>
                    <a:pt x="133" y="600"/>
                  </a:lnTo>
                  <a:lnTo>
                    <a:pt x="133" y="601"/>
                  </a:lnTo>
                  <a:lnTo>
                    <a:pt x="133" y="602"/>
                  </a:lnTo>
                  <a:lnTo>
                    <a:pt x="136" y="604"/>
                  </a:lnTo>
                  <a:lnTo>
                    <a:pt x="138" y="605"/>
                  </a:lnTo>
                  <a:lnTo>
                    <a:pt x="139" y="609"/>
                  </a:lnTo>
                  <a:lnTo>
                    <a:pt x="137" y="611"/>
                  </a:lnTo>
                  <a:lnTo>
                    <a:pt x="136" y="613"/>
                  </a:lnTo>
                  <a:lnTo>
                    <a:pt x="133" y="616"/>
                  </a:lnTo>
                  <a:lnTo>
                    <a:pt x="131" y="620"/>
                  </a:lnTo>
                  <a:lnTo>
                    <a:pt x="130" y="622"/>
                  </a:lnTo>
                  <a:lnTo>
                    <a:pt x="129" y="625"/>
                  </a:lnTo>
                  <a:lnTo>
                    <a:pt x="127" y="630"/>
                  </a:lnTo>
                  <a:lnTo>
                    <a:pt x="125" y="636"/>
                  </a:lnTo>
                  <a:lnTo>
                    <a:pt x="125" y="642"/>
                  </a:lnTo>
                  <a:lnTo>
                    <a:pt x="125" y="644"/>
                  </a:lnTo>
                  <a:lnTo>
                    <a:pt x="127" y="648"/>
                  </a:lnTo>
                  <a:lnTo>
                    <a:pt x="127" y="651"/>
                  </a:lnTo>
                  <a:lnTo>
                    <a:pt x="127" y="654"/>
                  </a:lnTo>
                  <a:lnTo>
                    <a:pt x="128" y="658"/>
                  </a:lnTo>
                  <a:lnTo>
                    <a:pt x="130" y="659"/>
                  </a:lnTo>
                  <a:lnTo>
                    <a:pt x="133" y="662"/>
                  </a:lnTo>
                  <a:lnTo>
                    <a:pt x="136" y="664"/>
                  </a:lnTo>
                  <a:lnTo>
                    <a:pt x="138" y="666"/>
                  </a:lnTo>
                  <a:lnTo>
                    <a:pt x="139" y="668"/>
                  </a:lnTo>
                  <a:lnTo>
                    <a:pt x="141" y="670"/>
                  </a:lnTo>
                  <a:lnTo>
                    <a:pt x="144" y="673"/>
                  </a:lnTo>
                  <a:lnTo>
                    <a:pt x="145" y="675"/>
                  </a:lnTo>
                  <a:lnTo>
                    <a:pt x="148" y="677"/>
                  </a:lnTo>
                  <a:lnTo>
                    <a:pt x="149" y="678"/>
                  </a:lnTo>
                  <a:lnTo>
                    <a:pt x="151" y="682"/>
                  </a:lnTo>
                  <a:lnTo>
                    <a:pt x="151" y="685"/>
                  </a:lnTo>
                  <a:lnTo>
                    <a:pt x="151" y="688"/>
                  </a:lnTo>
                  <a:lnTo>
                    <a:pt x="149" y="690"/>
                  </a:lnTo>
                  <a:lnTo>
                    <a:pt x="151" y="693"/>
                  </a:lnTo>
                  <a:lnTo>
                    <a:pt x="152" y="694"/>
                  </a:lnTo>
                  <a:lnTo>
                    <a:pt x="153" y="696"/>
                  </a:lnTo>
                  <a:lnTo>
                    <a:pt x="153" y="698"/>
                  </a:lnTo>
                  <a:lnTo>
                    <a:pt x="153" y="699"/>
                  </a:lnTo>
                  <a:lnTo>
                    <a:pt x="151" y="698"/>
                  </a:lnTo>
                  <a:lnTo>
                    <a:pt x="148" y="700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39" name="NG"/>
            <p:cNvSpPr>
              <a:spLocks/>
            </p:cNvSpPr>
            <p:nvPr/>
          </p:nvSpPr>
          <p:spPr bwMode="auto">
            <a:xfrm>
              <a:off x="8117096" y="2999478"/>
              <a:ext cx="212662" cy="189531"/>
            </a:xfrm>
            <a:custGeom>
              <a:avLst/>
              <a:gdLst>
                <a:gd name="T0" fmla="*/ 513 w 528"/>
                <a:gd name="T1" fmla="*/ 81 h 495"/>
                <a:gd name="T2" fmla="*/ 498 w 528"/>
                <a:gd name="T3" fmla="*/ 65 h 495"/>
                <a:gd name="T4" fmla="*/ 503 w 528"/>
                <a:gd name="T5" fmla="*/ 46 h 495"/>
                <a:gd name="T6" fmla="*/ 496 w 528"/>
                <a:gd name="T7" fmla="*/ 32 h 495"/>
                <a:gd name="T8" fmla="*/ 495 w 528"/>
                <a:gd name="T9" fmla="*/ 19 h 495"/>
                <a:gd name="T10" fmla="*/ 495 w 528"/>
                <a:gd name="T11" fmla="*/ 6 h 495"/>
                <a:gd name="T12" fmla="*/ 455 w 528"/>
                <a:gd name="T13" fmla="*/ 22 h 495"/>
                <a:gd name="T14" fmla="*/ 433 w 528"/>
                <a:gd name="T15" fmla="*/ 23 h 495"/>
                <a:gd name="T16" fmla="*/ 404 w 528"/>
                <a:gd name="T17" fmla="*/ 25 h 495"/>
                <a:gd name="T18" fmla="*/ 381 w 528"/>
                <a:gd name="T19" fmla="*/ 61 h 495"/>
                <a:gd name="T20" fmla="*/ 341 w 528"/>
                <a:gd name="T21" fmla="*/ 81 h 495"/>
                <a:gd name="T22" fmla="*/ 308 w 528"/>
                <a:gd name="T23" fmla="*/ 94 h 495"/>
                <a:gd name="T24" fmla="*/ 283 w 528"/>
                <a:gd name="T25" fmla="*/ 111 h 495"/>
                <a:gd name="T26" fmla="*/ 255 w 528"/>
                <a:gd name="T27" fmla="*/ 150 h 495"/>
                <a:gd name="T28" fmla="*/ 248 w 528"/>
                <a:gd name="T29" fmla="*/ 134 h 495"/>
                <a:gd name="T30" fmla="*/ 241 w 528"/>
                <a:gd name="T31" fmla="*/ 124 h 495"/>
                <a:gd name="T32" fmla="*/ 220 w 528"/>
                <a:gd name="T33" fmla="*/ 156 h 495"/>
                <a:gd name="T34" fmla="*/ 212 w 528"/>
                <a:gd name="T35" fmla="*/ 187 h 495"/>
                <a:gd name="T36" fmla="*/ 178 w 528"/>
                <a:gd name="T37" fmla="*/ 221 h 495"/>
                <a:gd name="T38" fmla="*/ 167 w 528"/>
                <a:gd name="T39" fmla="*/ 255 h 495"/>
                <a:gd name="T40" fmla="*/ 159 w 528"/>
                <a:gd name="T41" fmla="*/ 278 h 495"/>
                <a:gd name="T42" fmla="*/ 156 w 528"/>
                <a:gd name="T43" fmla="*/ 307 h 495"/>
                <a:gd name="T44" fmla="*/ 135 w 528"/>
                <a:gd name="T45" fmla="*/ 312 h 495"/>
                <a:gd name="T46" fmla="*/ 105 w 528"/>
                <a:gd name="T47" fmla="*/ 309 h 495"/>
                <a:gd name="T48" fmla="*/ 91 w 528"/>
                <a:gd name="T49" fmla="*/ 302 h 495"/>
                <a:gd name="T50" fmla="*/ 79 w 528"/>
                <a:gd name="T51" fmla="*/ 325 h 495"/>
                <a:gd name="T52" fmla="*/ 50 w 528"/>
                <a:gd name="T53" fmla="*/ 356 h 495"/>
                <a:gd name="T54" fmla="*/ 17 w 528"/>
                <a:gd name="T55" fmla="*/ 373 h 495"/>
                <a:gd name="T56" fmla="*/ 0 w 528"/>
                <a:gd name="T57" fmla="*/ 407 h 495"/>
                <a:gd name="T58" fmla="*/ 13 w 528"/>
                <a:gd name="T59" fmla="*/ 444 h 495"/>
                <a:gd name="T60" fmla="*/ 25 w 528"/>
                <a:gd name="T61" fmla="*/ 468 h 495"/>
                <a:gd name="T62" fmla="*/ 37 w 528"/>
                <a:gd name="T63" fmla="*/ 487 h 495"/>
                <a:gd name="T64" fmla="*/ 52 w 528"/>
                <a:gd name="T65" fmla="*/ 491 h 495"/>
                <a:gd name="T66" fmla="*/ 64 w 528"/>
                <a:gd name="T67" fmla="*/ 489 h 495"/>
                <a:gd name="T68" fmla="*/ 84 w 528"/>
                <a:gd name="T69" fmla="*/ 461 h 495"/>
                <a:gd name="T70" fmla="*/ 106 w 528"/>
                <a:gd name="T71" fmla="*/ 440 h 495"/>
                <a:gd name="T72" fmla="*/ 105 w 528"/>
                <a:gd name="T73" fmla="*/ 415 h 495"/>
                <a:gd name="T74" fmla="*/ 117 w 528"/>
                <a:gd name="T75" fmla="*/ 407 h 495"/>
                <a:gd name="T76" fmla="*/ 155 w 528"/>
                <a:gd name="T77" fmla="*/ 408 h 495"/>
                <a:gd name="T78" fmla="*/ 181 w 528"/>
                <a:gd name="T79" fmla="*/ 408 h 495"/>
                <a:gd name="T80" fmla="*/ 204 w 528"/>
                <a:gd name="T81" fmla="*/ 406 h 495"/>
                <a:gd name="T82" fmla="*/ 232 w 528"/>
                <a:gd name="T83" fmla="*/ 414 h 495"/>
                <a:gd name="T84" fmla="*/ 253 w 528"/>
                <a:gd name="T85" fmla="*/ 412 h 495"/>
                <a:gd name="T86" fmla="*/ 285 w 528"/>
                <a:gd name="T87" fmla="*/ 395 h 495"/>
                <a:gd name="T88" fmla="*/ 312 w 528"/>
                <a:gd name="T89" fmla="*/ 380 h 495"/>
                <a:gd name="T90" fmla="*/ 331 w 528"/>
                <a:gd name="T91" fmla="*/ 361 h 495"/>
                <a:gd name="T92" fmla="*/ 336 w 528"/>
                <a:gd name="T93" fmla="*/ 373 h 495"/>
                <a:gd name="T94" fmla="*/ 327 w 528"/>
                <a:gd name="T95" fmla="*/ 397 h 495"/>
                <a:gd name="T96" fmla="*/ 322 w 528"/>
                <a:gd name="T97" fmla="*/ 414 h 495"/>
                <a:gd name="T98" fmla="*/ 353 w 528"/>
                <a:gd name="T99" fmla="*/ 428 h 495"/>
                <a:gd name="T100" fmla="*/ 376 w 528"/>
                <a:gd name="T101" fmla="*/ 420 h 495"/>
                <a:gd name="T102" fmla="*/ 397 w 528"/>
                <a:gd name="T103" fmla="*/ 406 h 495"/>
                <a:gd name="T104" fmla="*/ 421 w 528"/>
                <a:gd name="T105" fmla="*/ 384 h 495"/>
                <a:gd name="T106" fmla="*/ 457 w 528"/>
                <a:gd name="T107" fmla="*/ 337 h 495"/>
                <a:gd name="T108" fmla="*/ 456 w 528"/>
                <a:gd name="T109" fmla="*/ 295 h 495"/>
                <a:gd name="T110" fmla="*/ 491 w 528"/>
                <a:gd name="T111" fmla="*/ 261 h 495"/>
                <a:gd name="T112" fmla="*/ 480 w 528"/>
                <a:gd name="T113" fmla="*/ 216 h 495"/>
                <a:gd name="T114" fmla="*/ 471 w 528"/>
                <a:gd name="T115" fmla="*/ 160 h 495"/>
                <a:gd name="T116" fmla="*/ 487 w 528"/>
                <a:gd name="T117" fmla="*/ 112 h 495"/>
                <a:gd name="T118" fmla="*/ 521 w 528"/>
                <a:gd name="T119" fmla="*/ 9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8" h="495">
                  <a:moveTo>
                    <a:pt x="528" y="101"/>
                  </a:moveTo>
                  <a:lnTo>
                    <a:pt x="525" y="96"/>
                  </a:lnTo>
                  <a:lnTo>
                    <a:pt x="524" y="94"/>
                  </a:lnTo>
                  <a:lnTo>
                    <a:pt x="523" y="91"/>
                  </a:lnTo>
                  <a:lnTo>
                    <a:pt x="522" y="88"/>
                  </a:lnTo>
                  <a:lnTo>
                    <a:pt x="521" y="87"/>
                  </a:lnTo>
                  <a:lnTo>
                    <a:pt x="519" y="85"/>
                  </a:lnTo>
                  <a:lnTo>
                    <a:pt x="516" y="84"/>
                  </a:lnTo>
                  <a:lnTo>
                    <a:pt x="513" y="81"/>
                  </a:lnTo>
                  <a:lnTo>
                    <a:pt x="511" y="80"/>
                  </a:lnTo>
                  <a:lnTo>
                    <a:pt x="507" y="79"/>
                  </a:lnTo>
                  <a:lnTo>
                    <a:pt x="505" y="78"/>
                  </a:lnTo>
                  <a:lnTo>
                    <a:pt x="504" y="77"/>
                  </a:lnTo>
                  <a:lnTo>
                    <a:pt x="500" y="75"/>
                  </a:lnTo>
                  <a:lnTo>
                    <a:pt x="499" y="71"/>
                  </a:lnTo>
                  <a:lnTo>
                    <a:pt x="498" y="70"/>
                  </a:lnTo>
                  <a:lnTo>
                    <a:pt x="498" y="68"/>
                  </a:lnTo>
                  <a:lnTo>
                    <a:pt x="498" y="65"/>
                  </a:lnTo>
                  <a:lnTo>
                    <a:pt x="500" y="62"/>
                  </a:lnTo>
                  <a:lnTo>
                    <a:pt x="501" y="60"/>
                  </a:lnTo>
                  <a:lnTo>
                    <a:pt x="505" y="56"/>
                  </a:lnTo>
                  <a:lnTo>
                    <a:pt x="505" y="54"/>
                  </a:lnTo>
                  <a:lnTo>
                    <a:pt x="505" y="52"/>
                  </a:lnTo>
                  <a:lnTo>
                    <a:pt x="504" y="51"/>
                  </a:lnTo>
                  <a:lnTo>
                    <a:pt x="503" y="48"/>
                  </a:lnTo>
                  <a:lnTo>
                    <a:pt x="501" y="46"/>
                  </a:lnTo>
                  <a:lnTo>
                    <a:pt x="503" y="46"/>
                  </a:lnTo>
                  <a:lnTo>
                    <a:pt x="504" y="45"/>
                  </a:lnTo>
                  <a:lnTo>
                    <a:pt x="504" y="41"/>
                  </a:lnTo>
                  <a:lnTo>
                    <a:pt x="504" y="40"/>
                  </a:lnTo>
                  <a:lnTo>
                    <a:pt x="503" y="39"/>
                  </a:lnTo>
                  <a:lnTo>
                    <a:pt x="500" y="38"/>
                  </a:lnTo>
                  <a:lnTo>
                    <a:pt x="497" y="36"/>
                  </a:lnTo>
                  <a:lnTo>
                    <a:pt x="496" y="35"/>
                  </a:lnTo>
                  <a:lnTo>
                    <a:pt x="496" y="33"/>
                  </a:lnTo>
                  <a:lnTo>
                    <a:pt x="496" y="32"/>
                  </a:lnTo>
                  <a:lnTo>
                    <a:pt x="496" y="30"/>
                  </a:lnTo>
                  <a:lnTo>
                    <a:pt x="496" y="28"/>
                  </a:lnTo>
                  <a:lnTo>
                    <a:pt x="495" y="27"/>
                  </a:lnTo>
                  <a:lnTo>
                    <a:pt x="492" y="24"/>
                  </a:lnTo>
                  <a:lnTo>
                    <a:pt x="491" y="24"/>
                  </a:lnTo>
                  <a:lnTo>
                    <a:pt x="490" y="22"/>
                  </a:lnTo>
                  <a:lnTo>
                    <a:pt x="491" y="20"/>
                  </a:lnTo>
                  <a:lnTo>
                    <a:pt x="492" y="20"/>
                  </a:lnTo>
                  <a:lnTo>
                    <a:pt x="495" y="19"/>
                  </a:lnTo>
                  <a:lnTo>
                    <a:pt x="497" y="16"/>
                  </a:lnTo>
                  <a:lnTo>
                    <a:pt x="498" y="16"/>
                  </a:lnTo>
                  <a:lnTo>
                    <a:pt x="498" y="15"/>
                  </a:lnTo>
                  <a:lnTo>
                    <a:pt x="498" y="14"/>
                  </a:lnTo>
                  <a:lnTo>
                    <a:pt x="498" y="13"/>
                  </a:lnTo>
                  <a:lnTo>
                    <a:pt x="497" y="12"/>
                  </a:lnTo>
                  <a:lnTo>
                    <a:pt x="495" y="9"/>
                  </a:lnTo>
                  <a:lnTo>
                    <a:pt x="495" y="8"/>
                  </a:lnTo>
                  <a:lnTo>
                    <a:pt x="495" y="6"/>
                  </a:lnTo>
                  <a:lnTo>
                    <a:pt x="496" y="3"/>
                  </a:lnTo>
                  <a:lnTo>
                    <a:pt x="496" y="0"/>
                  </a:lnTo>
                  <a:lnTo>
                    <a:pt x="488" y="5"/>
                  </a:lnTo>
                  <a:lnTo>
                    <a:pt x="473" y="17"/>
                  </a:lnTo>
                  <a:lnTo>
                    <a:pt x="467" y="20"/>
                  </a:lnTo>
                  <a:lnTo>
                    <a:pt x="463" y="21"/>
                  </a:lnTo>
                  <a:lnTo>
                    <a:pt x="459" y="21"/>
                  </a:lnTo>
                  <a:lnTo>
                    <a:pt x="457" y="22"/>
                  </a:lnTo>
                  <a:lnTo>
                    <a:pt x="455" y="22"/>
                  </a:lnTo>
                  <a:lnTo>
                    <a:pt x="451" y="22"/>
                  </a:lnTo>
                  <a:lnTo>
                    <a:pt x="449" y="23"/>
                  </a:lnTo>
                  <a:lnTo>
                    <a:pt x="445" y="25"/>
                  </a:lnTo>
                  <a:lnTo>
                    <a:pt x="443" y="27"/>
                  </a:lnTo>
                  <a:lnTo>
                    <a:pt x="442" y="28"/>
                  </a:lnTo>
                  <a:lnTo>
                    <a:pt x="440" y="27"/>
                  </a:lnTo>
                  <a:lnTo>
                    <a:pt x="437" y="27"/>
                  </a:lnTo>
                  <a:lnTo>
                    <a:pt x="435" y="24"/>
                  </a:lnTo>
                  <a:lnTo>
                    <a:pt x="433" y="23"/>
                  </a:lnTo>
                  <a:lnTo>
                    <a:pt x="428" y="22"/>
                  </a:lnTo>
                  <a:lnTo>
                    <a:pt x="426" y="22"/>
                  </a:lnTo>
                  <a:lnTo>
                    <a:pt x="424" y="22"/>
                  </a:lnTo>
                  <a:lnTo>
                    <a:pt x="420" y="21"/>
                  </a:lnTo>
                  <a:lnTo>
                    <a:pt x="417" y="21"/>
                  </a:lnTo>
                  <a:lnTo>
                    <a:pt x="413" y="22"/>
                  </a:lnTo>
                  <a:lnTo>
                    <a:pt x="408" y="23"/>
                  </a:lnTo>
                  <a:lnTo>
                    <a:pt x="405" y="24"/>
                  </a:lnTo>
                  <a:lnTo>
                    <a:pt x="404" y="25"/>
                  </a:lnTo>
                  <a:lnTo>
                    <a:pt x="402" y="27"/>
                  </a:lnTo>
                  <a:lnTo>
                    <a:pt x="401" y="29"/>
                  </a:lnTo>
                  <a:lnTo>
                    <a:pt x="400" y="30"/>
                  </a:lnTo>
                  <a:lnTo>
                    <a:pt x="399" y="32"/>
                  </a:lnTo>
                  <a:lnTo>
                    <a:pt x="397" y="35"/>
                  </a:lnTo>
                  <a:lnTo>
                    <a:pt x="396" y="40"/>
                  </a:lnTo>
                  <a:lnTo>
                    <a:pt x="391" y="48"/>
                  </a:lnTo>
                  <a:lnTo>
                    <a:pt x="384" y="57"/>
                  </a:lnTo>
                  <a:lnTo>
                    <a:pt x="381" y="61"/>
                  </a:lnTo>
                  <a:lnTo>
                    <a:pt x="379" y="62"/>
                  </a:lnTo>
                  <a:lnTo>
                    <a:pt x="376" y="64"/>
                  </a:lnTo>
                  <a:lnTo>
                    <a:pt x="371" y="68"/>
                  </a:lnTo>
                  <a:lnTo>
                    <a:pt x="367" y="70"/>
                  </a:lnTo>
                  <a:lnTo>
                    <a:pt x="364" y="72"/>
                  </a:lnTo>
                  <a:lnTo>
                    <a:pt x="362" y="73"/>
                  </a:lnTo>
                  <a:lnTo>
                    <a:pt x="359" y="75"/>
                  </a:lnTo>
                  <a:lnTo>
                    <a:pt x="345" y="79"/>
                  </a:lnTo>
                  <a:lnTo>
                    <a:pt x="341" y="81"/>
                  </a:lnTo>
                  <a:lnTo>
                    <a:pt x="337" y="83"/>
                  </a:lnTo>
                  <a:lnTo>
                    <a:pt x="335" y="84"/>
                  </a:lnTo>
                  <a:lnTo>
                    <a:pt x="328" y="86"/>
                  </a:lnTo>
                  <a:lnTo>
                    <a:pt x="324" y="87"/>
                  </a:lnTo>
                  <a:lnTo>
                    <a:pt x="320" y="88"/>
                  </a:lnTo>
                  <a:lnTo>
                    <a:pt x="317" y="89"/>
                  </a:lnTo>
                  <a:lnTo>
                    <a:pt x="314" y="92"/>
                  </a:lnTo>
                  <a:lnTo>
                    <a:pt x="311" y="94"/>
                  </a:lnTo>
                  <a:lnTo>
                    <a:pt x="308" y="94"/>
                  </a:lnTo>
                  <a:lnTo>
                    <a:pt x="301" y="97"/>
                  </a:lnTo>
                  <a:lnTo>
                    <a:pt x="298" y="99"/>
                  </a:lnTo>
                  <a:lnTo>
                    <a:pt x="296" y="100"/>
                  </a:lnTo>
                  <a:lnTo>
                    <a:pt x="292" y="101"/>
                  </a:lnTo>
                  <a:lnTo>
                    <a:pt x="290" y="102"/>
                  </a:lnTo>
                  <a:lnTo>
                    <a:pt x="288" y="104"/>
                  </a:lnTo>
                  <a:lnTo>
                    <a:pt x="285" y="107"/>
                  </a:lnTo>
                  <a:lnTo>
                    <a:pt x="284" y="109"/>
                  </a:lnTo>
                  <a:lnTo>
                    <a:pt x="283" y="111"/>
                  </a:lnTo>
                  <a:lnTo>
                    <a:pt x="281" y="112"/>
                  </a:lnTo>
                  <a:lnTo>
                    <a:pt x="280" y="115"/>
                  </a:lnTo>
                  <a:lnTo>
                    <a:pt x="279" y="117"/>
                  </a:lnTo>
                  <a:lnTo>
                    <a:pt x="276" y="123"/>
                  </a:lnTo>
                  <a:lnTo>
                    <a:pt x="273" y="127"/>
                  </a:lnTo>
                  <a:lnTo>
                    <a:pt x="263" y="140"/>
                  </a:lnTo>
                  <a:lnTo>
                    <a:pt x="260" y="144"/>
                  </a:lnTo>
                  <a:lnTo>
                    <a:pt x="258" y="147"/>
                  </a:lnTo>
                  <a:lnTo>
                    <a:pt x="255" y="150"/>
                  </a:lnTo>
                  <a:lnTo>
                    <a:pt x="252" y="151"/>
                  </a:lnTo>
                  <a:lnTo>
                    <a:pt x="250" y="151"/>
                  </a:lnTo>
                  <a:lnTo>
                    <a:pt x="248" y="150"/>
                  </a:lnTo>
                  <a:lnTo>
                    <a:pt x="247" y="148"/>
                  </a:lnTo>
                  <a:lnTo>
                    <a:pt x="248" y="145"/>
                  </a:lnTo>
                  <a:lnTo>
                    <a:pt x="248" y="141"/>
                  </a:lnTo>
                  <a:lnTo>
                    <a:pt x="248" y="140"/>
                  </a:lnTo>
                  <a:lnTo>
                    <a:pt x="247" y="137"/>
                  </a:lnTo>
                  <a:lnTo>
                    <a:pt x="248" y="134"/>
                  </a:lnTo>
                  <a:lnTo>
                    <a:pt x="248" y="132"/>
                  </a:lnTo>
                  <a:lnTo>
                    <a:pt x="249" y="129"/>
                  </a:lnTo>
                  <a:lnTo>
                    <a:pt x="249" y="127"/>
                  </a:lnTo>
                  <a:lnTo>
                    <a:pt x="249" y="125"/>
                  </a:lnTo>
                  <a:lnTo>
                    <a:pt x="249" y="124"/>
                  </a:lnTo>
                  <a:lnTo>
                    <a:pt x="247" y="123"/>
                  </a:lnTo>
                  <a:lnTo>
                    <a:pt x="245" y="121"/>
                  </a:lnTo>
                  <a:lnTo>
                    <a:pt x="244" y="123"/>
                  </a:lnTo>
                  <a:lnTo>
                    <a:pt x="241" y="124"/>
                  </a:lnTo>
                  <a:lnTo>
                    <a:pt x="240" y="125"/>
                  </a:lnTo>
                  <a:lnTo>
                    <a:pt x="237" y="128"/>
                  </a:lnTo>
                  <a:lnTo>
                    <a:pt x="235" y="131"/>
                  </a:lnTo>
                  <a:lnTo>
                    <a:pt x="234" y="133"/>
                  </a:lnTo>
                  <a:lnTo>
                    <a:pt x="228" y="139"/>
                  </a:lnTo>
                  <a:lnTo>
                    <a:pt x="227" y="144"/>
                  </a:lnTo>
                  <a:lnTo>
                    <a:pt x="224" y="149"/>
                  </a:lnTo>
                  <a:lnTo>
                    <a:pt x="223" y="152"/>
                  </a:lnTo>
                  <a:lnTo>
                    <a:pt x="220" y="156"/>
                  </a:lnTo>
                  <a:lnTo>
                    <a:pt x="218" y="159"/>
                  </a:lnTo>
                  <a:lnTo>
                    <a:pt x="217" y="161"/>
                  </a:lnTo>
                  <a:lnTo>
                    <a:pt x="217" y="165"/>
                  </a:lnTo>
                  <a:lnTo>
                    <a:pt x="216" y="168"/>
                  </a:lnTo>
                  <a:lnTo>
                    <a:pt x="216" y="172"/>
                  </a:lnTo>
                  <a:lnTo>
                    <a:pt x="216" y="181"/>
                  </a:lnTo>
                  <a:lnTo>
                    <a:pt x="215" y="183"/>
                  </a:lnTo>
                  <a:lnTo>
                    <a:pt x="215" y="185"/>
                  </a:lnTo>
                  <a:lnTo>
                    <a:pt x="212" y="187"/>
                  </a:lnTo>
                  <a:lnTo>
                    <a:pt x="210" y="187"/>
                  </a:lnTo>
                  <a:lnTo>
                    <a:pt x="204" y="187"/>
                  </a:lnTo>
                  <a:lnTo>
                    <a:pt x="202" y="187"/>
                  </a:lnTo>
                  <a:lnTo>
                    <a:pt x="199" y="188"/>
                  </a:lnTo>
                  <a:lnTo>
                    <a:pt x="197" y="190"/>
                  </a:lnTo>
                  <a:lnTo>
                    <a:pt x="196" y="192"/>
                  </a:lnTo>
                  <a:lnTo>
                    <a:pt x="193" y="195"/>
                  </a:lnTo>
                  <a:lnTo>
                    <a:pt x="188" y="204"/>
                  </a:lnTo>
                  <a:lnTo>
                    <a:pt x="178" y="221"/>
                  </a:lnTo>
                  <a:lnTo>
                    <a:pt x="175" y="224"/>
                  </a:lnTo>
                  <a:lnTo>
                    <a:pt x="172" y="228"/>
                  </a:lnTo>
                  <a:lnTo>
                    <a:pt x="170" y="231"/>
                  </a:lnTo>
                  <a:lnTo>
                    <a:pt x="168" y="238"/>
                  </a:lnTo>
                  <a:lnTo>
                    <a:pt x="168" y="241"/>
                  </a:lnTo>
                  <a:lnTo>
                    <a:pt x="168" y="243"/>
                  </a:lnTo>
                  <a:lnTo>
                    <a:pt x="168" y="245"/>
                  </a:lnTo>
                  <a:lnTo>
                    <a:pt x="167" y="253"/>
                  </a:lnTo>
                  <a:lnTo>
                    <a:pt x="167" y="255"/>
                  </a:lnTo>
                  <a:lnTo>
                    <a:pt x="167" y="257"/>
                  </a:lnTo>
                  <a:lnTo>
                    <a:pt x="167" y="261"/>
                  </a:lnTo>
                  <a:lnTo>
                    <a:pt x="165" y="264"/>
                  </a:lnTo>
                  <a:lnTo>
                    <a:pt x="164" y="265"/>
                  </a:lnTo>
                  <a:lnTo>
                    <a:pt x="163" y="268"/>
                  </a:lnTo>
                  <a:lnTo>
                    <a:pt x="162" y="270"/>
                  </a:lnTo>
                  <a:lnTo>
                    <a:pt x="160" y="272"/>
                  </a:lnTo>
                  <a:lnTo>
                    <a:pt x="159" y="275"/>
                  </a:lnTo>
                  <a:lnTo>
                    <a:pt x="159" y="278"/>
                  </a:lnTo>
                  <a:lnTo>
                    <a:pt x="159" y="279"/>
                  </a:lnTo>
                  <a:lnTo>
                    <a:pt x="161" y="286"/>
                  </a:lnTo>
                  <a:lnTo>
                    <a:pt x="162" y="289"/>
                  </a:lnTo>
                  <a:lnTo>
                    <a:pt x="163" y="293"/>
                  </a:lnTo>
                  <a:lnTo>
                    <a:pt x="163" y="297"/>
                  </a:lnTo>
                  <a:lnTo>
                    <a:pt x="161" y="301"/>
                  </a:lnTo>
                  <a:lnTo>
                    <a:pt x="160" y="303"/>
                  </a:lnTo>
                  <a:lnTo>
                    <a:pt x="159" y="305"/>
                  </a:lnTo>
                  <a:lnTo>
                    <a:pt x="156" y="307"/>
                  </a:lnTo>
                  <a:lnTo>
                    <a:pt x="155" y="308"/>
                  </a:lnTo>
                  <a:lnTo>
                    <a:pt x="153" y="310"/>
                  </a:lnTo>
                  <a:lnTo>
                    <a:pt x="149" y="311"/>
                  </a:lnTo>
                  <a:lnTo>
                    <a:pt x="148" y="312"/>
                  </a:lnTo>
                  <a:lnTo>
                    <a:pt x="145" y="312"/>
                  </a:lnTo>
                  <a:lnTo>
                    <a:pt x="143" y="312"/>
                  </a:lnTo>
                  <a:lnTo>
                    <a:pt x="140" y="312"/>
                  </a:lnTo>
                  <a:lnTo>
                    <a:pt x="137" y="311"/>
                  </a:lnTo>
                  <a:lnTo>
                    <a:pt x="135" y="312"/>
                  </a:lnTo>
                  <a:lnTo>
                    <a:pt x="131" y="312"/>
                  </a:lnTo>
                  <a:lnTo>
                    <a:pt x="125" y="311"/>
                  </a:lnTo>
                  <a:lnTo>
                    <a:pt x="123" y="310"/>
                  </a:lnTo>
                  <a:lnTo>
                    <a:pt x="121" y="310"/>
                  </a:lnTo>
                  <a:lnTo>
                    <a:pt x="119" y="310"/>
                  </a:lnTo>
                  <a:lnTo>
                    <a:pt x="115" y="310"/>
                  </a:lnTo>
                  <a:lnTo>
                    <a:pt x="113" y="309"/>
                  </a:lnTo>
                  <a:lnTo>
                    <a:pt x="111" y="309"/>
                  </a:lnTo>
                  <a:lnTo>
                    <a:pt x="105" y="309"/>
                  </a:lnTo>
                  <a:lnTo>
                    <a:pt x="104" y="308"/>
                  </a:lnTo>
                  <a:lnTo>
                    <a:pt x="101" y="307"/>
                  </a:lnTo>
                  <a:lnTo>
                    <a:pt x="100" y="305"/>
                  </a:lnTo>
                  <a:lnTo>
                    <a:pt x="99" y="304"/>
                  </a:lnTo>
                  <a:lnTo>
                    <a:pt x="98" y="303"/>
                  </a:lnTo>
                  <a:lnTo>
                    <a:pt x="96" y="301"/>
                  </a:lnTo>
                  <a:lnTo>
                    <a:pt x="93" y="302"/>
                  </a:lnTo>
                  <a:lnTo>
                    <a:pt x="92" y="301"/>
                  </a:lnTo>
                  <a:lnTo>
                    <a:pt x="91" y="302"/>
                  </a:lnTo>
                  <a:lnTo>
                    <a:pt x="90" y="304"/>
                  </a:lnTo>
                  <a:lnTo>
                    <a:pt x="90" y="308"/>
                  </a:lnTo>
                  <a:lnTo>
                    <a:pt x="90" y="310"/>
                  </a:lnTo>
                  <a:lnTo>
                    <a:pt x="90" y="311"/>
                  </a:lnTo>
                  <a:lnTo>
                    <a:pt x="90" y="312"/>
                  </a:lnTo>
                  <a:lnTo>
                    <a:pt x="88" y="317"/>
                  </a:lnTo>
                  <a:lnTo>
                    <a:pt x="85" y="320"/>
                  </a:lnTo>
                  <a:lnTo>
                    <a:pt x="81" y="323"/>
                  </a:lnTo>
                  <a:lnTo>
                    <a:pt x="79" y="325"/>
                  </a:lnTo>
                  <a:lnTo>
                    <a:pt x="76" y="328"/>
                  </a:lnTo>
                  <a:lnTo>
                    <a:pt x="74" y="331"/>
                  </a:lnTo>
                  <a:lnTo>
                    <a:pt x="72" y="334"/>
                  </a:lnTo>
                  <a:lnTo>
                    <a:pt x="69" y="337"/>
                  </a:lnTo>
                  <a:lnTo>
                    <a:pt x="68" y="340"/>
                  </a:lnTo>
                  <a:lnTo>
                    <a:pt x="65" y="343"/>
                  </a:lnTo>
                  <a:lnTo>
                    <a:pt x="63" y="347"/>
                  </a:lnTo>
                  <a:lnTo>
                    <a:pt x="59" y="349"/>
                  </a:lnTo>
                  <a:lnTo>
                    <a:pt x="50" y="356"/>
                  </a:lnTo>
                  <a:lnTo>
                    <a:pt x="49" y="357"/>
                  </a:lnTo>
                  <a:lnTo>
                    <a:pt x="47" y="360"/>
                  </a:lnTo>
                  <a:lnTo>
                    <a:pt x="43" y="363"/>
                  </a:lnTo>
                  <a:lnTo>
                    <a:pt x="40" y="365"/>
                  </a:lnTo>
                  <a:lnTo>
                    <a:pt x="37" y="367"/>
                  </a:lnTo>
                  <a:lnTo>
                    <a:pt x="33" y="367"/>
                  </a:lnTo>
                  <a:lnTo>
                    <a:pt x="29" y="368"/>
                  </a:lnTo>
                  <a:lnTo>
                    <a:pt x="21" y="372"/>
                  </a:lnTo>
                  <a:lnTo>
                    <a:pt x="17" y="373"/>
                  </a:lnTo>
                  <a:lnTo>
                    <a:pt x="13" y="375"/>
                  </a:lnTo>
                  <a:lnTo>
                    <a:pt x="7" y="380"/>
                  </a:lnTo>
                  <a:lnTo>
                    <a:pt x="4" y="383"/>
                  </a:lnTo>
                  <a:lnTo>
                    <a:pt x="3" y="385"/>
                  </a:lnTo>
                  <a:lnTo>
                    <a:pt x="1" y="391"/>
                  </a:lnTo>
                  <a:lnTo>
                    <a:pt x="1" y="393"/>
                  </a:lnTo>
                  <a:lnTo>
                    <a:pt x="1" y="399"/>
                  </a:lnTo>
                  <a:lnTo>
                    <a:pt x="0" y="404"/>
                  </a:lnTo>
                  <a:lnTo>
                    <a:pt x="0" y="407"/>
                  </a:lnTo>
                  <a:lnTo>
                    <a:pt x="0" y="412"/>
                  </a:lnTo>
                  <a:lnTo>
                    <a:pt x="0" y="416"/>
                  </a:lnTo>
                  <a:lnTo>
                    <a:pt x="0" y="420"/>
                  </a:lnTo>
                  <a:lnTo>
                    <a:pt x="1" y="422"/>
                  </a:lnTo>
                  <a:lnTo>
                    <a:pt x="2" y="425"/>
                  </a:lnTo>
                  <a:lnTo>
                    <a:pt x="3" y="429"/>
                  </a:lnTo>
                  <a:lnTo>
                    <a:pt x="5" y="432"/>
                  </a:lnTo>
                  <a:lnTo>
                    <a:pt x="7" y="437"/>
                  </a:lnTo>
                  <a:lnTo>
                    <a:pt x="13" y="444"/>
                  </a:lnTo>
                  <a:lnTo>
                    <a:pt x="16" y="446"/>
                  </a:lnTo>
                  <a:lnTo>
                    <a:pt x="19" y="449"/>
                  </a:lnTo>
                  <a:lnTo>
                    <a:pt x="20" y="452"/>
                  </a:lnTo>
                  <a:lnTo>
                    <a:pt x="21" y="455"/>
                  </a:lnTo>
                  <a:lnTo>
                    <a:pt x="23" y="457"/>
                  </a:lnTo>
                  <a:lnTo>
                    <a:pt x="23" y="461"/>
                  </a:lnTo>
                  <a:lnTo>
                    <a:pt x="24" y="463"/>
                  </a:lnTo>
                  <a:lnTo>
                    <a:pt x="25" y="465"/>
                  </a:lnTo>
                  <a:lnTo>
                    <a:pt x="25" y="468"/>
                  </a:lnTo>
                  <a:lnTo>
                    <a:pt x="24" y="473"/>
                  </a:lnTo>
                  <a:lnTo>
                    <a:pt x="26" y="475"/>
                  </a:lnTo>
                  <a:lnTo>
                    <a:pt x="27" y="477"/>
                  </a:lnTo>
                  <a:lnTo>
                    <a:pt x="28" y="478"/>
                  </a:lnTo>
                  <a:lnTo>
                    <a:pt x="29" y="479"/>
                  </a:lnTo>
                  <a:lnTo>
                    <a:pt x="31" y="481"/>
                  </a:lnTo>
                  <a:lnTo>
                    <a:pt x="32" y="483"/>
                  </a:lnTo>
                  <a:lnTo>
                    <a:pt x="35" y="485"/>
                  </a:lnTo>
                  <a:lnTo>
                    <a:pt x="37" y="487"/>
                  </a:lnTo>
                  <a:lnTo>
                    <a:pt x="40" y="487"/>
                  </a:lnTo>
                  <a:lnTo>
                    <a:pt x="43" y="486"/>
                  </a:lnTo>
                  <a:lnTo>
                    <a:pt x="45" y="485"/>
                  </a:lnTo>
                  <a:lnTo>
                    <a:pt x="48" y="485"/>
                  </a:lnTo>
                  <a:lnTo>
                    <a:pt x="49" y="485"/>
                  </a:lnTo>
                  <a:lnTo>
                    <a:pt x="50" y="486"/>
                  </a:lnTo>
                  <a:lnTo>
                    <a:pt x="50" y="487"/>
                  </a:lnTo>
                  <a:lnTo>
                    <a:pt x="51" y="489"/>
                  </a:lnTo>
                  <a:lnTo>
                    <a:pt x="52" y="491"/>
                  </a:lnTo>
                  <a:lnTo>
                    <a:pt x="53" y="493"/>
                  </a:lnTo>
                  <a:lnTo>
                    <a:pt x="53" y="494"/>
                  </a:lnTo>
                  <a:lnTo>
                    <a:pt x="55" y="495"/>
                  </a:lnTo>
                  <a:lnTo>
                    <a:pt x="56" y="495"/>
                  </a:lnTo>
                  <a:lnTo>
                    <a:pt x="58" y="495"/>
                  </a:lnTo>
                  <a:lnTo>
                    <a:pt x="60" y="494"/>
                  </a:lnTo>
                  <a:lnTo>
                    <a:pt x="60" y="492"/>
                  </a:lnTo>
                  <a:lnTo>
                    <a:pt x="61" y="491"/>
                  </a:lnTo>
                  <a:lnTo>
                    <a:pt x="64" y="489"/>
                  </a:lnTo>
                  <a:lnTo>
                    <a:pt x="65" y="487"/>
                  </a:lnTo>
                  <a:lnTo>
                    <a:pt x="67" y="485"/>
                  </a:lnTo>
                  <a:lnTo>
                    <a:pt x="71" y="483"/>
                  </a:lnTo>
                  <a:lnTo>
                    <a:pt x="73" y="481"/>
                  </a:lnTo>
                  <a:lnTo>
                    <a:pt x="75" y="479"/>
                  </a:lnTo>
                  <a:lnTo>
                    <a:pt x="76" y="477"/>
                  </a:lnTo>
                  <a:lnTo>
                    <a:pt x="77" y="473"/>
                  </a:lnTo>
                  <a:lnTo>
                    <a:pt x="79" y="471"/>
                  </a:lnTo>
                  <a:lnTo>
                    <a:pt x="84" y="461"/>
                  </a:lnTo>
                  <a:lnTo>
                    <a:pt x="87" y="457"/>
                  </a:lnTo>
                  <a:lnTo>
                    <a:pt x="88" y="455"/>
                  </a:lnTo>
                  <a:lnTo>
                    <a:pt x="89" y="454"/>
                  </a:lnTo>
                  <a:lnTo>
                    <a:pt x="91" y="452"/>
                  </a:lnTo>
                  <a:lnTo>
                    <a:pt x="93" y="451"/>
                  </a:lnTo>
                  <a:lnTo>
                    <a:pt x="97" y="448"/>
                  </a:lnTo>
                  <a:lnTo>
                    <a:pt x="100" y="446"/>
                  </a:lnTo>
                  <a:lnTo>
                    <a:pt x="103" y="444"/>
                  </a:lnTo>
                  <a:lnTo>
                    <a:pt x="106" y="440"/>
                  </a:lnTo>
                  <a:lnTo>
                    <a:pt x="108" y="438"/>
                  </a:lnTo>
                  <a:lnTo>
                    <a:pt x="111" y="437"/>
                  </a:lnTo>
                  <a:lnTo>
                    <a:pt x="115" y="430"/>
                  </a:lnTo>
                  <a:lnTo>
                    <a:pt x="116" y="428"/>
                  </a:lnTo>
                  <a:lnTo>
                    <a:pt x="116" y="424"/>
                  </a:lnTo>
                  <a:lnTo>
                    <a:pt x="113" y="421"/>
                  </a:lnTo>
                  <a:lnTo>
                    <a:pt x="111" y="419"/>
                  </a:lnTo>
                  <a:lnTo>
                    <a:pt x="107" y="417"/>
                  </a:lnTo>
                  <a:lnTo>
                    <a:pt x="105" y="415"/>
                  </a:lnTo>
                  <a:lnTo>
                    <a:pt x="104" y="413"/>
                  </a:lnTo>
                  <a:lnTo>
                    <a:pt x="103" y="409"/>
                  </a:lnTo>
                  <a:lnTo>
                    <a:pt x="103" y="406"/>
                  </a:lnTo>
                  <a:lnTo>
                    <a:pt x="103" y="405"/>
                  </a:lnTo>
                  <a:lnTo>
                    <a:pt x="105" y="404"/>
                  </a:lnTo>
                  <a:lnTo>
                    <a:pt x="108" y="404"/>
                  </a:lnTo>
                  <a:lnTo>
                    <a:pt x="112" y="404"/>
                  </a:lnTo>
                  <a:lnTo>
                    <a:pt x="115" y="406"/>
                  </a:lnTo>
                  <a:lnTo>
                    <a:pt x="117" y="407"/>
                  </a:lnTo>
                  <a:lnTo>
                    <a:pt x="120" y="408"/>
                  </a:lnTo>
                  <a:lnTo>
                    <a:pt x="122" y="409"/>
                  </a:lnTo>
                  <a:lnTo>
                    <a:pt x="125" y="409"/>
                  </a:lnTo>
                  <a:lnTo>
                    <a:pt x="129" y="409"/>
                  </a:lnTo>
                  <a:lnTo>
                    <a:pt x="139" y="407"/>
                  </a:lnTo>
                  <a:lnTo>
                    <a:pt x="140" y="407"/>
                  </a:lnTo>
                  <a:lnTo>
                    <a:pt x="145" y="407"/>
                  </a:lnTo>
                  <a:lnTo>
                    <a:pt x="147" y="407"/>
                  </a:lnTo>
                  <a:lnTo>
                    <a:pt x="155" y="408"/>
                  </a:lnTo>
                  <a:lnTo>
                    <a:pt x="157" y="409"/>
                  </a:lnTo>
                  <a:lnTo>
                    <a:pt x="161" y="409"/>
                  </a:lnTo>
                  <a:lnTo>
                    <a:pt x="162" y="409"/>
                  </a:lnTo>
                  <a:lnTo>
                    <a:pt x="167" y="409"/>
                  </a:lnTo>
                  <a:lnTo>
                    <a:pt x="169" y="408"/>
                  </a:lnTo>
                  <a:lnTo>
                    <a:pt x="172" y="408"/>
                  </a:lnTo>
                  <a:lnTo>
                    <a:pt x="177" y="407"/>
                  </a:lnTo>
                  <a:lnTo>
                    <a:pt x="179" y="407"/>
                  </a:lnTo>
                  <a:lnTo>
                    <a:pt x="181" y="408"/>
                  </a:lnTo>
                  <a:lnTo>
                    <a:pt x="184" y="409"/>
                  </a:lnTo>
                  <a:lnTo>
                    <a:pt x="186" y="409"/>
                  </a:lnTo>
                  <a:lnTo>
                    <a:pt x="188" y="411"/>
                  </a:lnTo>
                  <a:lnTo>
                    <a:pt x="191" y="411"/>
                  </a:lnTo>
                  <a:lnTo>
                    <a:pt x="194" y="411"/>
                  </a:lnTo>
                  <a:lnTo>
                    <a:pt x="197" y="411"/>
                  </a:lnTo>
                  <a:lnTo>
                    <a:pt x="199" y="409"/>
                  </a:lnTo>
                  <a:lnTo>
                    <a:pt x="201" y="408"/>
                  </a:lnTo>
                  <a:lnTo>
                    <a:pt x="204" y="406"/>
                  </a:lnTo>
                  <a:lnTo>
                    <a:pt x="207" y="404"/>
                  </a:lnTo>
                  <a:lnTo>
                    <a:pt x="208" y="403"/>
                  </a:lnTo>
                  <a:lnTo>
                    <a:pt x="211" y="399"/>
                  </a:lnTo>
                  <a:lnTo>
                    <a:pt x="213" y="399"/>
                  </a:lnTo>
                  <a:lnTo>
                    <a:pt x="217" y="400"/>
                  </a:lnTo>
                  <a:lnTo>
                    <a:pt x="219" y="401"/>
                  </a:lnTo>
                  <a:lnTo>
                    <a:pt x="223" y="405"/>
                  </a:lnTo>
                  <a:lnTo>
                    <a:pt x="225" y="407"/>
                  </a:lnTo>
                  <a:lnTo>
                    <a:pt x="232" y="414"/>
                  </a:lnTo>
                  <a:lnTo>
                    <a:pt x="234" y="416"/>
                  </a:lnTo>
                  <a:lnTo>
                    <a:pt x="236" y="417"/>
                  </a:lnTo>
                  <a:lnTo>
                    <a:pt x="239" y="417"/>
                  </a:lnTo>
                  <a:lnTo>
                    <a:pt x="241" y="416"/>
                  </a:lnTo>
                  <a:lnTo>
                    <a:pt x="242" y="415"/>
                  </a:lnTo>
                  <a:lnTo>
                    <a:pt x="242" y="413"/>
                  </a:lnTo>
                  <a:lnTo>
                    <a:pt x="247" y="412"/>
                  </a:lnTo>
                  <a:lnTo>
                    <a:pt x="250" y="412"/>
                  </a:lnTo>
                  <a:lnTo>
                    <a:pt x="253" y="412"/>
                  </a:lnTo>
                  <a:lnTo>
                    <a:pt x="257" y="412"/>
                  </a:lnTo>
                  <a:lnTo>
                    <a:pt x="260" y="411"/>
                  </a:lnTo>
                  <a:lnTo>
                    <a:pt x="265" y="409"/>
                  </a:lnTo>
                  <a:lnTo>
                    <a:pt x="269" y="407"/>
                  </a:lnTo>
                  <a:lnTo>
                    <a:pt x="272" y="405"/>
                  </a:lnTo>
                  <a:lnTo>
                    <a:pt x="276" y="401"/>
                  </a:lnTo>
                  <a:lnTo>
                    <a:pt x="280" y="399"/>
                  </a:lnTo>
                  <a:lnTo>
                    <a:pt x="283" y="397"/>
                  </a:lnTo>
                  <a:lnTo>
                    <a:pt x="285" y="395"/>
                  </a:lnTo>
                  <a:lnTo>
                    <a:pt x="288" y="391"/>
                  </a:lnTo>
                  <a:lnTo>
                    <a:pt x="293" y="384"/>
                  </a:lnTo>
                  <a:lnTo>
                    <a:pt x="296" y="384"/>
                  </a:lnTo>
                  <a:lnTo>
                    <a:pt x="299" y="382"/>
                  </a:lnTo>
                  <a:lnTo>
                    <a:pt x="301" y="381"/>
                  </a:lnTo>
                  <a:lnTo>
                    <a:pt x="304" y="381"/>
                  </a:lnTo>
                  <a:lnTo>
                    <a:pt x="306" y="382"/>
                  </a:lnTo>
                  <a:lnTo>
                    <a:pt x="309" y="381"/>
                  </a:lnTo>
                  <a:lnTo>
                    <a:pt x="312" y="380"/>
                  </a:lnTo>
                  <a:lnTo>
                    <a:pt x="315" y="377"/>
                  </a:lnTo>
                  <a:lnTo>
                    <a:pt x="319" y="376"/>
                  </a:lnTo>
                  <a:lnTo>
                    <a:pt x="321" y="373"/>
                  </a:lnTo>
                  <a:lnTo>
                    <a:pt x="322" y="372"/>
                  </a:lnTo>
                  <a:lnTo>
                    <a:pt x="323" y="369"/>
                  </a:lnTo>
                  <a:lnTo>
                    <a:pt x="325" y="368"/>
                  </a:lnTo>
                  <a:lnTo>
                    <a:pt x="328" y="364"/>
                  </a:lnTo>
                  <a:lnTo>
                    <a:pt x="330" y="363"/>
                  </a:lnTo>
                  <a:lnTo>
                    <a:pt x="331" y="361"/>
                  </a:lnTo>
                  <a:lnTo>
                    <a:pt x="333" y="360"/>
                  </a:lnTo>
                  <a:lnTo>
                    <a:pt x="335" y="360"/>
                  </a:lnTo>
                  <a:lnTo>
                    <a:pt x="337" y="361"/>
                  </a:lnTo>
                  <a:lnTo>
                    <a:pt x="339" y="363"/>
                  </a:lnTo>
                  <a:lnTo>
                    <a:pt x="339" y="365"/>
                  </a:lnTo>
                  <a:lnTo>
                    <a:pt x="339" y="366"/>
                  </a:lnTo>
                  <a:lnTo>
                    <a:pt x="339" y="368"/>
                  </a:lnTo>
                  <a:lnTo>
                    <a:pt x="337" y="371"/>
                  </a:lnTo>
                  <a:lnTo>
                    <a:pt x="336" y="373"/>
                  </a:lnTo>
                  <a:lnTo>
                    <a:pt x="335" y="375"/>
                  </a:lnTo>
                  <a:lnTo>
                    <a:pt x="332" y="377"/>
                  </a:lnTo>
                  <a:lnTo>
                    <a:pt x="332" y="380"/>
                  </a:lnTo>
                  <a:lnTo>
                    <a:pt x="330" y="382"/>
                  </a:lnTo>
                  <a:lnTo>
                    <a:pt x="329" y="385"/>
                  </a:lnTo>
                  <a:lnTo>
                    <a:pt x="328" y="388"/>
                  </a:lnTo>
                  <a:lnTo>
                    <a:pt x="327" y="390"/>
                  </a:lnTo>
                  <a:lnTo>
                    <a:pt x="325" y="395"/>
                  </a:lnTo>
                  <a:lnTo>
                    <a:pt x="327" y="397"/>
                  </a:lnTo>
                  <a:lnTo>
                    <a:pt x="327" y="400"/>
                  </a:lnTo>
                  <a:lnTo>
                    <a:pt x="327" y="403"/>
                  </a:lnTo>
                  <a:lnTo>
                    <a:pt x="325" y="405"/>
                  </a:lnTo>
                  <a:lnTo>
                    <a:pt x="324" y="406"/>
                  </a:lnTo>
                  <a:lnTo>
                    <a:pt x="322" y="407"/>
                  </a:lnTo>
                  <a:lnTo>
                    <a:pt x="320" y="408"/>
                  </a:lnTo>
                  <a:lnTo>
                    <a:pt x="319" y="411"/>
                  </a:lnTo>
                  <a:lnTo>
                    <a:pt x="321" y="413"/>
                  </a:lnTo>
                  <a:lnTo>
                    <a:pt x="322" y="414"/>
                  </a:lnTo>
                  <a:lnTo>
                    <a:pt x="324" y="414"/>
                  </a:lnTo>
                  <a:lnTo>
                    <a:pt x="328" y="416"/>
                  </a:lnTo>
                  <a:lnTo>
                    <a:pt x="329" y="417"/>
                  </a:lnTo>
                  <a:lnTo>
                    <a:pt x="333" y="420"/>
                  </a:lnTo>
                  <a:lnTo>
                    <a:pt x="337" y="421"/>
                  </a:lnTo>
                  <a:lnTo>
                    <a:pt x="344" y="423"/>
                  </a:lnTo>
                  <a:lnTo>
                    <a:pt x="346" y="424"/>
                  </a:lnTo>
                  <a:lnTo>
                    <a:pt x="349" y="427"/>
                  </a:lnTo>
                  <a:lnTo>
                    <a:pt x="353" y="428"/>
                  </a:lnTo>
                  <a:lnTo>
                    <a:pt x="355" y="429"/>
                  </a:lnTo>
                  <a:lnTo>
                    <a:pt x="357" y="425"/>
                  </a:lnTo>
                  <a:lnTo>
                    <a:pt x="361" y="423"/>
                  </a:lnTo>
                  <a:lnTo>
                    <a:pt x="364" y="421"/>
                  </a:lnTo>
                  <a:lnTo>
                    <a:pt x="368" y="417"/>
                  </a:lnTo>
                  <a:lnTo>
                    <a:pt x="372" y="416"/>
                  </a:lnTo>
                  <a:lnTo>
                    <a:pt x="375" y="416"/>
                  </a:lnTo>
                  <a:lnTo>
                    <a:pt x="376" y="417"/>
                  </a:lnTo>
                  <a:lnTo>
                    <a:pt x="376" y="420"/>
                  </a:lnTo>
                  <a:lnTo>
                    <a:pt x="376" y="421"/>
                  </a:lnTo>
                  <a:lnTo>
                    <a:pt x="378" y="421"/>
                  </a:lnTo>
                  <a:lnTo>
                    <a:pt x="380" y="420"/>
                  </a:lnTo>
                  <a:lnTo>
                    <a:pt x="383" y="419"/>
                  </a:lnTo>
                  <a:lnTo>
                    <a:pt x="387" y="417"/>
                  </a:lnTo>
                  <a:lnTo>
                    <a:pt x="391" y="416"/>
                  </a:lnTo>
                  <a:lnTo>
                    <a:pt x="393" y="413"/>
                  </a:lnTo>
                  <a:lnTo>
                    <a:pt x="395" y="409"/>
                  </a:lnTo>
                  <a:lnTo>
                    <a:pt x="397" y="406"/>
                  </a:lnTo>
                  <a:lnTo>
                    <a:pt x="401" y="403"/>
                  </a:lnTo>
                  <a:lnTo>
                    <a:pt x="404" y="400"/>
                  </a:lnTo>
                  <a:lnTo>
                    <a:pt x="407" y="398"/>
                  </a:lnTo>
                  <a:lnTo>
                    <a:pt x="412" y="396"/>
                  </a:lnTo>
                  <a:lnTo>
                    <a:pt x="415" y="393"/>
                  </a:lnTo>
                  <a:lnTo>
                    <a:pt x="415" y="390"/>
                  </a:lnTo>
                  <a:lnTo>
                    <a:pt x="417" y="388"/>
                  </a:lnTo>
                  <a:lnTo>
                    <a:pt x="419" y="387"/>
                  </a:lnTo>
                  <a:lnTo>
                    <a:pt x="421" y="384"/>
                  </a:lnTo>
                  <a:lnTo>
                    <a:pt x="425" y="379"/>
                  </a:lnTo>
                  <a:lnTo>
                    <a:pt x="427" y="371"/>
                  </a:lnTo>
                  <a:lnTo>
                    <a:pt x="433" y="365"/>
                  </a:lnTo>
                  <a:lnTo>
                    <a:pt x="434" y="361"/>
                  </a:lnTo>
                  <a:lnTo>
                    <a:pt x="447" y="355"/>
                  </a:lnTo>
                  <a:lnTo>
                    <a:pt x="449" y="352"/>
                  </a:lnTo>
                  <a:lnTo>
                    <a:pt x="453" y="347"/>
                  </a:lnTo>
                  <a:lnTo>
                    <a:pt x="456" y="343"/>
                  </a:lnTo>
                  <a:lnTo>
                    <a:pt x="457" y="337"/>
                  </a:lnTo>
                  <a:lnTo>
                    <a:pt x="457" y="332"/>
                  </a:lnTo>
                  <a:lnTo>
                    <a:pt x="457" y="326"/>
                  </a:lnTo>
                  <a:lnTo>
                    <a:pt x="453" y="320"/>
                  </a:lnTo>
                  <a:lnTo>
                    <a:pt x="450" y="315"/>
                  </a:lnTo>
                  <a:lnTo>
                    <a:pt x="447" y="310"/>
                  </a:lnTo>
                  <a:lnTo>
                    <a:pt x="447" y="305"/>
                  </a:lnTo>
                  <a:lnTo>
                    <a:pt x="448" y="301"/>
                  </a:lnTo>
                  <a:lnTo>
                    <a:pt x="451" y="297"/>
                  </a:lnTo>
                  <a:lnTo>
                    <a:pt x="456" y="295"/>
                  </a:lnTo>
                  <a:lnTo>
                    <a:pt x="460" y="291"/>
                  </a:lnTo>
                  <a:lnTo>
                    <a:pt x="465" y="289"/>
                  </a:lnTo>
                  <a:lnTo>
                    <a:pt x="471" y="286"/>
                  </a:lnTo>
                  <a:lnTo>
                    <a:pt x="477" y="281"/>
                  </a:lnTo>
                  <a:lnTo>
                    <a:pt x="480" y="278"/>
                  </a:lnTo>
                  <a:lnTo>
                    <a:pt x="482" y="272"/>
                  </a:lnTo>
                  <a:lnTo>
                    <a:pt x="483" y="268"/>
                  </a:lnTo>
                  <a:lnTo>
                    <a:pt x="489" y="262"/>
                  </a:lnTo>
                  <a:lnTo>
                    <a:pt x="491" y="261"/>
                  </a:lnTo>
                  <a:lnTo>
                    <a:pt x="493" y="256"/>
                  </a:lnTo>
                  <a:lnTo>
                    <a:pt x="490" y="254"/>
                  </a:lnTo>
                  <a:lnTo>
                    <a:pt x="485" y="251"/>
                  </a:lnTo>
                  <a:lnTo>
                    <a:pt x="481" y="248"/>
                  </a:lnTo>
                  <a:lnTo>
                    <a:pt x="479" y="245"/>
                  </a:lnTo>
                  <a:lnTo>
                    <a:pt x="479" y="239"/>
                  </a:lnTo>
                  <a:lnTo>
                    <a:pt x="480" y="236"/>
                  </a:lnTo>
                  <a:lnTo>
                    <a:pt x="480" y="223"/>
                  </a:lnTo>
                  <a:lnTo>
                    <a:pt x="480" y="216"/>
                  </a:lnTo>
                  <a:lnTo>
                    <a:pt x="476" y="208"/>
                  </a:lnTo>
                  <a:lnTo>
                    <a:pt x="476" y="198"/>
                  </a:lnTo>
                  <a:lnTo>
                    <a:pt x="477" y="192"/>
                  </a:lnTo>
                  <a:lnTo>
                    <a:pt x="479" y="187"/>
                  </a:lnTo>
                  <a:lnTo>
                    <a:pt x="479" y="179"/>
                  </a:lnTo>
                  <a:lnTo>
                    <a:pt x="480" y="172"/>
                  </a:lnTo>
                  <a:lnTo>
                    <a:pt x="476" y="168"/>
                  </a:lnTo>
                  <a:lnTo>
                    <a:pt x="473" y="164"/>
                  </a:lnTo>
                  <a:lnTo>
                    <a:pt x="471" y="160"/>
                  </a:lnTo>
                  <a:lnTo>
                    <a:pt x="467" y="156"/>
                  </a:lnTo>
                  <a:lnTo>
                    <a:pt x="463" y="155"/>
                  </a:lnTo>
                  <a:lnTo>
                    <a:pt x="463" y="149"/>
                  </a:lnTo>
                  <a:lnTo>
                    <a:pt x="471" y="140"/>
                  </a:lnTo>
                  <a:lnTo>
                    <a:pt x="473" y="133"/>
                  </a:lnTo>
                  <a:lnTo>
                    <a:pt x="476" y="128"/>
                  </a:lnTo>
                  <a:lnTo>
                    <a:pt x="481" y="125"/>
                  </a:lnTo>
                  <a:lnTo>
                    <a:pt x="484" y="120"/>
                  </a:lnTo>
                  <a:lnTo>
                    <a:pt x="487" y="112"/>
                  </a:lnTo>
                  <a:lnTo>
                    <a:pt x="484" y="108"/>
                  </a:lnTo>
                  <a:lnTo>
                    <a:pt x="488" y="104"/>
                  </a:lnTo>
                  <a:lnTo>
                    <a:pt x="497" y="101"/>
                  </a:lnTo>
                  <a:lnTo>
                    <a:pt x="501" y="97"/>
                  </a:lnTo>
                  <a:lnTo>
                    <a:pt x="505" y="93"/>
                  </a:lnTo>
                  <a:lnTo>
                    <a:pt x="508" y="91"/>
                  </a:lnTo>
                  <a:lnTo>
                    <a:pt x="514" y="92"/>
                  </a:lnTo>
                  <a:lnTo>
                    <a:pt x="515" y="95"/>
                  </a:lnTo>
                  <a:lnTo>
                    <a:pt x="521" y="99"/>
                  </a:lnTo>
                  <a:lnTo>
                    <a:pt x="528" y="101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45" name="WB"/>
            <p:cNvSpPr>
              <a:spLocks/>
            </p:cNvSpPr>
            <p:nvPr/>
          </p:nvSpPr>
          <p:spPr bwMode="auto">
            <a:xfrm>
              <a:off x="7284386" y="2978051"/>
              <a:ext cx="445822" cy="603207"/>
            </a:xfrm>
            <a:custGeom>
              <a:avLst/>
              <a:gdLst>
                <a:gd name="T0" fmla="*/ 763 w 1108"/>
                <a:gd name="T1" fmla="*/ 484 h 1557"/>
                <a:gd name="T2" fmla="*/ 683 w 1108"/>
                <a:gd name="T3" fmla="*/ 423 h 1557"/>
                <a:gd name="T4" fmla="*/ 628 w 1108"/>
                <a:gd name="T5" fmla="*/ 383 h 1557"/>
                <a:gd name="T6" fmla="*/ 648 w 1108"/>
                <a:gd name="T7" fmla="*/ 304 h 1557"/>
                <a:gd name="T8" fmla="*/ 715 w 1108"/>
                <a:gd name="T9" fmla="*/ 247 h 1557"/>
                <a:gd name="T10" fmla="*/ 696 w 1108"/>
                <a:gd name="T11" fmla="*/ 214 h 1557"/>
                <a:gd name="T12" fmla="*/ 712 w 1108"/>
                <a:gd name="T13" fmla="*/ 193 h 1557"/>
                <a:gd name="T14" fmla="*/ 784 w 1108"/>
                <a:gd name="T15" fmla="*/ 241 h 1557"/>
                <a:gd name="T16" fmla="*/ 784 w 1108"/>
                <a:gd name="T17" fmla="*/ 289 h 1557"/>
                <a:gd name="T18" fmla="*/ 834 w 1108"/>
                <a:gd name="T19" fmla="*/ 265 h 1557"/>
                <a:gd name="T20" fmla="*/ 859 w 1108"/>
                <a:gd name="T21" fmla="*/ 241 h 1557"/>
                <a:gd name="T22" fmla="*/ 900 w 1108"/>
                <a:gd name="T23" fmla="*/ 246 h 1557"/>
                <a:gd name="T24" fmla="*/ 970 w 1108"/>
                <a:gd name="T25" fmla="*/ 339 h 1557"/>
                <a:gd name="T26" fmla="*/ 1034 w 1108"/>
                <a:gd name="T27" fmla="*/ 329 h 1557"/>
                <a:gd name="T28" fmla="*/ 1046 w 1108"/>
                <a:gd name="T29" fmla="*/ 275 h 1557"/>
                <a:gd name="T30" fmla="*/ 1082 w 1108"/>
                <a:gd name="T31" fmla="*/ 253 h 1557"/>
                <a:gd name="T32" fmla="*/ 1107 w 1108"/>
                <a:gd name="T33" fmla="*/ 176 h 1557"/>
                <a:gd name="T34" fmla="*/ 1064 w 1108"/>
                <a:gd name="T35" fmla="*/ 139 h 1557"/>
                <a:gd name="T36" fmla="*/ 988 w 1108"/>
                <a:gd name="T37" fmla="*/ 111 h 1557"/>
                <a:gd name="T38" fmla="*/ 895 w 1108"/>
                <a:gd name="T39" fmla="*/ 103 h 1557"/>
                <a:gd name="T40" fmla="*/ 814 w 1108"/>
                <a:gd name="T41" fmla="*/ 30 h 1557"/>
                <a:gd name="T42" fmla="*/ 739 w 1108"/>
                <a:gd name="T43" fmla="*/ 15 h 1557"/>
                <a:gd name="T44" fmla="*/ 654 w 1108"/>
                <a:gd name="T45" fmla="*/ 29 h 1557"/>
                <a:gd name="T46" fmla="*/ 618 w 1108"/>
                <a:gd name="T47" fmla="*/ 68 h 1557"/>
                <a:gd name="T48" fmla="*/ 620 w 1108"/>
                <a:gd name="T49" fmla="*/ 193 h 1557"/>
                <a:gd name="T50" fmla="*/ 607 w 1108"/>
                <a:gd name="T51" fmla="*/ 297 h 1557"/>
                <a:gd name="T52" fmla="*/ 609 w 1108"/>
                <a:gd name="T53" fmla="*/ 452 h 1557"/>
                <a:gd name="T54" fmla="*/ 558 w 1108"/>
                <a:gd name="T55" fmla="*/ 548 h 1557"/>
                <a:gd name="T56" fmla="*/ 568 w 1108"/>
                <a:gd name="T57" fmla="*/ 728 h 1557"/>
                <a:gd name="T58" fmla="*/ 500 w 1108"/>
                <a:gd name="T59" fmla="*/ 827 h 1557"/>
                <a:gd name="T60" fmla="*/ 443 w 1108"/>
                <a:gd name="T61" fmla="*/ 895 h 1557"/>
                <a:gd name="T62" fmla="*/ 403 w 1108"/>
                <a:gd name="T63" fmla="*/ 918 h 1557"/>
                <a:gd name="T64" fmla="*/ 359 w 1108"/>
                <a:gd name="T65" fmla="*/ 935 h 1557"/>
                <a:gd name="T66" fmla="*/ 265 w 1108"/>
                <a:gd name="T67" fmla="*/ 964 h 1557"/>
                <a:gd name="T68" fmla="*/ 134 w 1108"/>
                <a:gd name="T69" fmla="*/ 1045 h 1557"/>
                <a:gd name="T70" fmla="*/ 50 w 1108"/>
                <a:gd name="T71" fmla="*/ 1006 h 1557"/>
                <a:gd name="T72" fmla="*/ 4 w 1108"/>
                <a:gd name="T73" fmla="*/ 1119 h 1557"/>
                <a:gd name="T74" fmla="*/ 110 w 1108"/>
                <a:gd name="T75" fmla="*/ 1169 h 1557"/>
                <a:gd name="T76" fmla="*/ 160 w 1108"/>
                <a:gd name="T77" fmla="*/ 1225 h 1557"/>
                <a:gd name="T78" fmla="*/ 262 w 1108"/>
                <a:gd name="T79" fmla="*/ 1303 h 1557"/>
                <a:gd name="T80" fmla="*/ 282 w 1108"/>
                <a:gd name="T81" fmla="*/ 1381 h 1557"/>
                <a:gd name="T82" fmla="*/ 271 w 1108"/>
                <a:gd name="T83" fmla="*/ 1408 h 1557"/>
                <a:gd name="T84" fmla="*/ 337 w 1108"/>
                <a:gd name="T85" fmla="*/ 1481 h 1557"/>
                <a:gd name="T86" fmla="*/ 392 w 1108"/>
                <a:gd name="T87" fmla="*/ 1492 h 1557"/>
                <a:gd name="T88" fmla="*/ 497 w 1108"/>
                <a:gd name="T89" fmla="*/ 1551 h 1557"/>
                <a:gd name="T90" fmla="*/ 604 w 1108"/>
                <a:gd name="T91" fmla="*/ 1463 h 1557"/>
                <a:gd name="T92" fmla="*/ 635 w 1108"/>
                <a:gd name="T93" fmla="*/ 1396 h 1557"/>
                <a:gd name="T94" fmla="*/ 561 w 1108"/>
                <a:gd name="T95" fmla="*/ 1312 h 1557"/>
                <a:gd name="T96" fmla="*/ 616 w 1108"/>
                <a:gd name="T97" fmla="*/ 1380 h 1557"/>
                <a:gd name="T98" fmla="*/ 638 w 1108"/>
                <a:gd name="T99" fmla="*/ 1468 h 1557"/>
                <a:gd name="T100" fmla="*/ 687 w 1108"/>
                <a:gd name="T101" fmla="*/ 1504 h 1557"/>
                <a:gd name="T102" fmla="*/ 763 w 1108"/>
                <a:gd name="T103" fmla="*/ 1443 h 1557"/>
                <a:gd name="T104" fmla="*/ 834 w 1108"/>
                <a:gd name="T105" fmla="*/ 1465 h 1557"/>
                <a:gd name="T106" fmla="*/ 884 w 1108"/>
                <a:gd name="T107" fmla="*/ 1414 h 1557"/>
                <a:gd name="T108" fmla="*/ 863 w 1108"/>
                <a:gd name="T109" fmla="*/ 1209 h 1557"/>
                <a:gd name="T110" fmla="*/ 816 w 1108"/>
                <a:gd name="T111" fmla="*/ 1108 h 1557"/>
                <a:gd name="T112" fmla="*/ 775 w 1108"/>
                <a:gd name="T113" fmla="*/ 1011 h 1557"/>
                <a:gd name="T114" fmla="*/ 799 w 1108"/>
                <a:gd name="T115" fmla="*/ 896 h 1557"/>
                <a:gd name="T116" fmla="*/ 691 w 1108"/>
                <a:gd name="T117" fmla="*/ 780 h 1557"/>
                <a:gd name="T118" fmla="*/ 626 w 1108"/>
                <a:gd name="T119" fmla="*/ 665 h 1557"/>
                <a:gd name="T120" fmla="*/ 678 w 1108"/>
                <a:gd name="T121" fmla="*/ 648 h 1557"/>
                <a:gd name="T122" fmla="*/ 774 w 1108"/>
                <a:gd name="T123" fmla="*/ 567 h 1557"/>
                <a:gd name="T124" fmla="*/ 874 w 1108"/>
                <a:gd name="T125" fmla="*/ 529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8" h="1557">
                  <a:moveTo>
                    <a:pt x="830" y="518"/>
                  </a:moveTo>
                  <a:lnTo>
                    <a:pt x="826" y="516"/>
                  </a:lnTo>
                  <a:lnTo>
                    <a:pt x="824" y="510"/>
                  </a:lnTo>
                  <a:lnTo>
                    <a:pt x="822" y="503"/>
                  </a:lnTo>
                  <a:lnTo>
                    <a:pt x="823" y="500"/>
                  </a:lnTo>
                  <a:lnTo>
                    <a:pt x="823" y="495"/>
                  </a:lnTo>
                  <a:lnTo>
                    <a:pt x="822" y="491"/>
                  </a:lnTo>
                  <a:lnTo>
                    <a:pt x="819" y="487"/>
                  </a:lnTo>
                  <a:lnTo>
                    <a:pt x="818" y="485"/>
                  </a:lnTo>
                  <a:lnTo>
                    <a:pt x="818" y="481"/>
                  </a:lnTo>
                  <a:lnTo>
                    <a:pt x="816" y="478"/>
                  </a:lnTo>
                  <a:lnTo>
                    <a:pt x="812" y="478"/>
                  </a:lnTo>
                  <a:lnTo>
                    <a:pt x="809" y="480"/>
                  </a:lnTo>
                  <a:lnTo>
                    <a:pt x="808" y="479"/>
                  </a:lnTo>
                  <a:lnTo>
                    <a:pt x="806" y="478"/>
                  </a:lnTo>
                  <a:lnTo>
                    <a:pt x="803" y="479"/>
                  </a:lnTo>
                  <a:lnTo>
                    <a:pt x="801" y="483"/>
                  </a:lnTo>
                  <a:lnTo>
                    <a:pt x="801" y="484"/>
                  </a:lnTo>
                  <a:lnTo>
                    <a:pt x="799" y="486"/>
                  </a:lnTo>
                  <a:lnTo>
                    <a:pt x="798" y="486"/>
                  </a:lnTo>
                  <a:lnTo>
                    <a:pt x="795" y="485"/>
                  </a:lnTo>
                  <a:lnTo>
                    <a:pt x="793" y="484"/>
                  </a:lnTo>
                  <a:lnTo>
                    <a:pt x="791" y="484"/>
                  </a:lnTo>
                  <a:lnTo>
                    <a:pt x="788" y="485"/>
                  </a:lnTo>
                  <a:lnTo>
                    <a:pt x="786" y="485"/>
                  </a:lnTo>
                  <a:lnTo>
                    <a:pt x="785" y="488"/>
                  </a:lnTo>
                  <a:lnTo>
                    <a:pt x="784" y="489"/>
                  </a:lnTo>
                  <a:lnTo>
                    <a:pt x="780" y="492"/>
                  </a:lnTo>
                  <a:lnTo>
                    <a:pt x="778" y="492"/>
                  </a:lnTo>
                  <a:lnTo>
                    <a:pt x="775" y="492"/>
                  </a:lnTo>
                  <a:lnTo>
                    <a:pt x="774" y="491"/>
                  </a:lnTo>
                  <a:lnTo>
                    <a:pt x="770" y="487"/>
                  </a:lnTo>
                  <a:lnTo>
                    <a:pt x="763" y="484"/>
                  </a:lnTo>
                  <a:lnTo>
                    <a:pt x="760" y="483"/>
                  </a:lnTo>
                  <a:lnTo>
                    <a:pt x="756" y="480"/>
                  </a:lnTo>
                  <a:lnTo>
                    <a:pt x="754" y="480"/>
                  </a:lnTo>
                  <a:lnTo>
                    <a:pt x="752" y="481"/>
                  </a:lnTo>
                  <a:lnTo>
                    <a:pt x="748" y="481"/>
                  </a:lnTo>
                  <a:lnTo>
                    <a:pt x="744" y="481"/>
                  </a:lnTo>
                  <a:lnTo>
                    <a:pt x="742" y="480"/>
                  </a:lnTo>
                  <a:lnTo>
                    <a:pt x="738" y="480"/>
                  </a:lnTo>
                  <a:lnTo>
                    <a:pt x="734" y="476"/>
                  </a:lnTo>
                  <a:lnTo>
                    <a:pt x="732" y="475"/>
                  </a:lnTo>
                  <a:lnTo>
                    <a:pt x="730" y="472"/>
                  </a:lnTo>
                  <a:lnTo>
                    <a:pt x="728" y="470"/>
                  </a:lnTo>
                  <a:lnTo>
                    <a:pt x="724" y="468"/>
                  </a:lnTo>
                  <a:lnTo>
                    <a:pt x="723" y="465"/>
                  </a:lnTo>
                  <a:lnTo>
                    <a:pt x="722" y="462"/>
                  </a:lnTo>
                  <a:lnTo>
                    <a:pt x="716" y="456"/>
                  </a:lnTo>
                  <a:lnTo>
                    <a:pt x="714" y="453"/>
                  </a:lnTo>
                  <a:lnTo>
                    <a:pt x="713" y="451"/>
                  </a:lnTo>
                  <a:lnTo>
                    <a:pt x="713" y="447"/>
                  </a:lnTo>
                  <a:lnTo>
                    <a:pt x="712" y="445"/>
                  </a:lnTo>
                  <a:lnTo>
                    <a:pt x="708" y="441"/>
                  </a:lnTo>
                  <a:lnTo>
                    <a:pt x="706" y="440"/>
                  </a:lnTo>
                  <a:lnTo>
                    <a:pt x="704" y="438"/>
                  </a:lnTo>
                  <a:lnTo>
                    <a:pt x="700" y="437"/>
                  </a:lnTo>
                  <a:lnTo>
                    <a:pt x="698" y="436"/>
                  </a:lnTo>
                  <a:lnTo>
                    <a:pt x="697" y="435"/>
                  </a:lnTo>
                  <a:lnTo>
                    <a:pt x="696" y="432"/>
                  </a:lnTo>
                  <a:lnTo>
                    <a:pt x="695" y="429"/>
                  </a:lnTo>
                  <a:lnTo>
                    <a:pt x="694" y="427"/>
                  </a:lnTo>
                  <a:lnTo>
                    <a:pt x="691" y="424"/>
                  </a:lnTo>
                  <a:lnTo>
                    <a:pt x="689" y="423"/>
                  </a:lnTo>
                  <a:lnTo>
                    <a:pt x="687" y="423"/>
                  </a:lnTo>
                  <a:lnTo>
                    <a:pt x="683" y="423"/>
                  </a:lnTo>
                  <a:lnTo>
                    <a:pt x="681" y="422"/>
                  </a:lnTo>
                  <a:lnTo>
                    <a:pt x="680" y="421"/>
                  </a:lnTo>
                  <a:lnTo>
                    <a:pt x="678" y="420"/>
                  </a:lnTo>
                  <a:lnTo>
                    <a:pt x="675" y="419"/>
                  </a:lnTo>
                  <a:lnTo>
                    <a:pt x="674" y="416"/>
                  </a:lnTo>
                  <a:lnTo>
                    <a:pt x="670" y="409"/>
                  </a:lnTo>
                  <a:lnTo>
                    <a:pt x="667" y="407"/>
                  </a:lnTo>
                  <a:lnTo>
                    <a:pt x="665" y="404"/>
                  </a:lnTo>
                  <a:lnTo>
                    <a:pt x="663" y="403"/>
                  </a:lnTo>
                  <a:lnTo>
                    <a:pt x="660" y="399"/>
                  </a:lnTo>
                  <a:lnTo>
                    <a:pt x="657" y="397"/>
                  </a:lnTo>
                  <a:lnTo>
                    <a:pt x="652" y="396"/>
                  </a:lnTo>
                  <a:lnTo>
                    <a:pt x="650" y="398"/>
                  </a:lnTo>
                  <a:lnTo>
                    <a:pt x="648" y="400"/>
                  </a:lnTo>
                  <a:lnTo>
                    <a:pt x="647" y="401"/>
                  </a:lnTo>
                  <a:lnTo>
                    <a:pt x="644" y="403"/>
                  </a:lnTo>
                  <a:lnTo>
                    <a:pt x="643" y="404"/>
                  </a:lnTo>
                  <a:lnTo>
                    <a:pt x="640" y="404"/>
                  </a:lnTo>
                  <a:lnTo>
                    <a:pt x="638" y="404"/>
                  </a:lnTo>
                  <a:lnTo>
                    <a:pt x="635" y="405"/>
                  </a:lnTo>
                  <a:lnTo>
                    <a:pt x="633" y="406"/>
                  </a:lnTo>
                  <a:lnTo>
                    <a:pt x="631" y="407"/>
                  </a:lnTo>
                  <a:lnTo>
                    <a:pt x="627" y="407"/>
                  </a:lnTo>
                  <a:lnTo>
                    <a:pt x="626" y="406"/>
                  </a:lnTo>
                  <a:lnTo>
                    <a:pt x="624" y="404"/>
                  </a:lnTo>
                  <a:lnTo>
                    <a:pt x="624" y="403"/>
                  </a:lnTo>
                  <a:lnTo>
                    <a:pt x="625" y="400"/>
                  </a:lnTo>
                  <a:lnTo>
                    <a:pt x="627" y="398"/>
                  </a:lnTo>
                  <a:lnTo>
                    <a:pt x="630" y="395"/>
                  </a:lnTo>
                  <a:lnTo>
                    <a:pt x="630" y="392"/>
                  </a:lnTo>
                  <a:lnTo>
                    <a:pt x="628" y="389"/>
                  </a:lnTo>
                  <a:lnTo>
                    <a:pt x="628" y="385"/>
                  </a:lnTo>
                  <a:lnTo>
                    <a:pt x="628" y="383"/>
                  </a:lnTo>
                  <a:lnTo>
                    <a:pt x="627" y="381"/>
                  </a:lnTo>
                  <a:lnTo>
                    <a:pt x="626" y="380"/>
                  </a:lnTo>
                  <a:lnTo>
                    <a:pt x="624" y="375"/>
                  </a:lnTo>
                  <a:lnTo>
                    <a:pt x="622" y="372"/>
                  </a:lnTo>
                  <a:lnTo>
                    <a:pt x="622" y="368"/>
                  </a:lnTo>
                  <a:lnTo>
                    <a:pt x="622" y="366"/>
                  </a:lnTo>
                  <a:lnTo>
                    <a:pt x="623" y="361"/>
                  </a:lnTo>
                  <a:lnTo>
                    <a:pt x="622" y="358"/>
                  </a:lnTo>
                  <a:lnTo>
                    <a:pt x="624" y="352"/>
                  </a:lnTo>
                  <a:lnTo>
                    <a:pt x="627" y="348"/>
                  </a:lnTo>
                  <a:lnTo>
                    <a:pt x="630" y="348"/>
                  </a:lnTo>
                  <a:lnTo>
                    <a:pt x="632" y="347"/>
                  </a:lnTo>
                  <a:lnTo>
                    <a:pt x="634" y="347"/>
                  </a:lnTo>
                  <a:lnTo>
                    <a:pt x="635" y="345"/>
                  </a:lnTo>
                  <a:lnTo>
                    <a:pt x="636" y="344"/>
                  </a:lnTo>
                  <a:lnTo>
                    <a:pt x="638" y="343"/>
                  </a:lnTo>
                  <a:lnTo>
                    <a:pt x="639" y="341"/>
                  </a:lnTo>
                  <a:lnTo>
                    <a:pt x="639" y="340"/>
                  </a:lnTo>
                  <a:lnTo>
                    <a:pt x="639" y="337"/>
                  </a:lnTo>
                  <a:lnTo>
                    <a:pt x="638" y="334"/>
                  </a:lnTo>
                  <a:lnTo>
                    <a:pt x="636" y="332"/>
                  </a:lnTo>
                  <a:lnTo>
                    <a:pt x="636" y="331"/>
                  </a:lnTo>
                  <a:lnTo>
                    <a:pt x="635" y="328"/>
                  </a:lnTo>
                  <a:lnTo>
                    <a:pt x="635" y="325"/>
                  </a:lnTo>
                  <a:lnTo>
                    <a:pt x="635" y="323"/>
                  </a:lnTo>
                  <a:lnTo>
                    <a:pt x="636" y="318"/>
                  </a:lnTo>
                  <a:lnTo>
                    <a:pt x="638" y="317"/>
                  </a:lnTo>
                  <a:lnTo>
                    <a:pt x="639" y="315"/>
                  </a:lnTo>
                  <a:lnTo>
                    <a:pt x="640" y="312"/>
                  </a:lnTo>
                  <a:lnTo>
                    <a:pt x="641" y="310"/>
                  </a:lnTo>
                  <a:lnTo>
                    <a:pt x="643" y="308"/>
                  </a:lnTo>
                  <a:lnTo>
                    <a:pt x="644" y="307"/>
                  </a:lnTo>
                  <a:lnTo>
                    <a:pt x="648" y="304"/>
                  </a:lnTo>
                  <a:lnTo>
                    <a:pt x="652" y="302"/>
                  </a:lnTo>
                  <a:lnTo>
                    <a:pt x="655" y="301"/>
                  </a:lnTo>
                  <a:lnTo>
                    <a:pt x="658" y="299"/>
                  </a:lnTo>
                  <a:lnTo>
                    <a:pt x="659" y="297"/>
                  </a:lnTo>
                  <a:lnTo>
                    <a:pt x="664" y="296"/>
                  </a:lnTo>
                  <a:lnTo>
                    <a:pt x="665" y="295"/>
                  </a:lnTo>
                  <a:lnTo>
                    <a:pt x="667" y="293"/>
                  </a:lnTo>
                  <a:lnTo>
                    <a:pt x="670" y="292"/>
                  </a:lnTo>
                  <a:lnTo>
                    <a:pt x="676" y="289"/>
                  </a:lnTo>
                  <a:lnTo>
                    <a:pt x="678" y="289"/>
                  </a:lnTo>
                  <a:lnTo>
                    <a:pt x="679" y="288"/>
                  </a:lnTo>
                  <a:lnTo>
                    <a:pt x="681" y="288"/>
                  </a:lnTo>
                  <a:lnTo>
                    <a:pt x="684" y="287"/>
                  </a:lnTo>
                  <a:lnTo>
                    <a:pt x="686" y="286"/>
                  </a:lnTo>
                  <a:lnTo>
                    <a:pt x="688" y="284"/>
                  </a:lnTo>
                  <a:lnTo>
                    <a:pt x="689" y="278"/>
                  </a:lnTo>
                  <a:lnTo>
                    <a:pt x="689" y="276"/>
                  </a:lnTo>
                  <a:lnTo>
                    <a:pt x="689" y="273"/>
                  </a:lnTo>
                  <a:lnTo>
                    <a:pt x="690" y="271"/>
                  </a:lnTo>
                  <a:lnTo>
                    <a:pt x="690" y="269"/>
                  </a:lnTo>
                  <a:lnTo>
                    <a:pt x="691" y="268"/>
                  </a:lnTo>
                  <a:lnTo>
                    <a:pt x="692" y="265"/>
                  </a:lnTo>
                  <a:lnTo>
                    <a:pt x="695" y="263"/>
                  </a:lnTo>
                  <a:lnTo>
                    <a:pt x="697" y="263"/>
                  </a:lnTo>
                  <a:lnTo>
                    <a:pt x="702" y="261"/>
                  </a:lnTo>
                  <a:lnTo>
                    <a:pt x="703" y="261"/>
                  </a:lnTo>
                  <a:lnTo>
                    <a:pt x="706" y="260"/>
                  </a:lnTo>
                  <a:lnTo>
                    <a:pt x="706" y="257"/>
                  </a:lnTo>
                  <a:lnTo>
                    <a:pt x="707" y="256"/>
                  </a:lnTo>
                  <a:lnTo>
                    <a:pt x="710" y="254"/>
                  </a:lnTo>
                  <a:lnTo>
                    <a:pt x="711" y="253"/>
                  </a:lnTo>
                  <a:lnTo>
                    <a:pt x="712" y="251"/>
                  </a:lnTo>
                  <a:lnTo>
                    <a:pt x="715" y="247"/>
                  </a:lnTo>
                  <a:lnTo>
                    <a:pt x="718" y="245"/>
                  </a:lnTo>
                  <a:lnTo>
                    <a:pt x="719" y="244"/>
                  </a:lnTo>
                  <a:lnTo>
                    <a:pt x="721" y="244"/>
                  </a:lnTo>
                  <a:lnTo>
                    <a:pt x="722" y="245"/>
                  </a:lnTo>
                  <a:lnTo>
                    <a:pt x="723" y="246"/>
                  </a:lnTo>
                  <a:lnTo>
                    <a:pt x="724" y="247"/>
                  </a:lnTo>
                  <a:lnTo>
                    <a:pt x="727" y="248"/>
                  </a:lnTo>
                  <a:lnTo>
                    <a:pt x="728" y="249"/>
                  </a:lnTo>
                  <a:lnTo>
                    <a:pt x="732" y="249"/>
                  </a:lnTo>
                  <a:lnTo>
                    <a:pt x="736" y="248"/>
                  </a:lnTo>
                  <a:lnTo>
                    <a:pt x="737" y="247"/>
                  </a:lnTo>
                  <a:lnTo>
                    <a:pt x="738" y="246"/>
                  </a:lnTo>
                  <a:lnTo>
                    <a:pt x="738" y="244"/>
                  </a:lnTo>
                  <a:lnTo>
                    <a:pt x="738" y="241"/>
                  </a:lnTo>
                  <a:lnTo>
                    <a:pt x="738" y="239"/>
                  </a:lnTo>
                  <a:lnTo>
                    <a:pt x="737" y="237"/>
                  </a:lnTo>
                  <a:lnTo>
                    <a:pt x="736" y="235"/>
                  </a:lnTo>
                  <a:lnTo>
                    <a:pt x="734" y="233"/>
                  </a:lnTo>
                  <a:lnTo>
                    <a:pt x="729" y="230"/>
                  </a:lnTo>
                  <a:lnTo>
                    <a:pt x="728" y="229"/>
                  </a:lnTo>
                  <a:lnTo>
                    <a:pt x="727" y="227"/>
                  </a:lnTo>
                  <a:lnTo>
                    <a:pt x="724" y="225"/>
                  </a:lnTo>
                  <a:lnTo>
                    <a:pt x="722" y="222"/>
                  </a:lnTo>
                  <a:lnTo>
                    <a:pt x="720" y="220"/>
                  </a:lnTo>
                  <a:lnTo>
                    <a:pt x="718" y="220"/>
                  </a:lnTo>
                  <a:lnTo>
                    <a:pt x="714" y="217"/>
                  </a:lnTo>
                  <a:lnTo>
                    <a:pt x="713" y="216"/>
                  </a:lnTo>
                  <a:lnTo>
                    <a:pt x="710" y="215"/>
                  </a:lnTo>
                  <a:lnTo>
                    <a:pt x="706" y="215"/>
                  </a:lnTo>
                  <a:lnTo>
                    <a:pt x="704" y="215"/>
                  </a:lnTo>
                  <a:lnTo>
                    <a:pt x="702" y="215"/>
                  </a:lnTo>
                  <a:lnTo>
                    <a:pt x="699" y="213"/>
                  </a:lnTo>
                  <a:lnTo>
                    <a:pt x="696" y="214"/>
                  </a:lnTo>
                  <a:lnTo>
                    <a:pt x="696" y="216"/>
                  </a:lnTo>
                  <a:lnTo>
                    <a:pt x="695" y="219"/>
                  </a:lnTo>
                  <a:lnTo>
                    <a:pt x="694" y="219"/>
                  </a:lnTo>
                  <a:lnTo>
                    <a:pt x="691" y="220"/>
                  </a:lnTo>
                  <a:lnTo>
                    <a:pt x="690" y="220"/>
                  </a:lnTo>
                  <a:lnTo>
                    <a:pt x="689" y="219"/>
                  </a:lnTo>
                  <a:lnTo>
                    <a:pt x="688" y="217"/>
                  </a:lnTo>
                  <a:lnTo>
                    <a:pt x="688" y="214"/>
                  </a:lnTo>
                  <a:lnTo>
                    <a:pt x="690" y="213"/>
                  </a:lnTo>
                  <a:lnTo>
                    <a:pt x="690" y="211"/>
                  </a:lnTo>
                  <a:lnTo>
                    <a:pt x="692" y="208"/>
                  </a:lnTo>
                  <a:lnTo>
                    <a:pt x="694" y="207"/>
                  </a:lnTo>
                  <a:lnTo>
                    <a:pt x="695" y="205"/>
                  </a:lnTo>
                  <a:lnTo>
                    <a:pt x="696" y="201"/>
                  </a:lnTo>
                  <a:lnTo>
                    <a:pt x="696" y="200"/>
                  </a:lnTo>
                  <a:lnTo>
                    <a:pt x="697" y="198"/>
                  </a:lnTo>
                  <a:lnTo>
                    <a:pt x="698" y="195"/>
                  </a:lnTo>
                  <a:lnTo>
                    <a:pt x="700" y="192"/>
                  </a:lnTo>
                  <a:lnTo>
                    <a:pt x="700" y="191"/>
                  </a:lnTo>
                  <a:lnTo>
                    <a:pt x="700" y="189"/>
                  </a:lnTo>
                  <a:lnTo>
                    <a:pt x="700" y="187"/>
                  </a:lnTo>
                  <a:lnTo>
                    <a:pt x="702" y="184"/>
                  </a:lnTo>
                  <a:lnTo>
                    <a:pt x="702" y="182"/>
                  </a:lnTo>
                  <a:lnTo>
                    <a:pt x="704" y="179"/>
                  </a:lnTo>
                  <a:lnTo>
                    <a:pt x="705" y="177"/>
                  </a:lnTo>
                  <a:lnTo>
                    <a:pt x="707" y="177"/>
                  </a:lnTo>
                  <a:lnTo>
                    <a:pt x="711" y="181"/>
                  </a:lnTo>
                  <a:lnTo>
                    <a:pt x="711" y="183"/>
                  </a:lnTo>
                  <a:lnTo>
                    <a:pt x="712" y="185"/>
                  </a:lnTo>
                  <a:lnTo>
                    <a:pt x="713" y="188"/>
                  </a:lnTo>
                  <a:lnTo>
                    <a:pt x="713" y="189"/>
                  </a:lnTo>
                  <a:lnTo>
                    <a:pt x="712" y="191"/>
                  </a:lnTo>
                  <a:lnTo>
                    <a:pt x="712" y="193"/>
                  </a:lnTo>
                  <a:lnTo>
                    <a:pt x="713" y="195"/>
                  </a:lnTo>
                  <a:lnTo>
                    <a:pt x="714" y="197"/>
                  </a:lnTo>
                  <a:lnTo>
                    <a:pt x="718" y="197"/>
                  </a:lnTo>
                  <a:lnTo>
                    <a:pt x="719" y="196"/>
                  </a:lnTo>
                  <a:lnTo>
                    <a:pt x="719" y="193"/>
                  </a:lnTo>
                  <a:lnTo>
                    <a:pt x="721" y="193"/>
                  </a:lnTo>
                  <a:lnTo>
                    <a:pt x="722" y="195"/>
                  </a:lnTo>
                  <a:lnTo>
                    <a:pt x="724" y="197"/>
                  </a:lnTo>
                  <a:lnTo>
                    <a:pt x="727" y="199"/>
                  </a:lnTo>
                  <a:lnTo>
                    <a:pt x="728" y="201"/>
                  </a:lnTo>
                  <a:lnTo>
                    <a:pt x="729" y="205"/>
                  </a:lnTo>
                  <a:lnTo>
                    <a:pt x="731" y="208"/>
                  </a:lnTo>
                  <a:lnTo>
                    <a:pt x="735" y="212"/>
                  </a:lnTo>
                  <a:lnTo>
                    <a:pt x="737" y="213"/>
                  </a:lnTo>
                  <a:lnTo>
                    <a:pt x="739" y="216"/>
                  </a:lnTo>
                  <a:lnTo>
                    <a:pt x="742" y="219"/>
                  </a:lnTo>
                  <a:lnTo>
                    <a:pt x="744" y="220"/>
                  </a:lnTo>
                  <a:lnTo>
                    <a:pt x="747" y="222"/>
                  </a:lnTo>
                  <a:lnTo>
                    <a:pt x="750" y="223"/>
                  </a:lnTo>
                  <a:lnTo>
                    <a:pt x="752" y="223"/>
                  </a:lnTo>
                  <a:lnTo>
                    <a:pt x="753" y="222"/>
                  </a:lnTo>
                  <a:lnTo>
                    <a:pt x="755" y="219"/>
                  </a:lnTo>
                  <a:lnTo>
                    <a:pt x="758" y="216"/>
                  </a:lnTo>
                  <a:lnTo>
                    <a:pt x="758" y="214"/>
                  </a:lnTo>
                  <a:lnTo>
                    <a:pt x="759" y="213"/>
                  </a:lnTo>
                  <a:lnTo>
                    <a:pt x="762" y="214"/>
                  </a:lnTo>
                  <a:lnTo>
                    <a:pt x="766" y="217"/>
                  </a:lnTo>
                  <a:lnTo>
                    <a:pt x="770" y="221"/>
                  </a:lnTo>
                  <a:lnTo>
                    <a:pt x="777" y="231"/>
                  </a:lnTo>
                  <a:lnTo>
                    <a:pt x="779" y="233"/>
                  </a:lnTo>
                  <a:lnTo>
                    <a:pt x="782" y="237"/>
                  </a:lnTo>
                  <a:lnTo>
                    <a:pt x="783" y="239"/>
                  </a:lnTo>
                  <a:lnTo>
                    <a:pt x="784" y="241"/>
                  </a:lnTo>
                  <a:lnTo>
                    <a:pt x="784" y="245"/>
                  </a:lnTo>
                  <a:lnTo>
                    <a:pt x="785" y="247"/>
                  </a:lnTo>
                  <a:lnTo>
                    <a:pt x="787" y="249"/>
                  </a:lnTo>
                  <a:lnTo>
                    <a:pt x="791" y="249"/>
                  </a:lnTo>
                  <a:lnTo>
                    <a:pt x="793" y="249"/>
                  </a:lnTo>
                  <a:lnTo>
                    <a:pt x="794" y="249"/>
                  </a:lnTo>
                  <a:lnTo>
                    <a:pt x="794" y="252"/>
                  </a:lnTo>
                  <a:lnTo>
                    <a:pt x="794" y="254"/>
                  </a:lnTo>
                  <a:lnTo>
                    <a:pt x="794" y="256"/>
                  </a:lnTo>
                  <a:lnTo>
                    <a:pt x="793" y="257"/>
                  </a:lnTo>
                  <a:lnTo>
                    <a:pt x="791" y="257"/>
                  </a:lnTo>
                  <a:lnTo>
                    <a:pt x="787" y="259"/>
                  </a:lnTo>
                  <a:lnTo>
                    <a:pt x="785" y="256"/>
                  </a:lnTo>
                  <a:lnTo>
                    <a:pt x="783" y="257"/>
                  </a:lnTo>
                  <a:lnTo>
                    <a:pt x="780" y="259"/>
                  </a:lnTo>
                  <a:lnTo>
                    <a:pt x="780" y="261"/>
                  </a:lnTo>
                  <a:lnTo>
                    <a:pt x="780" y="265"/>
                  </a:lnTo>
                  <a:lnTo>
                    <a:pt x="782" y="267"/>
                  </a:lnTo>
                  <a:lnTo>
                    <a:pt x="782" y="268"/>
                  </a:lnTo>
                  <a:lnTo>
                    <a:pt x="783" y="270"/>
                  </a:lnTo>
                  <a:lnTo>
                    <a:pt x="783" y="272"/>
                  </a:lnTo>
                  <a:lnTo>
                    <a:pt x="782" y="273"/>
                  </a:lnTo>
                  <a:lnTo>
                    <a:pt x="779" y="275"/>
                  </a:lnTo>
                  <a:lnTo>
                    <a:pt x="778" y="277"/>
                  </a:lnTo>
                  <a:lnTo>
                    <a:pt x="777" y="279"/>
                  </a:lnTo>
                  <a:lnTo>
                    <a:pt x="777" y="281"/>
                  </a:lnTo>
                  <a:lnTo>
                    <a:pt x="777" y="284"/>
                  </a:lnTo>
                  <a:lnTo>
                    <a:pt x="778" y="285"/>
                  </a:lnTo>
                  <a:lnTo>
                    <a:pt x="779" y="286"/>
                  </a:lnTo>
                  <a:lnTo>
                    <a:pt x="779" y="287"/>
                  </a:lnTo>
                  <a:lnTo>
                    <a:pt x="780" y="288"/>
                  </a:lnTo>
                  <a:lnTo>
                    <a:pt x="782" y="289"/>
                  </a:lnTo>
                  <a:lnTo>
                    <a:pt x="784" y="289"/>
                  </a:lnTo>
                  <a:lnTo>
                    <a:pt x="785" y="291"/>
                  </a:lnTo>
                  <a:lnTo>
                    <a:pt x="787" y="292"/>
                  </a:lnTo>
                  <a:lnTo>
                    <a:pt x="790" y="292"/>
                  </a:lnTo>
                  <a:lnTo>
                    <a:pt x="791" y="292"/>
                  </a:lnTo>
                  <a:lnTo>
                    <a:pt x="793" y="292"/>
                  </a:lnTo>
                  <a:lnTo>
                    <a:pt x="794" y="291"/>
                  </a:lnTo>
                  <a:lnTo>
                    <a:pt x="795" y="288"/>
                  </a:lnTo>
                  <a:lnTo>
                    <a:pt x="795" y="287"/>
                  </a:lnTo>
                  <a:lnTo>
                    <a:pt x="795" y="285"/>
                  </a:lnTo>
                  <a:lnTo>
                    <a:pt x="795" y="283"/>
                  </a:lnTo>
                  <a:lnTo>
                    <a:pt x="794" y="280"/>
                  </a:lnTo>
                  <a:lnTo>
                    <a:pt x="795" y="278"/>
                  </a:lnTo>
                  <a:lnTo>
                    <a:pt x="795" y="277"/>
                  </a:lnTo>
                  <a:lnTo>
                    <a:pt x="793" y="275"/>
                  </a:lnTo>
                  <a:lnTo>
                    <a:pt x="792" y="272"/>
                  </a:lnTo>
                  <a:lnTo>
                    <a:pt x="793" y="270"/>
                  </a:lnTo>
                  <a:lnTo>
                    <a:pt x="795" y="268"/>
                  </a:lnTo>
                  <a:lnTo>
                    <a:pt x="798" y="267"/>
                  </a:lnTo>
                  <a:lnTo>
                    <a:pt x="800" y="265"/>
                  </a:lnTo>
                  <a:lnTo>
                    <a:pt x="803" y="264"/>
                  </a:lnTo>
                  <a:lnTo>
                    <a:pt x="806" y="264"/>
                  </a:lnTo>
                  <a:lnTo>
                    <a:pt x="809" y="265"/>
                  </a:lnTo>
                  <a:lnTo>
                    <a:pt x="810" y="268"/>
                  </a:lnTo>
                  <a:lnTo>
                    <a:pt x="810" y="269"/>
                  </a:lnTo>
                  <a:lnTo>
                    <a:pt x="812" y="271"/>
                  </a:lnTo>
                  <a:lnTo>
                    <a:pt x="815" y="271"/>
                  </a:lnTo>
                  <a:lnTo>
                    <a:pt x="819" y="272"/>
                  </a:lnTo>
                  <a:lnTo>
                    <a:pt x="824" y="272"/>
                  </a:lnTo>
                  <a:lnTo>
                    <a:pt x="826" y="272"/>
                  </a:lnTo>
                  <a:lnTo>
                    <a:pt x="831" y="272"/>
                  </a:lnTo>
                  <a:lnTo>
                    <a:pt x="832" y="271"/>
                  </a:lnTo>
                  <a:lnTo>
                    <a:pt x="833" y="269"/>
                  </a:lnTo>
                  <a:lnTo>
                    <a:pt x="834" y="265"/>
                  </a:lnTo>
                  <a:lnTo>
                    <a:pt x="835" y="264"/>
                  </a:lnTo>
                  <a:lnTo>
                    <a:pt x="838" y="263"/>
                  </a:lnTo>
                  <a:lnTo>
                    <a:pt x="839" y="263"/>
                  </a:lnTo>
                  <a:lnTo>
                    <a:pt x="841" y="263"/>
                  </a:lnTo>
                  <a:lnTo>
                    <a:pt x="842" y="264"/>
                  </a:lnTo>
                  <a:lnTo>
                    <a:pt x="844" y="265"/>
                  </a:lnTo>
                  <a:lnTo>
                    <a:pt x="851" y="267"/>
                  </a:lnTo>
                  <a:lnTo>
                    <a:pt x="855" y="268"/>
                  </a:lnTo>
                  <a:lnTo>
                    <a:pt x="860" y="269"/>
                  </a:lnTo>
                  <a:lnTo>
                    <a:pt x="863" y="270"/>
                  </a:lnTo>
                  <a:lnTo>
                    <a:pt x="865" y="270"/>
                  </a:lnTo>
                  <a:lnTo>
                    <a:pt x="871" y="271"/>
                  </a:lnTo>
                  <a:lnTo>
                    <a:pt x="873" y="272"/>
                  </a:lnTo>
                  <a:lnTo>
                    <a:pt x="875" y="272"/>
                  </a:lnTo>
                  <a:lnTo>
                    <a:pt x="878" y="273"/>
                  </a:lnTo>
                  <a:lnTo>
                    <a:pt x="881" y="272"/>
                  </a:lnTo>
                  <a:lnTo>
                    <a:pt x="883" y="272"/>
                  </a:lnTo>
                  <a:lnTo>
                    <a:pt x="886" y="272"/>
                  </a:lnTo>
                  <a:lnTo>
                    <a:pt x="886" y="270"/>
                  </a:lnTo>
                  <a:lnTo>
                    <a:pt x="886" y="269"/>
                  </a:lnTo>
                  <a:lnTo>
                    <a:pt x="884" y="265"/>
                  </a:lnTo>
                  <a:lnTo>
                    <a:pt x="883" y="262"/>
                  </a:lnTo>
                  <a:lnTo>
                    <a:pt x="882" y="260"/>
                  </a:lnTo>
                  <a:lnTo>
                    <a:pt x="880" y="257"/>
                  </a:lnTo>
                  <a:lnTo>
                    <a:pt x="874" y="255"/>
                  </a:lnTo>
                  <a:lnTo>
                    <a:pt x="872" y="253"/>
                  </a:lnTo>
                  <a:lnTo>
                    <a:pt x="868" y="251"/>
                  </a:lnTo>
                  <a:lnTo>
                    <a:pt x="868" y="248"/>
                  </a:lnTo>
                  <a:lnTo>
                    <a:pt x="868" y="246"/>
                  </a:lnTo>
                  <a:lnTo>
                    <a:pt x="868" y="244"/>
                  </a:lnTo>
                  <a:lnTo>
                    <a:pt x="867" y="241"/>
                  </a:lnTo>
                  <a:lnTo>
                    <a:pt x="865" y="241"/>
                  </a:lnTo>
                  <a:lnTo>
                    <a:pt x="859" y="241"/>
                  </a:lnTo>
                  <a:lnTo>
                    <a:pt x="855" y="240"/>
                  </a:lnTo>
                  <a:lnTo>
                    <a:pt x="852" y="239"/>
                  </a:lnTo>
                  <a:lnTo>
                    <a:pt x="850" y="237"/>
                  </a:lnTo>
                  <a:lnTo>
                    <a:pt x="849" y="233"/>
                  </a:lnTo>
                  <a:lnTo>
                    <a:pt x="849" y="231"/>
                  </a:lnTo>
                  <a:lnTo>
                    <a:pt x="850" y="228"/>
                  </a:lnTo>
                  <a:lnTo>
                    <a:pt x="850" y="227"/>
                  </a:lnTo>
                  <a:lnTo>
                    <a:pt x="852" y="223"/>
                  </a:lnTo>
                  <a:lnTo>
                    <a:pt x="855" y="222"/>
                  </a:lnTo>
                  <a:lnTo>
                    <a:pt x="857" y="221"/>
                  </a:lnTo>
                  <a:lnTo>
                    <a:pt x="859" y="220"/>
                  </a:lnTo>
                  <a:lnTo>
                    <a:pt x="863" y="220"/>
                  </a:lnTo>
                  <a:lnTo>
                    <a:pt x="865" y="220"/>
                  </a:lnTo>
                  <a:lnTo>
                    <a:pt x="867" y="220"/>
                  </a:lnTo>
                  <a:lnTo>
                    <a:pt x="872" y="221"/>
                  </a:lnTo>
                  <a:lnTo>
                    <a:pt x="874" y="222"/>
                  </a:lnTo>
                  <a:lnTo>
                    <a:pt x="876" y="224"/>
                  </a:lnTo>
                  <a:lnTo>
                    <a:pt x="880" y="224"/>
                  </a:lnTo>
                  <a:lnTo>
                    <a:pt x="883" y="225"/>
                  </a:lnTo>
                  <a:lnTo>
                    <a:pt x="883" y="227"/>
                  </a:lnTo>
                  <a:lnTo>
                    <a:pt x="883" y="229"/>
                  </a:lnTo>
                  <a:lnTo>
                    <a:pt x="886" y="229"/>
                  </a:lnTo>
                  <a:lnTo>
                    <a:pt x="888" y="229"/>
                  </a:lnTo>
                  <a:lnTo>
                    <a:pt x="889" y="229"/>
                  </a:lnTo>
                  <a:lnTo>
                    <a:pt x="892" y="231"/>
                  </a:lnTo>
                  <a:lnTo>
                    <a:pt x="894" y="233"/>
                  </a:lnTo>
                  <a:lnTo>
                    <a:pt x="894" y="236"/>
                  </a:lnTo>
                  <a:lnTo>
                    <a:pt x="895" y="237"/>
                  </a:lnTo>
                  <a:lnTo>
                    <a:pt x="895" y="239"/>
                  </a:lnTo>
                  <a:lnTo>
                    <a:pt x="894" y="241"/>
                  </a:lnTo>
                  <a:lnTo>
                    <a:pt x="895" y="244"/>
                  </a:lnTo>
                  <a:lnTo>
                    <a:pt x="898" y="246"/>
                  </a:lnTo>
                  <a:lnTo>
                    <a:pt x="900" y="246"/>
                  </a:lnTo>
                  <a:lnTo>
                    <a:pt x="902" y="247"/>
                  </a:lnTo>
                  <a:lnTo>
                    <a:pt x="903" y="249"/>
                  </a:lnTo>
                  <a:lnTo>
                    <a:pt x="902" y="251"/>
                  </a:lnTo>
                  <a:lnTo>
                    <a:pt x="899" y="252"/>
                  </a:lnTo>
                  <a:lnTo>
                    <a:pt x="898" y="254"/>
                  </a:lnTo>
                  <a:lnTo>
                    <a:pt x="898" y="256"/>
                  </a:lnTo>
                  <a:lnTo>
                    <a:pt x="900" y="259"/>
                  </a:lnTo>
                  <a:lnTo>
                    <a:pt x="902" y="260"/>
                  </a:lnTo>
                  <a:lnTo>
                    <a:pt x="904" y="267"/>
                  </a:lnTo>
                  <a:lnTo>
                    <a:pt x="905" y="271"/>
                  </a:lnTo>
                  <a:lnTo>
                    <a:pt x="906" y="277"/>
                  </a:lnTo>
                  <a:lnTo>
                    <a:pt x="910" y="280"/>
                  </a:lnTo>
                  <a:lnTo>
                    <a:pt x="910" y="286"/>
                  </a:lnTo>
                  <a:lnTo>
                    <a:pt x="912" y="289"/>
                  </a:lnTo>
                  <a:lnTo>
                    <a:pt x="913" y="293"/>
                  </a:lnTo>
                  <a:lnTo>
                    <a:pt x="916" y="296"/>
                  </a:lnTo>
                  <a:lnTo>
                    <a:pt x="921" y="300"/>
                  </a:lnTo>
                  <a:lnTo>
                    <a:pt x="924" y="302"/>
                  </a:lnTo>
                  <a:lnTo>
                    <a:pt x="928" y="304"/>
                  </a:lnTo>
                  <a:lnTo>
                    <a:pt x="934" y="310"/>
                  </a:lnTo>
                  <a:lnTo>
                    <a:pt x="937" y="311"/>
                  </a:lnTo>
                  <a:lnTo>
                    <a:pt x="942" y="313"/>
                  </a:lnTo>
                  <a:lnTo>
                    <a:pt x="945" y="316"/>
                  </a:lnTo>
                  <a:lnTo>
                    <a:pt x="947" y="318"/>
                  </a:lnTo>
                  <a:lnTo>
                    <a:pt x="950" y="319"/>
                  </a:lnTo>
                  <a:lnTo>
                    <a:pt x="950" y="321"/>
                  </a:lnTo>
                  <a:lnTo>
                    <a:pt x="952" y="325"/>
                  </a:lnTo>
                  <a:lnTo>
                    <a:pt x="954" y="328"/>
                  </a:lnTo>
                  <a:lnTo>
                    <a:pt x="956" y="329"/>
                  </a:lnTo>
                  <a:lnTo>
                    <a:pt x="961" y="333"/>
                  </a:lnTo>
                  <a:lnTo>
                    <a:pt x="966" y="336"/>
                  </a:lnTo>
                  <a:lnTo>
                    <a:pt x="968" y="339"/>
                  </a:lnTo>
                  <a:lnTo>
                    <a:pt x="970" y="339"/>
                  </a:lnTo>
                  <a:lnTo>
                    <a:pt x="974" y="340"/>
                  </a:lnTo>
                  <a:lnTo>
                    <a:pt x="975" y="340"/>
                  </a:lnTo>
                  <a:lnTo>
                    <a:pt x="977" y="340"/>
                  </a:lnTo>
                  <a:lnTo>
                    <a:pt x="980" y="337"/>
                  </a:lnTo>
                  <a:lnTo>
                    <a:pt x="983" y="336"/>
                  </a:lnTo>
                  <a:lnTo>
                    <a:pt x="984" y="334"/>
                  </a:lnTo>
                  <a:lnTo>
                    <a:pt x="987" y="333"/>
                  </a:lnTo>
                  <a:lnTo>
                    <a:pt x="991" y="333"/>
                  </a:lnTo>
                  <a:lnTo>
                    <a:pt x="993" y="334"/>
                  </a:lnTo>
                  <a:lnTo>
                    <a:pt x="994" y="335"/>
                  </a:lnTo>
                  <a:lnTo>
                    <a:pt x="995" y="337"/>
                  </a:lnTo>
                  <a:lnTo>
                    <a:pt x="998" y="339"/>
                  </a:lnTo>
                  <a:lnTo>
                    <a:pt x="999" y="341"/>
                  </a:lnTo>
                  <a:lnTo>
                    <a:pt x="1000" y="342"/>
                  </a:lnTo>
                  <a:lnTo>
                    <a:pt x="1004" y="342"/>
                  </a:lnTo>
                  <a:lnTo>
                    <a:pt x="1008" y="341"/>
                  </a:lnTo>
                  <a:lnTo>
                    <a:pt x="1009" y="340"/>
                  </a:lnTo>
                  <a:lnTo>
                    <a:pt x="1014" y="340"/>
                  </a:lnTo>
                  <a:lnTo>
                    <a:pt x="1016" y="341"/>
                  </a:lnTo>
                  <a:lnTo>
                    <a:pt x="1017" y="342"/>
                  </a:lnTo>
                  <a:lnTo>
                    <a:pt x="1017" y="344"/>
                  </a:lnTo>
                  <a:lnTo>
                    <a:pt x="1020" y="349"/>
                  </a:lnTo>
                  <a:lnTo>
                    <a:pt x="1023" y="349"/>
                  </a:lnTo>
                  <a:lnTo>
                    <a:pt x="1026" y="349"/>
                  </a:lnTo>
                  <a:lnTo>
                    <a:pt x="1030" y="348"/>
                  </a:lnTo>
                  <a:lnTo>
                    <a:pt x="1030" y="345"/>
                  </a:lnTo>
                  <a:lnTo>
                    <a:pt x="1030" y="343"/>
                  </a:lnTo>
                  <a:lnTo>
                    <a:pt x="1030" y="341"/>
                  </a:lnTo>
                  <a:lnTo>
                    <a:pt x="1027" y="339"/>
                  </a:lnTo>
                  <a:lnTo>
                    <a:pt x="1027" y="336"/>
                  </a:lnTo>
                  <a:lnTo>
                    <a:pt x="1028" y="334"/>
                  </a:lnTo>
                  <a:lnTo>
                    <a:pt x="1030" y="332"/>
                  </a:lnTo>
                  <a:lnTo>
                    <a:pt x="1034" y="329"/>
                  </a:lnTo>
                  <a:lnTo>
                    <a:pt x="1035" y="328"/>
                  </a:lnTo>
                  <a:lnTo>
                    <a:pt x="1036" y="326"/>
                  </a:lnTo>
                  <a:lnTo>
                    <a:pt x="1040" y="323"/>
                  </a:lnTo>
                  <a:lnTo>
                    <a:pt x="1041" y="320"/>
                  </a:lnTo>
                  <a:lnTo>
                    <a:pt x="1043" y="318"/>
                  </a:lnTo>
                  <a:lnTo>
                    <a:pt x="1044" y="315"/>
                  </a:lnTo>
                  <a:lnTo>
                    <a:pt x="1044" y="313"/>
                  </a:lnTo>
                  <a:lnTo>
                    <a:pt x="1043" y="311"/>
                  </a:lnTo>
                  <a:lnTo>
                    <a:pt x="1042" y="309"/>
                  </a:lnTo>
                  <a:lnTo>
                    <a:pt x="1040" y="309"/>
                  </a:lnTo>
                  <a:lnTo>
                    <a:pt x="1039" y="309"/>
                  </a:lnTo>
                  <a:lnTo>
                    <a:pt x="1036" y="309"/>
                  </a:lnTo>
                  <a:lnTo>
                    <a:pt x="1035" y="307"/>
                  </a:lnTo>
                  <a:lnTo>
                    <a:pt x="1035" y="305"/>
                  </a:lnTo>
                  <a:lnTo>
                    <a:pt x="1036" y="303"/>
                  </a:lnTo>
                  <a:lnTo>
                    <a:pt x="1038" y="302"/>
                  </a:lnTo>
                  <a:lnTo>
                    <a:pt x="1036" y="300"/>
                  </a:lnTo>
                  <a:lnTo>
                    <a:pt x="1034" y="299"/>
                  </a:lnTo>
                  <a:lnTo>
                    <a:pt x="1031" y="296"/>
                  </a:lnTo>
                  <a:lnTo>
                    <a:pt x="1032" y="294"/>
                  </a:lnTo>
                  <a:lnTo>
                    <a:pt x="1033" y="294"/>
                  </a:lnTo>
                  <a:lnTo>
                    <a:pt x="1034" y="293"/>
                  </a:lnTo>
                  <a:lnTo>
                    <a:pt x="1036" y="292"/>
                  </a:lnTo>
                  <a:lnTo>
                    <a:pt x="1039" y="291"/>
                  </a:lnTo>
                  <a:lnTo>
                    <a:pt x="1040" y="289"/>
                  </a:lnTo>
                  <a:lnTo>
                    <a:pt x="1041" y="288"/>
                  </a:lnTo>
                  <a:lnTo>
                    <a:pt x="1042" y="287"/>
                  </a:lnTo>
                  <a:lnTo>
                    <a:pt x="1043" y="285"/>
                  </a:lnTo>
                  <a:lnTo>
                    <a:pt x="1044" y="283"/>
                  </a:lnTo>
                  <a:lnTo>
                    <a:pt x="1044" y="281"/>
                  </a:lnTo>
                  <a:lnTo>
                    <a:pt x="1044" y="278"/>
                  </a:lnTo>
                  <a:lnTo>
                    <a:pt x="1044" y="277"/>
                  </a:lnTo>
                  <a:lnTo>
                    <a:pt x="1046" y="275"/>
                  </a:lnTo>
                  <a:lnTo>
                    <a:pt x="1047" y="275"/>
                  </a:lnTo>
                  <a:lnTo>
                    <a:pt x="1049" y="273"/>
                  </a:lnTo>
                  <a:lnTo>
                    <a:pt x="1050" y="273"/>
                  </a:lnTo>
                  <a:lnTo>
                    <a:pt x="1052" y="272"/>
                  </a:lnTo>
                  <a:lnTo>
                    <a:pt x="1056" y="272"/>
                  </a:lnTo>
                  <a:lnTo>
                    <a:pt x="1059" y="273"/>
                  </a:lnTo>
                  <a:lnTo>
                    <a:pt x="1059" y="275"/>
                  </a:lnTo>
                  <a:lnTo>
                    <a:pt x="1060" y="278"/>
                  </a:lnTo>
                  <a:lnTo>
                    <a:pt x="1060" y="280"/>
                  </a:lnTo>
                  <a:lnTo>
                    <a:pt x="1059" y="281"/>
                  </a:lnTo>
                  <a:lnTo>
                    <a:pt x="1058" y="284"/>
                  </a:lnTo>
                  <a:lnTo>
                    <a:pt x="1058" y="286"/>
                  </a:lnTo>
                  <a:lnTo>
                    <a:pt x="1059" y="288"/>
                  </a:lnTo>
                  <a:lnTo>
                    <a:pt x="1060" y="289"/>
                  </a:lnTo>
                  <a:lnTo>
                    <a:pt x="1062" y="289"/>
                  </a:lnTo>
                  <a:lnTo>
                    <a:pt x="1065" y="289"/>
                  </a:lnTo>
                  <a:lnTo>
                    <a:pt x="1068" y="289"/>
                  </a:lnTo>
                  <a:lnTo>
                    <a:pt x="1068" y="286"/>
                  </a:lnTo>
                  <a:lnTo>
                    <a:pt x="1068" y="284"/>
                  </a:lnTo>
                  <a:lnTo>
                    <a:pt x="1067" y="280"/>
                  </a:lnTo>
                  <a:lnTo>
                    <a:pt x="1066" y="277"/>
                  </a:lnTo>
                  <a:lnTo>
                    <a:pt x="1067" y="275"/>
                  </a:lnTo>
                  <a:lnTo>
                    <a:pt x="1068" y="272"/>
                  </a:lnTo>
                  <a:lnTo>
                    <a:pt x="1068" y="269"/>
                  </a:lnTo>
                  <a:lnTo>
                    <a:pt x="1070" y="265"/>
                  </a:lnTo>
                  <a:lnTo>
                    <a:pt x="1072" y="264"/>
                  </a:lnTo>
                  <a:lnTo>
                    <a:pt x="1074" y="264"/>
                  </a:lnTo>
                  <a:lnTo>
                    <a:pt x="1078" y="263"/>
                  </a:lnTo>
                  <a:lnTo>
                    <a:pt x="1080" y="262"/>
                  </a:lnTo>
                  <a:lnTo>
                    <a:pt x="1079" y="259"/>
                  </a:lnTo>
                  <a:lnTo>
                    <a:pt x="1080" y="255"/>
                  </a:lnTo>
                  <a:lnTo>
                    <a:pt x="1080" y="254"/>
                  </a:lnTo>
                  <a:lnTo>
                    <a:pt x="1082" y="253"/>
                  </a:lnTo>
                  <a:lnTo>
                    <a:pt x="1086" y="253"/>
                  </a:lnTo>
                  <a:lnTo>
                    <a:pt x="1088" y="254"/>
                  </a:lnTo>
                  <a:lnTo>
                    <a:pt x="1092" y="254"/>
                  </a:lnTo>
                  <a:lnTo>
                    <a:pt x="1095" y="253"/>
                  </a:lnTo>
                  <a:lnTo>
                    <a:pt x="1095" y="249"/>
                  </a:lnTo>
                  <a:lnTo>
                    <a:pt x="1095" y="248"/>
                  </a:lnTo>
                  <a:lnTo>
                    <a:pt x="1096" y="246"/>
                  </a:lnTo>
                  <a:lnTo>
                    <a:pt x="1096" y="245"/>
                  </a:lnTo>
                  <a:lnTo>
                    <a:pt x="1094" y="243"/>
                  </a:lnTo>
                  <a:lnTo>
                    <a:pt x="1094" y="241"/>
                  </a:lnTo>
                  <a:lnTo>
                    <a:pt x="1096" y="240"/>
                  </a:lnTo>
                  <a:lnTo>
                    <a:pt x="1098" y="238"/>
                  </a:lnTo>
                  <a:lnTo>
                    <a:pt x="1099" y="235"/>
                  </a:lnTo>
                  <a:lnTo>
                    <a:pt x="1102" y="231"/>
                  </a:lnTo>
                  <a:lnTo>
                    <a:pt x="1102" y="229"/>
                  </a:lnTo>
                  <a:lnTo>
                    <a:pt x="1104" y="225"/>
                  </a:lnTo>
                  <a:lnTo>
                    <a:pt x="1105" y="224"/>
                  </a:lnTo>
                  <a:lnTo>
                    <a:pt x="1105" y="221"/>
                  </a:lnTo>
                  <a:lnTo>
                    <a:pt x="1105" y="219"/>
                  </a:lnTo>
                  <a:lnTo>
                    <a:pt x="1106" y="215"/>
                  </a:lnTo>
                  <a:lnTo>
                    <a:pt x="1106" y="213"/>
                  </a:lnTo>
                  <a:lnTo>
                    <a:pt x="1106" y="211"/>
                  </a:lnTo>
                  <a:lnTo>
                    <a:pt x="1107" y="208"/>
                  </a:lnTo>
                  <a:lnTo>
                    <a:pt x="1107" y="206"/>
                  </a:lnTo>
                  <a:lnTo>
                    <a:pt x="1107" y="203"/>
                  </a:lnTo>
                  <a:lnTo>
                    <a:pt x="1107" y="200"/>
                  </a:lnTo>
                  <a:lnTo>
                    <a:pt x="1107" y="196"/>
                  </a:lnTo>
                  <a:lnTo>
                    <a:pt x="1108" y="192"/>
                  </a:lnTo>
                  <a:lnTo>
                    <a:pt x="1107" y="189"/>
                  </a:lnTo>
                  <a:lnTo>
                    <a:pt x="1108" y="185"/>
                  </a:lnTo>
                  <a:lnTo>
                    <a:pt x="1108" y="183"/>
                  </a:lnTo>
                  <a:lnTo>
                    <a:pt x="1108" y="179"/>
                  </a:lnTo>
                  <a:lnTo>
                    <a:pt x="1107" y="176"/>
                  </a:lnTo>
                  <a:lnTo>
                    <a:pt x="1107" y="174"/>
                  </a:lnTo>
                  <a:lnTo>
                    <a:pt x="1108" y="172"/>
                  </a:lnTo>
                  <a:lnTo>
                    <a:pt x="1108" y="169"/>
                  </a:lnTo>
                  <a:lnTo>
                    <a:pt x="1107" y="165"/>
                  </a:lnTo>
                  <a:lnTo>
                    <a:pt x="1107" y="163"/>
                  </a:lnTo>
                  <a:lnTo>
                    <a:pt x="1107" y="160"/>
                  </a:lnTo>
                  <a:lnTo>
                    <a:pt x="1107" y="156"/>
                  </a:lnTo>
                  <a:lnTo>
                    <a:pt x="1107" y="152"/>
                  </a:lnTo>
                  <a:lnTo>
                    <a:pt x="1107" y="149"/>
                  </a:lnTo>
                  <a:lnTo>
                    <a:pt x="1105" y="147"/>
                  </a:lnTo>
                  <a:lnTo>
                    <a:pt x="1105" y="143"/>
                  </a:lnTo>
                  <a:lnTo>
                    <a:pt x="1105" y="140"/>
                  </a:lnTo>
                  <a:lnTo>
                    <a:pt x="1108" y="136"/>
                  </a:lnTo>
                  <a:lnTo>
                    <a:pt x="1102" y="136"/>
                  </a:lnTo>
                  <a:lnTo>
                    <a:pt x="1099" y="137"/>
                  </a:lnTo>
                  <a:lnTo>
                    <a:pt x="1099" y="140"/>
                  </a:lnTo>
                  <a:lnTo>
                    <a:pt x="1100" y="141"/>
                  </a:lnTo>
                  <a:lnTo>
                    <a:pt x="1102" y="144"/>
                  </a:lnTo>
                  <a:lnTo>
                    <a:pt x="1102" y="145"/>
                  </a:lnTo>
                  <a:lnTo>
                    <a:pt x="1102" y="147"/>
                  </a:lnTo>
                  <a:lnTo>
                    <a:pt x="1100" y="148"/>
                  </a:lnTo>
                  <a:lnTo>
                    <a:pt x="1097" y="148"/>
                  </a:lnTo>
                  <a:lnTo>
                    <a:pt x="1092" y="148"/>
                  </a:lnTo>
                  <a:lnTo>
                    <a:pt x="1090" y="148"/>
                  </a:lnTo>
                  <a:lnTo>
                    <a:pt x="1086" y="148"/>
                  </a:lnTo>
                  <a:lnTo>
                    <a:pt x="1084" y="147"/>
                  </a:lnTo>
                  <a:lnTo>
                    <a:pt x="1082" y="145"/>
                  </a:lnTo>
                  <a:lnTo>
                    <a:pt x="1080" y="143"/>
                  </a:lnTo>
                  <a:lnTo>
                    <a:pt x="1078" y="142"/>
                  </a:lnTo>
                  <a:lnTo>
                    <a:pt x="1072" y="139"/>
                  </a:lnTo>
                  <a:lnTo>
                    <a:pt x="1070" y="139"/>
                  </a:lnTo>
                  <a:lnTo>
                    <a:pt x="1067" y="140"/>
                  </a:lnTo>
                  <a:lnTo>
                    <a:pt x="1064" y="139"/>
                  </a:lnTo>
                  <a:lnTo>
                    <a:pt x="1060" y="137"/>
                  </a:lnTo>
                  <a:lnTo>
                    <a:pt x="1058" y="136"/>
                  </a:lnTo>
                  <a:lnTo>
                    <a:pt x="1056" y="136"/>
                  </a:lnTo>
                  <a:lnTo>
                    <a:pt x="1050" y="140"/>
                  </a:lnTo>
                  <a:lnTo>
                    <a:pt x="1047" y="141"/>
                  </a:lnTo>
                  <a:lnTo>
                    <a:pt x="1043" y="142"/>
                  </a:lnTo>
                  <a:lnTo>
                    <a:pt x="1040" y="142"/>
                  </a:lnTo>
                  <a:lnTo>
                    <a:pt x="1038" y="141"/>
                  </a:lnTo>
                  <a:lnTo>
                    <a:pt x="1039" y="139"/>
                  </a:lnTo>
                  <a:lnTo>
                    <a:pt x="1039" y="135"/>
                  </a:lnTo>
                  <a:lnTo>
                    <a:pt x="1041" y="132"/>
                  </a:lnTo>
                  <a:lnTo>
                    <a:pt x="1042" y="128"/>
                  </a:lnTo>
                  <a:lnTo>
                    <a:pt x="1043" y="126"/>
                  </a:lnTo>
                  <a:lnTo>
                    <a:pt x="1042" y="124"/>
                  </a:lnTo>
                  <a:lnTo>
                    <a:pt x="1041" y="123"/>
                  </a:lnTo>
                  <a:lnTo>
                    <a:pt x="1035" y="123"/>
                  </a:lnTo>
                  <a:lnTo>
                    <a:pt x="1034" y="120"/>
                  </a:lnTo>
                  <a:lnTo>
                    <a:pt x="1032" y="120"/>
                  </a:lnTo>
                  <a:lnTo>
                    <a:pt x="1031" y="119"/>
                  </a:lnTo>
                  <a:lnTo>
                    <a:pt x="1028" y="118"/>
                  </a:lnTo>
                  <a:lnTo>
                    <a:pt x="1024" y="117"/>
                  </a:lnTo>
                  <a:lnTo>
                    <a:pt x="1022" y="117"/>
                  </a:lnTo>
                  <a:lnTo>
                    <a:pt x="1018" y="117"/>
                  </a:lnTo>
                  <a:lnTo>
                    <a:pt x="1014" y="117"/>
                  </a:lnTo>
                  <a:lnTo>
                    <a:pt x="1009" y="117"/>
                  </a:lnTo>
                  <a:lnTo>
                    <a:pt x="1007" y="117"/>
                  </a:lnTo>
                  <a:lnTo>
                    <a:pt x="1003" y="117"/>
                  </a:lnTo>
                  <a:lnTo>
                    <a:pt x="998" y="117"/>
                  </a:lnTo>
                  <a:lnTo>
                    <a:pt x="994" y="117"/>
                  </a:lnTo>
                  <a:lnTo>
                    <a:pt x="993" y="117"/>
                  </a:lnTo>
                  <a:lnTo>
                    <a:pt x="992" y="116"/>
                  </a:lnTo>
                  <a:lnTo>
                    <a:pt x="990" y="113"/>
                  </a:lnTo>
                  <a:lnTo>
                    <a:pt x="988" y="111"/>
                  </a:lnTo>
                  <a:lnTo>
                    <a:pt x="988" y="110"/>
                  </a:lnTo>
                  <a:lnTo>
                    <a:pt x="986" y="108"/>
                  </a:lnTo>
                  <a:lnTo>
                    <a:pt x="984" y="107"/>
                  </a:lnTo>
                  <a:lnTo>
                    <a:pt x="980" y="104"/>
                  </a:lnTo>
                  <a:lnTo>
                    <a:pt x="978" y="104"/>
                  </a:lnTo>
                  <a:lnTo>
                    <a:pt x="975" y="103"/>
                  </a:lnTo>
                  <a:lnTo>
                    <a:pt x="972" y="103"/>
                  </a:lnTo>
                  <a:lnTo>
                    <a:pt x="968" y="102"/>
                  </a:lnTo>
                  <a:lnTo>
                    <a:pt x="966" y="102"/>
                  </a:lnTo>
                  <a:lnTo>
                    <a:pt x="962" y="104"/>
                  </a:lnTo>
                  <a:lnTo>
                    <a:pt x="960" y="105"/>
                  </a:lnTo>
                  <a:lnTo>
                    <a:pt x="958" y="105"/>
                  </a:lnTo>
                  <a:lnTo>
                    <a:pt x="956" y="107"/>
                  </a:lnTo>
                  <a:lnTo>
                    <a:pt x="953" y="108"/>
                  </a:lnTo>
                  <a:lnTo>
                    <a:pt x="951" y="109"/>
                  </a:lnTo>
                  <a:lnTo>
                    <a:pt x="947" y="110"/>
                  </a:lnTo>
                  <a:lnTo>
                    <a:pt x="945" y="112"/>
                  </a:lnTo>
                  <a:lnTo>
                    <a:pt x="942" y="113"/>
                  </a:lnTo>
                  <a:lnTo>
                    <a:pt x="938" y="115"/>
                  </a:lnTo>
                  <a:lnTo>
                    <a:pt x="936" y="115"/>
                  </a:lnTo>
                  <a:lnTo>
                    <a:pt x="932" y="115"/>
                  </a:lnTo>
                  <a:lnTo>
                    <a:pt x="927" y="113"/>
                  </a:lnTo>
                  <a:lnTo>
                    <a:pt x="924" y="112"/>
                  </a:lnTo>
                  <a:lnTo>
                    <a:pt x="921" y="112"/>
                  </a:lnTo>
                  <a:lnTo>
                    <a:pt x="919" y="112"/>
                  </a:lnTo>
                  <a:lnTo>
                    <a:pt x="918" y="113"/>
                  </a:lnTo>
                  <a:lnTo>
                    <a:pt x="915" y="115"/>
                  </a:lnTo>
                  <a:lnTo>
                    <a:pt x="912" y="116"/>
                  </a:lnTo>
                  <a:lnTo>
                    <a:pt x="910" y="116"/>
                  </a:lnTo>
                  <a:lnTo>
                    <a:pt x="903" y="110"/>
                  </a:lnTo>
                  <a:lnTo>
                    <a:pt x="900" y="109"/>
                  </a:lnTo>
                  <a:lnTo>
                    <a:pt x="897" y="107"/>
                  </a:lnTo>
                  <a:lnTo>
                    <a:pt x="895" y="103"/>
                  </a:lnTo>
                  <a:lnTo>
                    <a:pt x="892" y="99"/>
                  </a:lnTo>
                  <a:lnTo>
                    <a:pt x="889" y="95"/>
                  </a:lnTo>
                  <a:lnTo>
                    <a:pt x="884" y="89"/>
                  </a:lnTo>
                  <a:lnTo>
                    <a:pt x="882" y="87"/>
                  </a:lnTo>
                  <a:lnTo>
                    <a:pt x="879" y="84"/>
                  </a:lnTo>
                  <a:lnTo>
                    <a:pt x="874" y="81"/>
                  </a:lnTo>
                  <a:lnTo>
                    <a:pt x="872" y="81"/>
                  </a:lnTo>
                  <a:lnTo>
                    <a:pt x="870" y="84"/>
                  </a:lnTo>
                  <a:lnTo>
                    <a:pt x="867" y="85"/>
                  </a:lnTo>
                  <a:lnTo>
                    <a:pt x="865" y="86"/>
                  </a:lnTo>
                  <a:lnTo>
                    <a:pt x="862" y="86"/>
                  </a:lnTo>
                  <a:lnTo>
                    <a:pt x="859" y="86"/>
                  </a:lnTo>
                  <a:lnTo>
                    <a:pt x="857" y="84"/>
                  </a:lnTo>
                  <a:lnTo>
                    <a:pt x="854" y="78"/>
                  </a:lnTo>
                  <a:lnTo>
                    <a:pt x="852" y="76"/>
                  </a:lnTo>
                  <a:lnTo>
                    <a:pt x="852" y="72"/>
                  </a:lnTo>
                  <a:lnTo>
                    <a:pt x="851" y="70"/>
                  </a:lnTo>
                  <a:lnTo>
                    <a:pt x="847" y="70"/>
                  </a:lnTo>
                  <a:lnTo>
                    <a:pt x="844" y="71"/>
                  </a:lnTo>
                  <a:lnTo>
                    <a:pt x="842" y="73"/>
                  </a:lnTo>
                  <a:lnTo>
                    <a:pt x="839" y="76"/>
                  </a:lnTo>
                  <a:lnTo>
                    <a:pt x="836" y="75"/>
                  </a:lnTo>
                  <a:lnTo>
                    <a:pt x="834" y="75"/>
                  </a:lnTo>
                  <a:lnTo>
                    <a:pt x="834" y="72"/>
                  </a:lnTo>
                  <a:lnTo>
                    <a:pt x="834" y="70"/>
                  </a:lnTo>
                  <a:lnTo>
                    <a:pt x="833" y="67"/>
                  </a:lnTo>
                  <a:lnTo>
                    <a:pt x="834" y="51"/>
                  </a:lnTo>
                  <a:lnTo>
                    <a:pt x="834" y="43"/>
                  </a:lnTo>
                  <a:lnTo>
                    <a:pt x="832" y="39"/>
                  </a:lnTo>
                  <a:lnTo>
                    <a:pt x="828" y="37"/>
                  </a:lnTo>
                  <a:lnTo>
                    <a:pt x="824" y="35"/>
                  </a:lnTo>
                  <a:lnTo>
                    <a:pt x="818" y="31"/>
                  </a:lnTo>
                  <a:lnTo>
                    <a:pt x="814" y="30"/>
                  </a:lnTo>
                  <a:lnTo>
                    <a:pt x="809" y="28"/>
                  </a:lnTo>
                  <a:lnTo>
                    <a:pt x="804" y="25"/>
                  </a:lnTo>
                  <a:lnTo>
                    <a:pt x="803" y="24"/>
                  </a:lnTo>
                  <a:lnTo>
                    <a:pt x="803" y="23"/>
                  </a:lnTo>
                  <a:lnTo>
                    <a:pt x="806" y="17"/>
                  </a:lnTo>
                  <a:lnTo>
                    <a:pt x="801" y="20"/>
                  </a:lnTo>
                  <a:lnTo>
                    <a:pt x="795" y="20"/>
                  </a:lnTo>
                  <a:lnTo>
                    <a:pt x="793" y="19"/>
                  </a:lnTo>
                  <a:lnTo>
                    <a:pt x="791" y="17"/>
                  </a:lnTo>
                  <a:lnTo>
                    <a:pt x="788" y="15"/>
                  </a:lnTo>
                  <a:lnTo>
                    <a:pt x="788" y="12"/>
                  </a:lnTo>
                  <a:lnTo>
                    <a:pt x="787" y="11"/>
                  </a:lnTo>
                  <a:lnTo>
                    <a:pt x="785" y="9"/>
                  </a:lnTo>
                  <a:lnTo>
                    <a:pt x="784" y="9"/>
                  </a:lnTo>
                  <a:lnTo>
                    <a:pt x="783" y="11"/>
                  </a:lnTo>
                  <a:lnTo>
                    <a:pt x="780" y="11"/>
                  </a:lnTo>
                  <a:lnTo>
                    <a:pt x="778" y="12"/>
                  </a:lnTo>
                  <a:lnTo>
                    <a:pt x="777" y="13"/>
                  </a:lnTo>
                  <a:lnTo>
                    <a:pt x="775" y="13"/>
                  </a:lnTo>
                  <a:lnTo>
                    <a:pt x="771" y="13"/>
                  </a:lnTo>
                  <a:lnTo>
                    <a:pt x="768" y="12"/>
                  </a:lnTo>
                  <a:lnTo>
                    <a:pt x="767" y="12"/>
                  </a:lnTo>
                  <a:lnTo>
                    <a:pt x="763" y="9"/>
                  </a:lnTo>
                  <a:lnTo>
                    <a:pt x="762" y="7"/>
                  </a:lnTo>
                  <a:lnTo>
                    <a:pt x="760" y="6"/>
                  </a:lnTo>
                  <a:lnTo>
                    <a:pt x="758" y="7"/>
                  </a:lnTo>
                  <a:lnTo>
                    <a:pt x="754" y="8"/>
                  </a:lnTo>
                  <a:lnTo>
                    <a:pt x="753" y="11"/>
                  </a:lnTo>
                  <a:lnTo>
                    <a:pt x="752" y="11"/>
                  </a:lnTo>
                  <a:lnTo>
                    <a:pt x="750" y="11"/>
                  </a:lnTo>
                  <a:lnTo>
                    <a:pt x="747" y="12"/>
                  </a:lnTo>
                  <a:lnTo>
                    <a:pt x="744" y="14"/>
                  </a:lnTo>
                  <a:lnTo>
                    <a:pt x="739" y="15"/>
                  </a:lnTo>
                  <a:lnTo>
                    <a:pt x="736" y="15"/>
                  </a:lnTo>
                  <a:lnTo>
                    <a:pt x="734" y="16"/>
                  </a:lnTo>
                  <a:lnTo>
                    <a:pt x="730" y="19"/>
                  </a:lnTo>
                  <a:lnTo>
                    <a:pt x="728" y="20"/>
                  </a:lnTo>
                  <a:lnTo>
                    <a:pt x="727" y="21"/>
                  </a:lnTo>
                  <a:lnTo>
                    <a:pt x="724" y="23"/>
                  </a:lnTo>
                  <a:lnTo>
                    <a:pt x="724" y="24"/>
                  </a:lnTo>
                  <a:lnTo>
                    <a:pt x="722" y="27"/>
                  </a:lnTo>
                  <a:lnTo>
                    <a:pt x="720" y="28"/>
                  </a:lnTo>
                  <a:lnTo>
                    <a:pt x="719" y="29"/>
                  </a:lnTo>
                  <a:lnTo>
                    <a:pt x="716" y="31"/>
                  </a:lnTo>
                  <a:lnTo>
                    <a:pt x="714" y="33"/>
                  </a:lnTo>
                  <a:lnTo>
                    <a:pt x="713" y="35"/>
                  </a:lnTo>
                  <a:lnTo>
                    <a:pt x="711" y="35"/>
                  </a:lnTo>
                  <a:lnTo>
                    <a:pt x="707" y="36"/>
                  </a:lnTo>
                  <a:lnTo>
                    <a:pt x="705" y="36"/>
                  </a:lnTo>
                  <a:lnTo>
                    <a:pt x="702" y="36"/>
                  </a:lnTo>
                  <a:lnTo>
                    <a:pt x="698" y="35"/>
                  </a:lnTo>
                  <a:lnTo>
                    <a:pt x="696" y="35"/>
                  </a:lnTo>
                  <a:lnTo>
                    <a:pt x="694" y="33"/>
                  </a:lnTo>
                  <a:lnTo>
                    <a:pt x="690" y="32"/>
                  </a:lnTo>
                  <a:lnTo>
                    <a:pt x="686" y="31"/>
                  </a:lnTo>
                  <a:lnTo>
                    <a:pt x="682" y="30"/>
                  </a:lnTo>
                  <a:lnTo>
                    <a:pt x="680" y="30"/>
                  </a:lnTo>
                  <a:lnTo>
                    <a:pt x="678" y="29"/>
                  </a:lnTo>
                  <a:lnTo>
                    <a:pt x="674" y="29"/>
                  </a:lnTo>
                  <a:lnTo>
                    <a:pt x="673" y="29"/>
                  </a:lnTo>
                  <a:lnTo>
                    <a:pt x="671" y="29"/>
                  </a:lnTo>
                  <a:lnTo>
                    <a:pt x="668" y="29"/>
                  </a:lnTo>
                  <a:lnTo>
                    <a:pt x="665" y="30"/>
                  </a:lnTo>
                  <a:lnTo>
                    <a:pt x="660" y="30"/>
                  </a:lnTo>
                  <a:lnTo>
                    <a:pt x="658" y="29"/>
                  </a:lnTo>
                  <a:lnTo>
                    <a:pt x="654" y="29"/>
                  </a:lnTo>
                  <a:lnTo>
                    <a:pt x="649" y="30"/>
                  </a:lnTo>
                  <a:lnTo>
                    <a:pt x="646" y="30"/>
                  </a:lnTo>
                  <a:lnTo>
                    <a:pt x="641" y="30"/>
                  </a:lnTo>
                  <a:lnTo>
                    <a:pt x="636" y="29"/>
                  </a:lnTo>
                  <a:lnTo>
                    <a:pt x="632" y="30"/>
                  </a:lnTo>
                  <a:lnTo>
                    <a:pt x="628" y="30"/>
                  </a:lnTo>
                  <a:lnTo>
                    <a:pt x="625" y="30"/>
                  </a:lnTo>
                  <a:lnTo>
                    <a:pt x="622" y="28"/>
                  </a:lnTo>
                  <a:lnTo>
                    <a:pt x="620" y="27"/>
                  </a:lnTo>
                  <a:lnTo>
                    <a:pt x="618" y="24"/>
                  </a:lnTo>
                  <a:lnTo>
                    <a:pt x="617" y="23"/>
                  </a:lnTo>
                  <a:lnTo>
                    <a:pt x="617" y="21"/>
                  </a:lnTo>
                  <a:lnTo>
                    <a:pt x="617" y="17"/>
                  </a:lnTo>
                  <a:lnTo>
                    <a:pt x="617" y="16"/>
                  </a:lnTo>
                  <a:lnTo>
                    <a:pt x="617" y="14"/>
                  </a:lnTo>
                  <a:lnTo>
                    <a:pt x="617" y="13"/>
                  </a:lnTo>
                  <a:lnTo>
                    <a:pt x="616" y="8"/>
                  </a:lnTo>
                  <a:lnTo>
                    <a:pt x="614" y="6"/>
                  </a:lnTo>
                  <a:lnTo>
                    <a:pt x="612" y="5"/>
                  </a:lnTo>
                  <a:lnTo>
                    <a:pt x="610" y="4"/>
                  </a:lnTo>
                  <a:lnTo>
                    <a:pt x="609" y="3"/>
                  </a:lnTo>
                  <a:lnTo>
                    <a:pt x="607" y="0"/>
                  </a:lnTo>
                  <a:lnTo>
                    <a:pt x="602" y="0"/>
                  </a:lnTo>
                  <a:lnTo>
                    <a:pt x="599" y="9"/>
                  </a:lnTo>
                  <a:lnTo>
                    <a:pt x="596" y="15"/>
                  </a:lnTo>
                  <a:lnTo>
                    <a:pt x="594" y="21"/>
                  </a:lnTo>
                  <a:lnTo>
                    <a:pt x="591" y="27"/>
                  </a:lnTo>
                  <a:lnTo>
                    <a:pt x="588" y="32"/>
                  </a:lnTo>
                  <a:lnTo>
                    <a:pt x="588" y="37"/>
                  </a:lnTo>
                  <a:lnTo>
                    <a:pt x="591" y="43"/>
                  </a:lnTo>
                  <a:lnTo>
                    <a:pt x="594" y="49"/>
                  </a:lnTo>
                  <a:lnTo>
                    <a:pt x="609" y="61"/>
                  </a:lnTo>
                  <a:lnTo>
                    <a:pt x="618" y="68"/>
                  </a:lnTo>
                  <a:lnTo>
                    <a:pt x="623" y="73"/>
                  </a:lnTo>
                  <a:lnTo>
                    <a:pt x="626" y="78"/>
                  </a:lnTo>
                  <a:lnTo>
                    <a:pt x="628" y="85"/>
                  </a:lnTo>
                  <a:lnTo>
                    <a:pt x="628" y="94"/>
                  </a:lnTo>
                  <a:lnTo>
                    <a:pt x="630" y="95"/>
                  </a:lnTo>
                  <a:lnTo>
                    <a:pt x="631" y="97"/>
                  </a:lnTo>
                  <a:lnTo>
                    <a:pt x="633" y="99"/>
                  </a:lnTo>
                  <a:lnTo>
                    <a:pt x="636" y="100"/>
                  </a:lnTo>
                  <a:lnTo>
                    <a:pt x="639" y="100"/>
                  </a:lnTo>
                  <a:lnTo>
                    <a:pt x="641" y="101"/>
                  </a:lnTo>
                  <a:lnTo>
                    <a:pt x="641" y="104"/>
                  </a:lnTo>
                  <a:lnTo>
                    <a:pt x="640" y="107"/>
                  </a:lnTo>
                  <a:lnTo>
                    <a:pt x="639" y="109"/>
                  </a:lnTo>
                  <a:lnTo>
                    <a:pt x="639" y="115"/>
                  </a:lnTo>
                  <a:lnTo>
                    <a:pt x="640" y="117"/>
                  </a:lnTo>
                  <a:lnTo>
                    <a:pt x="642" y="120"/>
                  </a:lnTo>
                  <a:lnTo>
                    <a:pt x="643" y="125"/>
                  </a:lnTo>
                  <a:lnTo>
                    <a:pt x="644" y="129"/>
                  </a:lnTo>
                  <a:lnTo>
                    <a:pt x="646" y="134"/>
                  </a:lnTo>
                  <a:lnTo>
                    <a:pt x="646" y="137"/>
                  </a:lnTo>
                  <a:lnTo>
                    <a:pt x="646" y="141"/>
                  </a:lnTo>
                  <a:lnTo>
                    <a:pt x="643" y="148"/>
                  </a:lnTo>
                  <a:lnTo>
                    <a:pt x="641" y="151"/>
                  </a:lnTo>
                  <a:lnTo>
                    <a:pt x="638" y="155"/>
                  </a:lnTo>
                  <a:lnTo>
                    <a:pt x="635" y="159"/>
                  </a:lnTo>
                  <a:lnTo>
                    <a:pt x="633" y="163"/>
                  </a:lnTo>
                  <a:lnTo>
                    <a:pt x="632" y="167"/>
                  </a:lnTo>
                  <a:lnTo>
                    <a:pt x="630" y="173"/>
                  </a:lnTo>
                  <a:lnTo>
                    <a:pt x="628" y="177"/>
                  </a:lnTo>
                  <a:lnTo>
                    <a:pt x="625" y="182"/>
                  </a:lnTo>
                  <a:lnTo>
                    <a:pt x="623" y="187"/>
                  </a:lnTo>
                  <a:lnTo>
                    <a:pt x="622" y="190"/>
                  </a:lnTo>
                  <a:lnTo>
                    <a:pt x="620" y="193"/>
                  </a:lnTo>
                  <a:lnTo>
                    <a:pt x="630" y="197"/>
                  </a:lnTo>
                  <a:lnTo>
                    <a:pt x="640" y="198"/>
                  </a:lnTo>
                  <a:lnTo>
                    <a:pt x="644" y="200"/>
                  </a:lnTo>
                  <a:lnTo>
                    <a:pt x="647" y="203"/>
                  </a:lnTo>
                  <a:lnTo>
                    <a:pt x="650" y="207"/>
                  </a:lnTo>
                  <a:lnTo>
                    <a:pt x="651" y="211"/>
                  </a:lnTo>
                  <a:lnTo>
                    <a:pt x="652" y="213"/>
                  </a:lnTo>
                  <a:lnTo>
                    <a:pt x="652" y="215"/>
                  </a:lnTo>
                  <a:lnTo>
                    <a:pt x="654" y="217"/>
                  </a:lnTo>
                  <a:lnTo>
                    <a:pt x="656" y="219"/>
                  </a:lnTo>
                  <a:lnTo>
                    <a:pt x="658" y="221"/>
                  </a:lnTo>
                  <a:lnTo>
                    <a:pt x="660" y="221"/>
                  </a:lnTo>
                  <a:lnTo>
                    <a:pt x="663" y="223"/>
                  </a:lnTo>
                  <a:lnTo>
                    <a:pt x="664" y="224"/>
                  </a:lnTo>
                  <a:lnTo>
                    <a:pt x="666" y="227"/>
                  </a:lnTo>
                  <a:lnTo>
                    <a:pt x="668" y="232"/>
                  </a:lnTo>
                  <a:lnTo>
                    <a:pt x="670" y="233"/>
                  </a:lnTo>
                  <a:lnTo>
                    <a:pt x="671" y="236"/>
                  </a:lnTo>
                  <a:lnTo>
                    <a:pt x="673" y="241"/>
                  </a:lnTo>
                  <a:lnTo>
                    <a:pt x="673" y="245"/>
                  </a:lnTo>
                  <a:lnTo>
                    <a:pt x="672" y="248"/>
                  </a:lnTo>
                  <a:lnTo>
                    <a:pt x="667" y="254"/>
                  </a:lnTo>
                  <a:lnTo>
                    <a:pt x="663" y="255"/>
                  </a:lnTo>
                  <a:lnTo>
                    <a:pt x="656" y="262"/>
                  </a:lnTo>
                  <a:lnTo>
                    <a:pt x="650" y="268"/>
                  </a:lnTo>
                  <a:lnTo>
                    <a:pt x="647" y="269"/>
                  </a:lnTo>
                  <a:lnTo>
                    <a:pt x="643" y="270"/>
                  </a:lnTo>
                  <a:lnTo>
                    <a:pt x="639" y="272"/>
                  </a:lnTo>
                  <a:lnTo>
                    <a:pt x="638" y="273"/>
                  </a:lnTo>
                  <a:lnTo>
                    <a:pt x="634" y="277"/>
                  </a:lnTo>
                  <a:lnTo>
                    <a:pt x="633" y="283"/>
                  </a:lnTo>
                  <a:lnTo>
                    <a:pt x="617" y="294"/>
                  </a:lnTo>
                  <a:lnTo>
                    <a:pt x="607" y="297"/>
                  </a:lnTo>
                  <a:lnTo>
                    <a:pt x="599" y="302"/>
                  </a:lnTo>
                  <a:lnTo>
                    <a:pt x="594" y="304"/>
                  </a:lnTo>
                  <a:lnTo>
                    <a:pt x="591" y="307"/>
                  </a:lnTo>
                  <a:lnTo>
                    <a:pt x="582" y="312"/>
                  </a:lnTo>
                  <a:lnTo>
                    <a:pt x="571" y="324"/>
                  </a:lnTo>
                  <a:lnTo>
                    <a:pt x="568" y="328"/>
                  </a:lnTo>
                  <a:lnTo>
                    <a:pt x="562" y="334"/>
                  </a:lnTo>
                  <a:lnTo>
                    <a:pt x="561" y="336"/>
                  </a:lnTo>
                  <a:lnTo>
                    <a:pt x="560" y="341"/>
                  </a:lnTo>
                  <a:lnTo>
                    <a:pt x="560" y="343"/>
                  </a:lnTo>
                  <a:lnTo>
                    <a:pt x="554" y="351"/>
                  </a:lnTo>
                  <a:lnTo>
                    <a:pt x="551" y="364"/>
                  </a:lnTo>
                  <a:lnTo>
                    <a:pt x="551" y="369"/>
                  </a:lnTo>
                  <a:lnTo>
                    <a:pt x="550" y="376"/>
                  </a:lnTo>
                  <a:lnTo>
                    <a:pt x="552" y="380"/>
                  </a:lnTo>
                  <a:lnTo>
                    <a:pt x="556" y="381"/>
                  </a:lnTo>
                  <a:lnTo>
                    <a:pt x="562" y="382"/>
                  </a:lnTo>
                  <a:lnTo>
                    <a:pt x="568" y="385"/>
                  </a:lnTo>
                  <a:lnTo>
                    <a:pt x="572" y="388"/>
                  </a:lnTo>
                  <a:lnTo>
                    <a:pt x="574" y="393"/>
                  </a:lnTo>
                  <a:lnTo>
                    <a:pt x="575" y="400"/>
                  </a:lnTo>
                  <a:lnTo>
                    <a:pt x="574" y="404"/>
                  </a:lnTo>
                  <a:lnTo>
                    <a:pt x="576" y="407"/>
                  </a:lnTo>
                  <a:lnTo>
                    <a:pt x="580" y="411"/>
                  </a:lnTo>
                  <a:lnTo>
                    <a:pt x="586" y="416"/>
                  </a:lnTo>
                  <a:lnTo>
                    <a:pt x="588" y="422"/>
                  </a:lnTo>
                  <a:lnTo>
                    <a:pt x="592" y="425"/>
                  </a:lnTo>
                  <a:lnTo>
                    <a:pt x="601" y="428"/>
                  </a:lnTo>
                  <a:lnTo>
                    <a:pt x="608" y="430"/>
                  </a:lnTo>
                  <a:lnTo>
                    <a:pt x="612" y="435"/>
                  </a:lnTo>
                  <a:lnTo>
                    <a:pt x="616" y="439"/>
                  </a:lnTo>
                  <a:lnTo>
                    <a:pt x="611" y="446"/>
                  </a:lnTo>
                  <a:lnTo>
                    <a:pt x="609" y="452"/>
                  </a:lnTo>
                  <a:lnTo>
                    <a:pt x="607" y="459"/>
                  </a:lnTo>
                  <a:lnTo>
                    <a:pt x="607" y="463"/>
                  </a:lnTo>
                  <a:lnTo>
                    <a:pt x="611" y="471"/>
                  </a:lnTo>
                  <a:lnTo>
                    <a:pt x="614" y="480"/>
                  </a:lnTo>
                  <a:lnTo>
                    <a:pt x="609" y="486"/>
                  </a:lnTo>
                  <a:lnTo>
                    <a:pt x="604" y="487"/>
                  </a:lnTo>
                  <a:lnTo>
                    <a:pt x="599" y="487"/>
                  </a:lnTo>
                  <a:lnTo>
                    <a:pt x="594" y="484"/>
                  </a:lnTo>
                  <a:lnTo>
                    <a:pt x="590" y="480"/>
                  </a:lnTo>
                  <a:lnTo>
                    <a:pt x="585" y="477"/>
                  </a:lnTo>
                  <a:lnTo>
                    <a:pt x="580" y="475"/>
                  </a:lnTo>
                  <a:lnTo>
                    <a:pt x="578" y="475"/>
                  </a:lnTo>
                  <a:lnTo>
                    <a:pt x="575" y="475"/>
                  </a:lnTo>
                  <a:lnTo>
                    <a:pt x="572" y="476"/>
                  </a:lnTo>
                  <a:lnTo>
                    <a:pt x="568" y="479"/>
                  </a:lnTo>
                  <a:lnTo>
                    <a:pt x="564" y="483"/>
                  </a:lnTo>
                  <a:lnTo>
                    <a:pt x="558" y="492"/>
                  </a:lnTo>
                  <a:lnTo>
                    <a:pt x="554" y="492"/>
                  </a:lnTo>
                  <a:lnTo>
                    <a:pt x="552" y="493"/>
                  </a:lnTo>
                  <a:lnTo>
                    <a:pt x="551" y="496"/>
                  </a:lnTo>
                  <a:lnTo>
                    <a:pt x="550" y="502"/>
                  </a:lnTo>
                  <a:lnTo>
                    <a:pt x="547" y="507"/>
                  </a:lnTo>
                  <a:lnTo>
                    <a:pt x="544" y="509"/>
                  </a:lnTo>
                  <a:lnTo>
                    <a:pt x="543" y="511"/>
                  </a:lnTo>
                  <a:lnTo>
                    <a:pt x="540" y="515"/>
                  </a:lnTo>
                  <a:lnTo>
                    <a:pt x="540" y="519"/>
                  </a:lnTo>
                  <a:lnTo>
                    <a:pt x="542" y="523"/>
                  </a:lnTo>
                  <a:lnTo>
                    <a:pt x="546" y="527"/>
                  </a:lnTo>
                  <a:lnTo>
                    <a:pt x="550" y="531"/>
                  </a:lnTo>
                  <a:lnTo>
                    <a:pt x="554" y="535"/>
                  </a:lnTo>
                  <a:lnTo>
                    <a:pt x="558" y="540"/>
                  </a:lnTo>
                  <a:lnTo>
                    <a:pt x="558" y="544"/>
                  </a:lnTo>
                  <a:lnTo>
                    <a:pt x="558" y="548"/>
                  </a:lnTo>
                  <a:lnTo>
                    <a:pt x="553" y="552"/>
                  </a:lnTo>
                  <a:lnTo>
                    <a:pt x="547" y="553"/>
                  </a:lnTo>
                  <a:lnTo>
                    <a:pt x="543" y="556"/>
                  </a:lnTo>
                  <a:lnTo>
                    <a:pt x="538" y="560"/>
                  </a:lnTo>
                  <a:lnTo>
                    <a:pt x="535" y="565"/>
                  </a:lnTo>
                  <a:lnTo>
                    <a:pt x="535" y="572"/>
                  </a:lnTo>
                  <a:lnTo>
                    <a:pt x="535" y="584"/>
                  </a:lnTo>
                  <a:lnTo>
                    <a:pt x="536" y="590"/>
                  </a:lnTo>
                  <a:lnTo>
                    <a:pt x="539" y="595"/>
                  </a:lnTo>
                  <a:lnTo>
                    <a:pt x="545" y="600"/>
                  </a:lnTo>
                  <a:lnTo>
                    <a:pt x="548" y="606"/>
                  </a:lnTo>
                  <a:lnTo>
                    <a:pt x="553" y="613"/>
                  </a:lnTo>
                  <a:lnTo>
                    <a:pt x="559" y="627"/>
                  </a:lnTo>
                  <a:lnTo>
                    <a:pt x="561" y="645"/>
                  </a:lnTo>
                  <a:lnTo>
                    <a:pt x="563" y="654"/>
                  </a:lnTo>
                  <a:lnTo>
                    <a:pt x="563" y="661"/>
                  </a:lnTo>
                  <a:lnTo>
                    <a:pt x="563" y="664"/>
                  </a:lnTo>
                  <a:lnTo>
                    <a:pt x="560" y="669"/>
                  </a:lnTo>
                  <a:lnTo>
                    <a:pt x="558" y="671"/>
                  </a:lnTo>
                  <a:lnTo>
                    <a:pt x="553" y="673"/>
                  </a:lnTo>
                  <a:lnTo>
                    <a:pt x="547" y="680"/>
                  </a:lnTo>
                  <a:lnTo>
                    <a:pt x="547" y="684"/>
                  </a:lnTo>
                  <a:lnTo>
                    <a:pt x="548" y="687"/>
                  </a:lnTo>
                  <a:lnTo>
                    <a:pt x="554" y="689"/>
                  </a:lnTo>
                  <a:lnTo>
                    <a:pt x="559" y="693"/>
                  </a:lnTo>
                  <a:lnTo>
                    <a:pt x="562" y="695"/>
                  </a:lnTo>
                  <a:lnTo>
                    <a:pt x="563" y="699"/>
                  </a:lnTo>
                  <a:lnTo>
                    <a:pt x="562" y="704"/>
                  </a:lnTo>
                  <a:lnTo>
                    <a:pt x="561" y="708"/>
                  </a:lnTo>
                  <a:lnTo>
                    <a:pt x="562" y="713"/>
                  </a:lnTo>
                  <a:lnTo>
                    <a:pt x="566" y="719"/>
                  </a:lnTo>
                  <a:lnTo>
                    <a:pt x="568" y="724"/>
                  </a:lnTo>
                  <a:lnTo>
                    <a:pt x="568" y="728"/>
                  </a:lnTo>
                  <a:lnTo>
                    <a:pt x="564" y="732"/>
                  </a:lnTo>
                  <a:lnTo>
                    <a:pt x="561" y="734"/>
                  </a:lnTo>
                  <a:lnTo>
                    <a:pt x="560" y="739"/>
                  </a:lnTo>
                  <a:lnTo>
                    <a:pt x="553" y="739"/>
                  </a:lnTo>
                  <a:lnTo>
                    <a:pt x="547" y="739"/>
                  </a:lnTo>
                  <a:lnTo>
                    <a:pt x="544" y="736"/>
                  </a:lnTo>
                  <a:lnTo>
                    <a:pt x="539" y="732"/>
                  </a:lnTo>
                  <a:lnTo>
                    <a:pt x="536" y="731"/>
                  </a:lnTo>
                  <a:lnTo>
                    <a:pt x="532" y="731"/>
                  </a:lnTo>
                  <a:lnTo>
                    <a:pt x="532" y="734"/>
                  </a:lnTo>
                  <a:lnTo>
                    <a:pt x="534" y="737"/>
                  </a:lnTo>
                  <a:lnTo>
                    <a:pt x="537" y="741"/>
                  </a:lnTo>
                  <a:lnTo>
                    <a:pt x="537" y="749"/>
                  </a:lnTo>
                  <a:lnTo>
                    <a:pt x="538" y="753"/>
                  </a:lnTo>
                  <a:lnTo>
                    <a:pt x="540" y="760"/>
                  </a:lnTo>
                  <a:lnTo>
                    <a:pt x="544" y="765"/>
                  </a:lnTo>
                  <a:lnTo>
                    <a:pt x="545" y="768"/>
                  </a:lnTo>
                  <a:lnTo>
                    <a:pt x="542" y="773"/>
                  </a:lnTo>
                  <a:lnTo>
                    <a:pt x="537" y="777"/>
                  </a:lnTo>
                  <a:lnTo>
                    <a:pt x="538" y="781"/>
                  </a:lnTo>
                  <a:lnTo>
                    <a:pt x="537" y="785"/>
                  </a:lnTo>
                  <a:lnTo>
                    <a:pt x="536" y="788"/>
                  </a:lnTo>
                  <a:lnTo>
                    <a:pt x="531" y="793"/>
                  </a:lnTo>
                  <a:lnTo>
                    <a:pt x="528" y="800"/>
                  </a:lnTo>
                  <a:lnTo>
                    <a:pt x="523" y="805"/>
                  </a:lnTo>
                  <a:lnTo>
                    <a:pt x="520" y="809"/>
                  </a:lnTo>
                  <a:lnTo>
                    <a:pt x="519" y="813"/>
                  </a:lnTo>
                  <a:lnTo>
                    <a:pt x="515" y="816"/>
                  </a:lnTo>
                  <a:lnTo>
                    <a:pt x="513" y="819"/>
                  </a:lnTo>
                  <a:lnTo>
                    <a:pt x="510" y="821"/>
                  </a:lnTo>
                  <a:lnTo>
                    <a:pt x="506" y="824"/>
                  </a:lnTo>
                  <a:lnTo>
                    <a:pt x="503" y="825"/>
                  </a:lnTo>
                  <a:lnTo>
                    <a:pt x="500" y="827"/>
                  </a:lnTo>
                  <a:lnTo>
                    <a:pt x="497" y="828"/>
                  </a:lnTo>
                  <a:lnTo>
                    <a:pt x="494" y="829"/>
                  </a:lnTo>
                  <a:lnTo>
                    <a:pt x="492" y="830"/>
                  </a:lnTo>
                  <a:lnTo>
                    <a:pt x="494" y="833"/>
                  </a:lnTo>
                  <a:lnTo>
                    <a:pt x="496" y="836"/>
                  </a:lnTo>
                  <a:lnTo>
                    <a:pt x="500" y="839"/>
                  </a:lnTo>
                  <a:lnTo>
                    <a:pt x="505" y="843"/>
                  </a:lnTo>
                  <a:lnTo>
                    <a:pt x="508" y="846"/>
                  </a:lnTo>
                  <a:lnTo>
                    <a:pt x="508" y="849"/>
                  </a:lnTo>
                  <a:lnTo>
                    <a:pt x="508" y="851"/>
                  </a:lnTo>
                  <a:lnTo>
                    <a:pt x="504" y="852"/>
                  </a:lnTo>
                  <a:lnTo>
                    <a:pt x="498" y="852"/>
                  </a:lnTo>
                  <a:lnTo>
                    <a:pt x="491" y="849"/>
                  </a:lnTo>
                  <a:lnTo>
                    <a:pt x="487" y="848"/>
                  </a:lnTo>
                  <a:lnTo>
                    <a:pt x="482" y="849"/>
                  </a:lnTo>
                  <a:lnTo>
                    <a:pt x="479" y="853"/>
                  </a:lnTo>
                  <a:lnTo>
                    <a:pt x="482" y="855"/>
                  </a:lnTo>
                  <a:lnTo>
                    <a:pt x="483" y="857"/>
                  </a:lnTo>
                  <a:lnTo>
                    <a:pt x="481" y="862"/>
                  </a:lnTo>
                  <a:lnTo>
                    <a:pt x="478" y="865"/>
                  </a:lnTo>
                  <a:lnTo>
                    <a:pt x="474" y="868"/>
                  </a:lnTo>
                  <a:lnTo>
                    <a:pt x="471" y="867"/>
                  </a:lnTo>
                  <a:lnTo>
                    <a:pt x="466" y="864"/>
                  </a:lnTo>
                  <a:lnTo>
                    <a:pt x="462" y="861"/>
                  </a:lnTo>
                  <a:lnTo>
                    <a:pt x="459" y="861"/>
                  </a:lnTo>
                  <a:lnTo>
                    <a:pt x="458" y="867"/>
                  </a:lnTo>
                  <a:lnTo>
                    <a:pt x="457" y="871"/>
                  </a:lnTo>
                  <a:lnTo>
                    <a:pt x="455" y="876"/>
                  </a:lnTo>
                  <a:lnTo>
                    <a:pt x="454" y="881"/>
                  </a:lnTo>
                  <a:lnTo>
                    <a:pt x="454" y="885"/>
                  </a:lnTo>
                  <a:lnTo>
                    <a:pt x="454" y="888"/>
                  </a:lnTo>
                  <a:lnTo>
                    <a:pt x="449" y="892"/>
                  </a:lnTo>
                  <a:lnTo>
                    <a:pt x="443" y="895"/>
                  </a:lnTo>
                  <a:lnTo>
                    <a:pt x="442" y="899"/>
                  </a:lnTo>
                  <a:lnTo>
                    <a:pt x="439" y="899"/>
                  </a:lnTo>
                  <a:lnTo>
                    <a:pt x="434" y="897"/>
                  </a:lnTo>
                  <a:lnTo>
                    <a:pt x="427" y="894"/>
                  </a:lnTo>
                  <a:lnTo>
                    <a:pt x="423" y="893"/>
                  </a:lnTo>
                  <a:lnTo>
                    <a:pt x="419" y="892"/>
                  </a:lnTo>
                  <a:lnTo>
                    <a:pt x="417" y="892"/>
                  </a:lnTo>
                  <a:lnTo>
                    <a:pt x="415" y="893"/>
                  </a:lnTo>
                  <a:lnTo>
                    <a:pt x="412" y="894"/>
                  </a:lnTo>
                  <a:lnTo>
                    <a:pt x="409" y="896"/>
                  </a:lnTo>
                  <a:lnTo>
                    <a:pt x="409" y="895"/>
                  </a:lnTo>
                  <a:lnTo>
                    <a:pt x="408" y="892"/>
                  </a:lnTo>
                  <a:lnTo>
                    <a:pt x="407" y="887"/>
                  </a:lnTo>
                  <a:lnTo>
                    <a:pt x="406" y="885"/>
                  </a:lnTo>
                  <a:lnTo>
                    <a:pt x="404" y="885"/>
                  </a:lnTo>
                  <a:lnTo>
                    <a:pt x="401" y="886"/>
                  </a:lnTo>
                  <a:lnTo>
                    <a:pt x="395" y="886"/>
                  </a:lnTo>
                  <a:lnTo>
                    <a:pt x="393" y="885"/>
                  </a:lnTo>
                  <a:lnTo>
                    <a:pt x="391" y="884"/>
                  </a:lnTo>
                  <a:lnTo>
                    <a:pt x="387" y="883"/>
                  </a:lnTo>
                  <a:lnTo>
                    <a:pt x="385" y="883"/>
                  </a:lnTo>
                  <a:lnTo>
                    <a:pt x="384" y="884"/>
                  </a:lnTo>
                  <a:lnTo>
                    <a:pt x="385" y="888"/>
                  </a:lnTo>
                  <a:lnTo>
                    <a:pt x="387" y="892"/>
                  </a:lnTo>
                  <a:lnTo>
                    <a:pt x="392" y="895"/>
                  </a:lnTo>
                  <a:lnTo>
                    <a:pt x="401" y="903"/>
                  </a:lnTo>
                  <a:lnTo>
                    <a:pt x="407" y="909"/>
                  </a:lnTo>
                  <a:lnTo>
                    <a:pt x="410" y="912"/>
                  </a:lnTo>
                  <a:lnTo>
                    <a:pt x="412" y="916"/>
                  </a:lnTo>
                  <a:lnTo>
                    <a:pt x="411" y="918"/>
                  </a:lnTo>
                  <a:lnTo>
                    <a:pt x="410" y="918"/>
                  </a:lnTo>
                  <a:lnTo>
                    <a:pt x="406" y="918"/>
                  </a:lnTo>
                  <a:lnTo>
                    <a:pt x="403" y="918"/>
                  </a:lnTo>
                  <a:lnTo>
                    <a:pt x="401" y="920"/>
                  </a:lnTo>
                  <a:lnTo>
                    <a:pt x="399" y="924"/>
                  </a:lnTo>
                  <a:lnTo>
                    <a:pt x="396" y="926"/>
                  </a:lnTo>
                  <a:lnTo>
                    <a:pt x="394" y="926"/>
                  </a:lnTo>
                  <a:lnTo>
                    <a:pt x="393" y="924"/>
                  </a:lnTo>
                  <a:lnTo>
                    <a:pt x="393" y="920"/>
                  </a:lnTo>
                  <a:lnTo>
                    <a:pt x="394" y="917"/>
                  </a:lnTo>
                  <a:lnTo>
                    <a:pt x="394" y="915"/>
                  </a:lnTo>
                  <a:lnTo>
                    <a:pt x="394" y="913"/>
                  </a:lnTo>
                  <a:lnTo>
                    <a:pt x="392" y="913"/>
                  </a:lnTo>
                  <a:lnTo>
                    <a:pt x="390" y="915"/>
                  </a:lnTo>
                  <a:lnTo>
                    <a:pt x="388" y="918"/>
                  </a:lnTo>
                  <a:lnTo>
                    <a:pt x="388" y="921"/>
                  </a:lnTo>
                  <a:lnTo>
                    <a:pt x="388" y="926"/>
                  </a:lnTo>
                  <a:lnTo>
                    <a:pt x="388" y="931"/>
                  </a:lnTo>
                  <a:lnTo>
                    <a:pt x="388" y="935"/>
                  </a:lnTo>
                  <a:lnTo>
                    <a:pt x="388" y="937"/>
                  </a:lnTo>
                  <a:lnTo>
                    <a:pt x="387" y="940"/>
                  </a:lnTo>
                  <a:lnTo>
                    <a:pt x="385" y="939"/>
                  </a:lnTo>
                  <a:lnTo>
                    <a:pt x="383" y="936"/>
                  </a:lnTo>
                  <a:lnTo>
                    <a:pt x="380" y="934"/>
                  </a:lnTo>
                  <a:lnTo>
                    <a:pt x="379" y="934"/>
                  </a:lnTo>
                  <a:lnTo>
                    <a:pt x="377" y="935"/>
                  </a:lnTo>
                  <a:lnTo>
                    <a:pt x="375" y="936"/>
                  </a:lnTo>
                  <a:lnTo>
                    <a:pt x="372" y="937"/>
                  </a:lnTo>
                  <a:lnTo>
                    <a:pt x="370" y="937"/>
                  </a:lnTo>
                  <a:lnTo>
                    <a:pt x="368" y="936"/>
                  </a:lnTo>
                  <a:lnTo>
                    <a:pt x="367" y="934"/>
                  </a:lnTo>
                  <a:lnTo>
                    <a:pt x="363" y="932"/>
                  </a:lnTo>
                  <a:lnTo>
                    <a:pt x="361" y="931"/>
                  </a:lnTo>
                  <a:lnTo>
                    <a:pt x="359" y="931"/>
                  </a:lnTo>
                  <a:lnTo>
                    <a:pt x="359" y="932"/>
                  </a:lnTo>
                  <a:lnTo>
                    <a:pt x="359" y="935"/>
                  </a:lnTo>
                  <a:lnTo>
                    <a:pt x="360" y="937"/>
                  </a:lnTo>
                  <a:lnTo>
                    <a:pt x="362" y="940"/>
                  </a:lnTo>
                  <a:lnTo>
                    <a:pt x="362" y="941"/>
                  </a:lnTo>
                  <a:lnTo>
                    <a:pt x="360" y="942"/>
                  </a:lnTo>
                  <a:lnTo>
                    <a:pt x="358" y="943"/>
                  </a:lnTo>
                  <a:lnTo>
                    <a:pt x="350" y="943"/>
                  </a:lnTo>
                  <a:lnTo>
                    <a:pt x="345" y="943"/>
                  </a:lnTo>
                  <a:lnTo>
                    <a:pt x="336" y="943"/>
                  </a:lnTo>
                  <a:lnTo>
                    <a:pt x="334" y="942"/>
                  </a:lnTo>
                  <a:lnTo>
                    <a:pt x="330" y="940"/>
                  </a:lnTo>
                  <a:lnTo>
                    <a:pt x="328" y="939"/>
                  </a:lnTo>
                  <a:lnTo>
                    <a:pt x="322" y="936"/>
                  </a:lnTo>
                  <a:lnTo>
                    <a:pt x="308" y="931"/>
                  </a:lnTo>
                  <a:lnTo>
                    <a:pt x="302" y="928"/>
                  </a:lnTo>
                  <a:lnTo>
                    <a:pt x="298" y="927"/>
                  </a:lnTo>
                  <a:lnTo>
                    <a:pt x="296" y="928"/>
                  </a:lnTo>
                  <a:lnTo>
                    <a:pt x="292" y="927"/>
                  </a:lnTo>
                  <a:lnTo>
                    <a:pt x="291" y="926"/>
                  </a:lnTo>
                  <a:lnTo>
                    <a:pt x="288" y="924"/>
                  </a:lnTo>
                  <a:lnTo>
                    <a:pt x="286" y="924"/>
                  </a:lnTo>
                  <a:lnTo>
                    <a:pt x="282" y="924"/>
                  </a:lnTo>
                  <a:lnTo>
                    <a:pt x="280" y="925"/>
                  </a:lnTo>
                  <a:lnTo>
                    <a:pt x="279" y="927"/>
                  </a:lnTo>
                  <a:lnTo>
                    <a:pt x="278" y="929"/>
                  </a:lnTo>
                  <a:lnTo>
                    <a:pt x="275" y="933"/>
                  </a:lnTo>
                  <a:lnTo>
                    <a:pt x="272" y="937"/>
                  </a:lnTo>
                  <a:lnTo>
                    <a:pt x="272" y="942"/>
                  </a:lnTo>
                  <a:lnTo>
                    <a:pt x="272" y="945"/>
                  </a:lnTo>
                  <a:lnTo>
                    <a:pt x="273" y="951"/>
                  </a:lnTo>
                  <a:lnTo>
                    <a:pt x="272" y="958"/>
                  </a:lnTo>
                  <a:lnTo>
                    <a:pt x="270" y="960"/>
                  </a:lnTo>
                  <a:lnTo>
                    <a:pt x="268" y="961"/>
                  </a:lnTo>
                  <a:lnTo>
                    <a:pt x="265" y="964"/>
                  </a:lnTo>
                  <a:lnTo>
                    <a:pt x="260" y="966"/>
                  </a:lnTo>
                  <a:lnTo>
                    <a:pt x="258" y="968"/>
                  </a:lnTo>
                  <a:lnTo>
                    <a:pt x="256" y="972"/>
                  </a:lnTo>
                  <a:lnTo>
                    <a:pt x="254" y="973"/>
                  </a:lnTo>
                  <a:lnTo>
                    <a:pt x="250" y="973"/>
                  </a:lnTo>
                  <a:lnTo>
                    <a:pt x="246" y="973"/>
                  </a:lnTo>
                  <a:lnTo>
                    <a:pt x="242" y="973"/>
                  </a:lnTo>
                  <a:lnTo>
                    <a:pt x="238" y="974"/>
                  </a:lnTo>
                  <a:lnTo>
                    <a:pt x="234" y="976"/>
                  </a:lnTo>
                  <a:lnTo>
                    <a:pt x="228" y="977"/>
                  </a:lnTo>
                  <a:lnTo>
                    <a:pt x="217" y="980"/>
                  </a:lnTo>
                  <a:lnTo>
                    <a:pt x="215" y="981"/>
                  </a:lnTo>
                  <a:lnTo>
                    <a:pt x="210" y="982"/>
                  </a:lnTo>
                  <a:lnTo>
                    <a:pt x="206" y="982"/>
                  </a:lnTo>
                  <a:lnTo>
                    <a:pt x="200" y="982"/>
                  </a:lnTo>
                  <a:lnTo>
                    <a:pt x="192" y="982"/>
                  </a:lnTo>
                  <a:lnTo>
                    <a:pt x="184" y="985"/>
                  </a:lnTo>
                  <a:lnTo>
                    <a:pt x="175" y="989"/>
                  </a:lnTo>
                  <a:lnTo>
                    <a:pt x="168" y="992"/>
                  </a:lnTo>
                  <a:lnTo>
                    <a:pt x="162" y="996"/>
                  </a:lnTo>
                  <a:lnTo>
                    <a:pt x="156" y="999"/>
                  </a:lnTo>
                  <a:lnTo>
                    <a:pt x="146" y="1012"/>
                  </a:lnTo>
                  <a:lnTo>
                    <a:pt x="142" y="1022"/>
                  </a:lnTo>
                  <a:lnTo>
                    <a:pt x="140" y="1028"/>
                  </a:lnTo>
                  <a:lnTo>
                    <a:pt x="140" y="1031"/>
                  </a:lnTo>
                  <a:lnTo>
                    <a:pt x="142" y="1033"/>
                  </a:lnTo>
                  <a:lnTo>
                    <a:pt x="145" y="1035"/>
                  </a:lnTo>
                  <a:lnTo>
                    <a:pt x="146" y="1036"/>
                  </a:lnTo>
                  <a:lnTo>
                    <a:pt x="146" y="1038"/>
                  </a:lnTo>
                  <a:lnTo>
                    <a:pt x="143" y="1039"/>
                  </a:lnTo>
                  <a:lnTo>
                    <a:pt x="140" y="1040"/>
                  </a:lnTo>
                  <a:lnTo>
                    <a:pt x="136" y="1043"/>
                  </a:lnTo>
                  <a:lnTo>
                    <a:pt x="134" y="1045"/>
                  </a:lnTo>
                  <a:lnTo>
                    <a:pt x="132" y="1047"/>
                  </a:lnTo>
                  <a:lnTo>
                    <a:pt x="132" y="1049"/>
                  </a:lnTo>
                  <a:lnTo>
                    <a:pt x="132" y="1052"/>
                  </a:lnTo>
                  <a:lnTo>
                    <a:pt x="131" y="1054"/>
                  </a:lnTo>
                  <a:lnTo>
                    <a:pt x="128" y="1054"/>
                  </a:lnTo>
                  <a:lnTo>
                    <a:pt x="123" y="1051"/>
                  </a:lnTo>
                  <a:lnTo>
                    <a:pt x="121" y="1049"/>
                  </a:lnTo>
                  <a:lnTo>
                    <a:pt x="118" y="1051"/>
                  </a:lnTo>
                  <a:lnTo>
                    <a:pt x="115" y="1052"/>
                  </a:lnTo>
                  <a:lnTo>
                    <a:pt x="114" y="1053"/>
                  </a:lnTo>
                  <a:lnTo>
                    <a:pt x="110" y="1054"/>
                  </a:lnTo>
                  <a:lnTo>
                    <a:pt x="106" y="1053"/>
                  </a:lnTo>
                  <a:lnTo>
                    <a:pt x="105" y="1052"/>
                  </a:lnTo>
                  <a:lnTo>
                    <a:pt x="104" y="1048"/>
                  </a:lnTo>
                  <a:lnTo>
                    <a:pt x="97" y="1043"/>
                  </a:lnTo>
                  <a:lnTo>
                    <a:pt x="90" y="1041"/>
                  </a:lnTo>
                  <a:lnTo>
                    <a:pt x="87" y="1038"/>
                  </a:lnTo>
                  <a:lnTo>
                    <a:pt x="86" y="1036"/>
                  </a:lnTo>
                  <a:lnTo>
                    <a:pt x="86" y="1032"/>
                  </a:lnTo>
                  <a:lnTo>
                    <a:pt x="86" y="1029"/>
                  </a:lnTo>
                  <a:lnTo>
                    <a:pt x="84" y="1020"/>
                  </a:lnTo>
                  <a:lnTo>
                    <a:pt x="83" y="1015"/>
                  </a:lnTo>
                  <a:lnTo>
                    <a:pt x="81" y="1013"/>
                  </a:lnTo>
                  <a:lnTo>
                    <a:pt x="80" y="1012"/>
                  </a:lnTo>
                  <a:lnTo>
                    <a:pt x="76" y="1011"/>
                  </a:lnTo>
                  <a:lnTo>
                    <a:pt x="73" y="1011"/>
                  </a:lnTo>
                  <a:lnTo>
                    <a:pt x="70" y="1011"/>
                  </a:lnTo>
                  <a:lnTo>
                    <a:pt x="65" y="1009"/>
                  </a:lnTo>
                  <a:lnTo>
                    <a:pt x="59" y="1008"/>
                  </a:lnTo>
                  <a:lnTo>
                    <a:pt x="57" y="1006"/>
                  </a:lnTo>
                  <a:lnTo>
                    <a:pt x="55" y="1005"/>
                  </a:lnTo>
                  <a:lnTo>
                    <a:pt x="52" y="1005"/>
                  </a:lnTo>
                  <a:lnTo>
                    <a:pt x="50" y="1006"/>
                  </a:lnTo>
                  <a:lnTo>
                    <a:pt x="49" y="1006"/>
                  </a:lnTo>
                  <a:lnTo>
                    <a:pt x="47" y="1008"/>
                  </a:lnTo>
                  <a:lnTo>
                    <a:pt x="44" y="1012"/>
                  </a:lnTo>
                  <a:lnTo>
                    <a:pt x="44" y="1016"/>
                  </a:lnTo>
                  <a:lnTo>
                    <a:pt x="44" y="1022"/>
                  </a:lnTo>
                  <a:lnTo>
                    <a:pt x="49" y="1028"/>
                  </a:lnTo>
                  <a:lnTo>
                    <a:pt x="50" y="1030"/>
                  </a:lnTo>
                  <a:lnTo>
                    <a:pt x="50" y="1033"/>
                  </a:lnTo>
                  <a:lnTo>
                    <a:pt x="49" y="1036"/>
                  </a:lnTo>
                  <a:lnTo>
                    <a:pt x="39" y="1037"/>
                  </a:lnTo>
                  <a:lnTo>
                    <a:pt x="32" y="1038"/>
                  </a:lnTo>
                  <a:lnTo>
                    <a:pt x="24" y="1037"/>
                  </a:lnTo>
                  <a:lnTo>
                    <a:pt x="11" y="1035"/>
                  </a:lnTo>
                  <a:lnTo>
                    <a:pt x="7" y="1035"/>
                  </a:lnTo>
                  <a:lnTo>
                    <a:pt x="3" y="1036"/>
                  </a:lnTo>
                  <a:lnTo>
                    <a:pt x="1" y="1038"/>
                  </a:lnTo>
                  <a:lnTo>
                    <a:pt x="1" y="1043"/>
                  </a:lnTo>
                  <a:lnTo>
                    <a:pt x="3" y="1047"/>
                  </a:lnTo>
                  <a:lnTo>
                    <a:pt x="6" y="1054"/>
                  </a:lnTo>
                  <a:lnTo>
                    <a:pt x="7" y="1057"/>
                  </a:lnTo>
                  <a:lnTo>
                    <a:pt x="8" y="1064"/>
                  </a:lnTo>
                  <a:lnTo>
                    <a:pt x="8" y="1069"/>
                  </a:lnTo>
                  <a:lnTo>
                    <a:pt x="7" y="1076"/>
                  </a:lnTo>
                  <a:lnTo>
                    <a:pt x="3" y="1083"/>
                  </a:lnTo>
                  <a:lnTo>
                    <a:pt x="1" y="1087"/>
                  </a:lnTo>
                  <a:lnTo>
                    <a:pt x="0" y="1092"/>
                  </a:lnTo>
                  <a:lnTo>
                    <a:pt x="0" y="1096"/>
                  </a:lnTo>
                  <a:lnTo>
                    <a:pt x="0" y="1101"/>
                  </a:lnTo>
                  <a:lnTo>
                    <a:pt x="1" y="1104"/>
                  </a:lnTo>
                  <a:lnTo>
                    <a:pt x="2" y="1108"/>
                  </a:lnTo>
                  <a:lnTo>
                    <a:pt x="3" y="1112"/>
                  </a:lnTo>
                  <a:lnTo>
                    <a:pt x="4" y="1116"/>
                  </a:lnTo>
                  <a:lnTo>
                    <a:pt x="4" y="1119"/>
                  </a:lnTo>
                  <a:lnTo>
                    <a:pt x="7" y="1123"/>
                  </a:lnTo>
                  <a:lnTo>
                    <a:pt x="8" y="1126"/>
                  </a:lnTo>
                  <a:lnTo>
                    <a:pt x="10" y="1128"/>
                  </a:lnTo>
                  <a:lnTo>
                    <a:pt x="15" y="1131"/>
                  </a:lnTo>
                  <a:lnTo>
                    <a:pt x="19" y="1132"/>
                  </a:lnTo>
                  <a:lnTo>
                    <a:pt x="25" y="1129"/>
                  </a:lnTo>
                  <a:lnTo>
                    <a:pt x="27" y="1128"/>
                  </a:lnTo>
                  <a:lnTo>
                    <a:pt x="31" y="1127"/>
                  </a:lnTo>
                  <a:lnTo>
                    <a:pt x="32" y="1127"/>
                  </a:lnTo>
                  <a:lnTo>
                    <a:pt x="36" y="1127"/>
                  </a:lnTo>
                  <a:lnTo>
                    <a:pt x="40" y="1127"/>
                  </a:lnTo>
                  <a:lnTo>
                    <a:pt x="43" y="1127"/>
                  </a:lnTo>
                  <a:lnTo>
                    <a:pt x="47" y="1127"/>
                  </a:lnTo>
                  <a:lnTo>
                    <a:pt x="50" y="1127"/>
                  </a:lnTo>
                  <a:lnTo>
                    <a:pt x="54" y="1128"/>
                  </a:lnTo>
                  <a:lnTo>
                    <a:pt x="56" y="1129"/>
                  </a:lnTo>
                  <a:lnTo>
                    <a:pt x="57" y="1132"/>
                  </a:lnTo>
                  <a:lnTo>
                    <a:pt x="58" y="1135"/>
                  </a:lnTo>
                  <a:lnTo>
                    <a:pt x="59" y="1137"/>
                  </a:lnTo>
                  <a:lnTo>
                    <a:pt x="60" y="1141"/>
                  </a:lnTo>
                  <a:lnTo>
                    <a:pt x="63" y="1143"/>
                  </a:lnTo>
                  <a:lnTo>
                    <a:pt x="67" y="1145"/>
                  </a:lnTo>
                  <a:lnTo>
                    <a:pt x="74" y="1147"/>
                  </a:lnTo>
                  <a:lnTo>
                    <a:pt x="76" y="1147"/>
                  </a:lnTo>
                  <a:lnTo>
                    <a:pt x="79" y="1148"/>
                  </a:lnTo>
                  <a:lnTo>
                    <a:pt x="80" y="1149"/>
                  </a:lnTo>
                  <a:lnTo>
                    <a:pt x="82" y="1151"/>
                  </a:lnTo>
                  <a:lnTo>
                    <a:pt x="86" y="1156"/>
                  </a:lnTo>
                  <a:lnTo>
                    <a:pt x="90" y="1164"/>
                  </a:lnTo>
                  <a:lnTo>
                    <a:pt x="92" y="1166"/>
                  </a:lnTo>
                  <a:lnTo>
                    <a:pt x="98" y="1168"/>
                  </a:lnTo>
                  <a:lnTo>
                    <a:pt x="103" y="1169"/>
                  </a:lnTo>
                  <a:lnTo>
                    <a:pt x="110" y="1169"/>
                  </a:lnTo>
                  <a:lnTo>
                    <a:pt x="115" y="1169"/>
                  </a:lnTo>
                  <a:lnTo>
                    <a:pt x="122" y="1169"/>
                  </a:lnTo>
                  <a:lnTo>
                    <a:pt x="129" y="1169"/>
                  </a:lnTo>
                  <a:lnTo>
                    <a:pt x="136" y="1169"/>
                  </a:lnTo>
                  <a:lnTo>
                    <a:pt x="143" y="1169"/>
                  </a:lnTo>
                  <a:lnTo>
                    <a:pt x="148" y="1169"/>
                  </a:lnTo>
                  <a:lnTo>
                    <a:pt x="156" y="1169"/>
                  </a:lnTo>
                  <a:lnTo>
                    <a:pt x="163" y="1169"/>
                  </a:lnTo>
                  <a:lnTo>
                    <a:pt x="170" y="1169"/>
                  </a:lnTo>
                  <a:lnTo>
                    <a:pt x="177" y="1169"/>
                  </a:lnTo>
                  <a:lnTo>
                    <a:pt x="183" y="1171"/>
                  </a:lnTo>
                  <a:lnTo>
                    <a:pt x="187" y="1172"/>
                  </a:lnTo>
                  <a:lnTo>
                    <a:pt x="192" y="1174"/>
                  </a:lnTo>
                  <a:lnTo>
                    <a:pt x="193" y="1176"/>
                  </a:lnTo>
                  <a:lnTo>
                    <a:pt x="193" y="1179"/>
                  </a:lnTo>
                  <a:lnTo>
                    <a:pt x="191" y="1180"/>
                  </a:lnTo>
                  <a:lnTo>
                    <a:pt x="187" y="1181"/>
                  </a:lnTo>
                  <a:lnTo>
                    <a:pt x="175" y="1181"/>
                  </a:lnTo>
                  <a:lnTo>
                    <a:pt x="172" y="1181"/>
                  </a:lnTo>
                  <a:lnTo>
                    <a:pt x="169" y="1182"/>
                  </a:lnTo>
                  <a:lnTo>
                    <a:pt x="167" y="1183"/>
                  </a:lnTo>
                  <a:lnTo>
                    <a:pt x="163" y="1188"/>
                  </a:lnTo>
                  <a:lnTo>
                    <a:pt x="162" y="1190"/>
                  </a:lnTo>
                  <a:lnTo>
                    <a:pt x="162" y="1193"/>
                  </a:lnTo>
                  <a:lnTo>
                    <a:pt x="162" y="1196"/>
                  </a:lnTo>
                  <a:lnTo>
                    <a:pt x="164" y="1199"/>
                  </a:lnTo>
                  <a:lnTo>
                    <a:pt x="166" y="1201"/>
                  </a:lnTo>
                  <a:lnTo>
                    <a:pt x="166" y="1206"/>
                  </a:lnTo>
                  <a:lnTo>
                    <a:pt x="163" y="1211"/>
                  </a:lnTo>
                  <a:lnTo>
                    <a:pt x="160" y="1214"/>
                  </a:lnTo>
                  <a:lnTo>
                    <a:pt x="158" y="1217"/>
                  </a:lnTo>
                  <a:lnTo>
                    <a:pt x="158" y="1221"/>
                  </a:lnTo>
                  <a:lnTo>
                    <a:pt x="160" y="1225"/>
                  </a:lnTo>
                  <a:lnTo>
                    <a:pt x="168" y="1235"/>
                  </a:lnTo>
                  <a:lnTo>
                    <a:pt x="178" y="1244"/>
                  </a:lnTo>
                  <a:lnTo>
                    <a:pt x="182" y="1246"/>
                  </a:lnTo>
                  <a:lnTo>
                    <a:pt x="184" y="1247"/>
                  </a:lnTo>
                  <a:lnTo>
                    <a:pt x="187" y="1247"/>
                  </a:lnTo>
                  <a:lnTo>
                    <a:pt x="190" y="1247"/>
                  </a:lnTo>
                  <a:lnTo>
                    <a:pt x="192" y="1246"/>
                  </a:lnTo>
                  <a:lnTo>
                    <a:pt x="194" y="1245"/>
                  </a:lnTo>
                  <a:lnTo>
                    <a:pt x="199" y="1246"/>
                  </a:lnTo>
                  <a:lnTo>
                    <a:pt x="200" y="1248"/>
                  </a:lnTo>
                  <a:lnTo>
                    <a:pt x="202" y="1251"/>
                  </a:lnTo>
                  <a:lnTo>
                    <a:pt x="206" y="1252"/>
                  </a:lnTo>
                  <a:lnTo>
                    <a:pt x="209" y="1253"/>
                  </a:lnTo>
                  <a:lnTo>
                    <a:pt x="211" y="1255"/>
                  </a:lnTo>
                  <a:lnTo>
                    <a:pt x="215" y="1261"/>
                  </a:lnTo>
                  <a:lnTo>
                    <a:pt x="217" y="1267"/>
                  </a:lnTo>
                  <a:lnTo>
                    <a:pt x="216" y="1273"/>
                  </a:lnTo>
                  <a:lnTo>
                    <a:pt x="217" y="1277"/>
                  </a:lnTo>
                  <a:lnTo>
                    <a:pt x="219" y="1280"/>
                  </a:lnTo>
                  <a:lnTo>
                    <a:pt x="220" y="1283"/>
                  </a:lnTo>
                  <a:lnTo>
                    <a:pt x="224" y="1284"/>
                  </a:lnTo>
                  <a:lnTo>
                    <a:pt x="227" y="1284"/>
                  </a:lnTo>
                  <a:lnTo>
                    <a:pt x="233" y="1285"/>
                  </a:lnTo>
                  <a:lnTo>
                    <a:pt x="238" y="1286"/>
                  </a:lnTo>
                  <a:lnTo>
                    <a:pt x="240" y="1286"/>
                  </a:lnTo>
                  <a:lnTo>
                    <a:pt x="246" y="1286"/>
                  </a:lnTo>
                  <a:lnTo>
                    <a:pt x="249" y="1286"/>
                  </a:lnTo>
                  <a:lnTo>
                    <a:pt x="254" y="1288"/>
                  </a:lnTo>
                  <a:lnTo>
                    <a:pt x="257" y="1291"/>
                  </a:lnTo>
                  <a:lnTo>
                    <a:pt x="259" y="1294"/>
                  </a:lnTo>
                  <a:lnTo>
                    <a:pt x="260" y="1297"/>
                  </a:lnTo>
                  <a:lnTo>
                    <a:pt x="262" y="1300"/>
                  </a:lnTo>
                  <a:lnTo>
                    <a:pt x="262" y="1303"/>
                  </a:lnTo>
                  <a:lnTo>
                    <a:pt x="260" y="1305"/>
                  </a:lnTo>
                  <a:lnTo>
                    <a:pt x="258" y="1307"/>
                  </a:lnTo>
                  <a:lnTo>
                    <a:pt x="255" y="1307"/>
                  </a:lnTo>
                  <a:lnTo>
                    <a:pt x="249" y="1304"/>
                  </a:lnTo>
                  <a:lnTo>
                    <a:pt x="244" y="1302"/>
                  </a:lnTo>
                  <a:lnTo>
                    <a:pt x="243" y="1302"/>
                  </a:lnTo>
                  <a:lnTo>
                    <a:pt x="241" y="1303"/>
                  </a:lnTo>
                  <a:lnTo>
                    <a:pt x="242" y="1307"/>
                  </a:lnTo>
                  <a:lnTo>
                    <a:pt x="244" y="1310"/>
                  </a:lnTo>
                  <a:lnTo>
                    <a:pt x="247" y="1312"/>
                  </a:lnTo>
                  <a:lnTo>
                    <a:pt x="250" y="1316"/>
                  </a:lnTo>
                  <a:lnTo>
                    <a:pt x="255" y="1319"/>
                  </a:lnTo>
                  <a:lnTo>
                    <a:pt x="257" y="1321"/>
                  </a:lnTo>
                  <a:lnTo>
                    <a:pt x="259" y="1324"/>
                  </a:lnTo>
                  <a:lnTo>
                    <a:pt x="263" y="1327"/>
                  </a:lnTo>
                  <a:lnTo>
                    <a:pt x="267" y="1327"/>
                  </a:lnTo>
                  <a:lnTo>
                    <a:pt x="272" y="1328"/>
                  </a:lnTo>
                  <a:lnTo>
                    <a:pt x="275" y="1332"/>
                  </a:lnTo>
                  <a:lnTo>
                    <a:pt x="275" y="1336"/>
                  </a:lnTo>
                  <a:lnTo>
                    <a:pt x="274" y="1340"/>
                  </a:lnTo>
                  <a:lnTo>
                    <a:pt x="273" y="1343"/>
                  </a:lnTo>
                  <a:lnTo>
                    <a:pt x="274" y="1348"/>
                  </a:lnTo>
                  <a:lnTo>
                    <a:pt x="274" y="1353"/>
                  </a:lnTo>
                  <a:lnTo>
                    <a:pt x="274" y="1358"/>
                  </a:lnTo>
                  <a:lnTo>
                    <a:pt x="276" y="1365"/>
                  </a:lnTo>
                  <a:lnTo>
                    <a:pt x="279" y="1367"/>
                  </a:lnTo>
                  <a:lnTo>
                    <a:pt x="281" y="1371"/>
                  </a:lnTo>
                  <a:lnTo>
                    <a:pt x="283" y="1373"/>
                  </a:lnTo>
                  <a:lnTo>
                    <a:pt x="286" y="1374"/>
                  </a:lnTo>
                  <a:lnTo>
                    <a:pt x="287" y="1376"/>
                  </a:lnTo>
                  <a:lnTo>
                    <a:pt x="287" y="1379"/>
                  </a:lnTo>
                  <a:lnTo>
                    <a:pt x="286" y="1381"/>
                  </a:lnTo>
                  <a:lnTo>
                    <a:pt x="282" y="1381"/>
                  </a:lnTo>
                  <a:lnTo>
                    <a:pt x="279" y="1380"/>
                  </a:lnTo>
                  <a:lnTo>
                    <a:pt x="275" y="1380"/>
                  </a:lnTo>
                  <a:lnTo>
                    <a:pt x="272" y="1377"/>
                  </a:lnTo>
                  <a:lnTo>
                    <a:pt x="268" y="1375"/>
                  </a:lnTo>
                  <a:lnTo>
                    <a:pt x="267" y="1375"/>
                  </a:lnTo>
                  <a:lnTo>
                    <a:pt x="265" y="1375"/>
                  </a:lnTo>
                  <a:lnTo>
                    <a:pt x="264" y="1376"/>
                  </a:lnTo>
                  <a:lnTo>
                    <a:pt x="264" y="1380"/>
                  </a:lnTo>
                  <a:lnTo>
                    <a:pt x="263" y="1382"/>
                  </a:lnTo>
                  <a:lnTo>
                    <a:pt x="260" y="1382"/>
                  </a:lnTo>
                  <a:lnTo>
                    <a:pt x="257" y="1382"/>
                  </a:lnTo>
                  <a:lnTo>
                    <a:pt x="255" y="1382"/>
                  </a:lnTo>
                  <a:lnTo>
                    <a:pt x="251" y="1382"/>
                  </a:lnTo>
                  <a:lnTo>
                    <a:pt x="249" y="1381"/>
                  </a:lnTo>
                  <a:lnTo>
                    <a:pt x="247" y="1379"/>
                  </a:lnTo>
                  <a:lnTo>
                    <a:pt x="246" y="1377"/>
                  </a:lnTo>
                  <a:lnTo>
                    <a:pt x="243" y="1377"/>
                  </a:lnTo>
                  <a:lnTo>
                    <a:pt x="240" y="1377"/>
                  </a:lnTo>
                  <a:lnTo>
                    <a:pt x="239" y="1383"/>
                  </a:lnTo>
                  <a:lnTo>
                    <a:pt x="241" y="1388"/>
                  </a:lnTo>
                  <a:lnTo>
                    <a:pt x="242" y="1390"/>
                  </a:lnTo>
                  <a:lnTo>
                    <a:pt x="244" y="1395"/>
                  </a:lnTo>
                  <a:lnTo>
                    <a:pt x="246" y="1398"/>
                  </a:lnTo>
                  <a:lnTo>
                    <a:pt x="247" y="1403"/>
                  </a:lnTo>
                  <a:lnTo>
                    <a:pt x="249" y="1405"/>
                  </a:lnTo>
                  <a:lnTo>
                    <a:pt x="251" y="1406"/>
                  </a:lnTo>
                  <a:lnTo>
                    <a:pt x="255" y="1406"/>
                  </a:lnTo>
                  <a:lnTo>
                    <a:pt x="257" y="1405"/>
                  </a:lnTo>
                  <a:lnTo>
                    <a:pt x="257" y="1404"/>
                  </a:lnTo>
                  <a:lnTo>
                    <a:pt x="260" y="1404"/>
                  </a:lnTo>
                  <a:lnTo>
                    <a:pt x="264" y="1404"/>
                  </a:lnTo>
                  <a:lnTo>
                    <a:pt x="267" y="1406"/>
                  </a:lnTo>
                  <a:lnTo>
                    <a:pt x="271" y="1408"/>
                  </a:lnTo>
                  <a:lnTo>
                    <a:pt x="273" y="1411"/>
                  </a:lnTo>
                  <a:lnTo>
                    <a:pt x="275" y="1413"/>
                  </a:lnTo>
                  <a:lnTo>
                    <a:pt x="278" y="1414"/>
                  </a:lnTo>
                  <a:lnTo>
                    <a:pt x="281" y="1416"/>
                  </a:lnTo>
                  <a:lnTo>
                    <a:pt x="286" y="1417"/>
                  </a:lnTo>
                  <a:lnTo>
                    <a:pt x="288" y="1417"/>
                  </a:lnTo>
                  <a:lnTo>
                    <a:pt x="296" y="1417"/>
                  </a:lnTo>
                  <a:lnTo>
                    <a:pt x="299" y="1419"/>
                  </a:lnTo>
                  <a:lnTo>
                    <a:pt x="302" y="1419"/>
                  </a:lnTo>
                  <a:lnTo>
                    <a:pt x="306" y="1420"/>
                  </a:lnTo>
                  <a:lnTo>
                    <a:pt x="308" y="1421"/>
                  </a:lnTo>
                  <a:lnTo>
                    <a:pt x="308" y="1422"/>
                  </a:lnTo>
                  <a:lnTo>
                    <a:pt x="314" y="1427"/>
                  </a:lnTo>
                  <a:lnTo>
                    <a:pt x="315" y="1428"/>
                  </a:lnTo>
                  <a:lnTo>
                    <a:pt x="318" y="1430"/>
                  </a:lnTo>
                  <a:lnTo>
                    <a:pt x="320" y="1432"/>
                  </a:lnTo>
                  <a:lnTo>
                    <a:pt x="323" y="1433"/>
                  </a:lnTo>
                  <a:lnTo>
                    <a:pt x="327" y="1435"/>
                  </a:lnTo>
                  <a:lnTo>
                    <a:pt x="328" y="1436"/>
                  </a:lnTo>
                  <a:lnTo>
                    <a:pt x="329" y="1438"/>
                  </a:lnTo>
                  <a:lnTo>
                    <a:pt x="329" y="1441"/>
                  </a:lnTo>
                  <a:lnTo>
                    <a:pt x="326" y="1445"/>
                  </a:lnTo>
                  <a:lnTo>
                    <a:pt x="323" y="1447"/>
                  </a:lnTo>
                  <a:lnTo>
                    <a:pt x="323" y="1451"/>
                  </a:lnTo>
                  <a:lnTo>
                    <a:pt x="321" y="1454"/>
                  </a:lnTo>
                  <a:lnTo>
                    <a:pt x="320" y="1457"/>
                  </a:lnTo>
                  <a:lnTo>
                    <a:pt x="320" y="1463"/>
                  </a:lnTo>
                  <a:lnTo>
                    <a:pt x="322" y="1467"/>
                  </a:lnTo>
                  <a:lnTo>
                    <a:pt x="324" y="1468"/>
                  </a:lnTo>
                  <a:lnTo>
                    <a:pt x="330" y="1471"/>
                  </a:lnTo>
                  <a:lnTo>
                    <a:pt x="332" y="1473"/>
                  </a:lnTo>
                  <a:lnTo>
                    <a:pt x="335" y="1477"/>
                  </a:lnTo>
                  <a:lnTo>
                    <a:pt x="337" y="1481"/>
                  </a:lnTo>
                  <a:lnTo>
                    <a:pt x="338" y="1481"/>
                  </a:lnTo>
                  <a:lnTo>
                    <a:pt x="339" y="1483"/>
                  </a:lnTo>
                  <a:lnTo>
                    <a:pt x="342" y="1480"/>
                  </a:lnTo>
                  <a:lnTo>
                    <a:pt x="342" y="1478"/>
                  </a:lnTo>
                  <a:lnTo>
                    <a:pt x="342" y="1476"/>
                  </a:lnTo>
                  <a:lnTo>
                    <a:pt x="344" y="1470"/>
                  </a:lnTo>
                  <a:lnTo>
                    <a:pt x="346" y="1468"/>
                  </a:lnTo>
                  <a:lnTo>
                    <a:pt x="348" y="1467"/>
                  </a:lnTo>
                  <a:lnTo>
                    <a:pt x="351" y="1467"/>
                  </a:lnTo>
                  <a:lnTo>
                    <a:pt x="352" y="1464"/>
                  </a:lnTo>
                  <a:lnTo>
                    <a:pt x="354" y="1463"/>
                  </a:lnTo>
                  <a:lnTo>
                    <a:pt x="356" y="1461"/>
                  </a:lnTo>
                  <a:lnTo>
                    <a:pt x="358" y="1457"/>
                  </a:lnTo>
                  <a:lnTo>
                    <a:pt x="359" y="1455"/>
                  </a:lnTo>
                  <a:lnTo>
                    <a:pt x="361" y="1453"/>
                  </a:lnTo>
                  <a:lnTo>
                    <a:pt x="363" y="1452"/>
                  </a:lnTo>
                  <a:lnTo>
                    <a:pt x="368" y="1452"/>
                  </a:lnTo>
                  <a:lnTo>
                    <a:pt x="375" y="1455"/>
                  </a:lnTo>
                  <a:lnTo>
                    <a:pt x="378" y="1456"/>
                  </a:lnTo>
                  <a:lnTo>
                    <a:pt x="383" y="1456"/>
                  </a:lnTo>
                  <a:lnTo>
                    <a:pt x="386" y="1457"/>
                  </a:lnTo>
                  <a:lnTo>
                    <a:pt x="387" y="1459"/>
                  </a:lnTo>
                  <a:lnTo>
                    <a:pt x="391" y="1460"/>
                  </a:lnTo>
                  <a:lnTo>
                    <a:pt x="393" y="1461"/>
                  </a:lnTo>
                  <a:lnTo>
                    <a:pt x="394" y="1462"/>
                  </a:lnTo>
                  <a:lnTo>
                    <a:pt x="395" y="1465"/>
                  </a:lnTo>
                  <a:lnTo>
                    <a:pt x="395" y="1469"/>
                  </a:lnTo>
                  <a:lnTo>
                    <a:pt x="394" y="1476"/>
                  </a:lnTo>
                  <a:lnTo>
                    <a:pt x="392" y="1479"/>
                  </a:lnTo>
                  <a:lnTo>
                    <a:pt x="390" y="1486"/>
                  </a:lnTo>
                  <a:lnTo>
                    <a:pt x="388" y="1488"/>
                  </a:lnTo>
                  <a:lnTo>
                    <a:pt x="390" y="1491"/>
                  </a:lnTo>
                  <a:lnTo>
                    <a:pt x="392" y="1492"/>
                  </a:lnTo>
                  <a:lnTo>
                    <a:pt x="394" y="1494"/>
                  </a:lnTo>
                  <a:lnTo>
                    <a:pt x="396" y="1495"/>
                  </a:lnTo>
                  <a:lnTo>
                    <a:pt x="401" y="1496"/>
                  </a:lnTo>
                  <a:lnTo>
                    <a:pt x="407" y="1496"/>
                  </a:lnTo>
                  <a:lnTo>
                    <a:pt x="412" y="1499"/>
                  </a:lnTo>
                  <a:lnTo>
                    <a:pt x="416" y="1500"/>
                  </a:lnTo>
                  <a:lnTo>
                    <a:pt x="419" y="1500"/>
                  </a:lnTo>
                  <a:lnTo>
                    <a:pt x="424" y="1501"/>
                  </a:lnTo>
                  <a:lnTo>
                    <a:pt x="432" y="1503"/>
                  </a:lnTo>
                  <a:lnTo>
                    <a:pt x="435" y="1504"/>
                  </a:lnTo>
                  <a:lnTo>
                    <a:pt x="440" y="1505"/>
                  </a:lnTo>
                  <a:lnTo>
                    <a:pt x="442" y="1508"/>
                  </a:lnTo>
                  <a:lnTo>
                    <a:pt x="444" y="1510"/>
                  </a:lnTo>
                  <a:lnTo>
                    <a:pt x="446" y="1516"/>
                  </a:lnTo>
                  <a:lnTo>
                    <a:pt x="446" y="1523"/>
                  </a:lnTo>
                  <a:lnTo>
                    <a:pt x="447" y="1527"/>
                  </a:lnTo>
                  <a:lnTo>
                    <a:pt x="446" y="1531"/>
                  </a:lnTo>
                  <a:lnTo>
                    <a:pt x="446" y="1536"/>
                  </a:lnTo>
                  <a:lnTo>
                    <a:pt x="447" y="1541"/>
                  </a:lnTo>
                  <a:lnTo>
                    <a:pt x="449" y="1548"/>
                  </a:lnTo>
                  <a:lnTo>
                    <a:pt x="452" y="1552"/>
                  </a:lnTo>
                  <a:lnTo>
                    <a:pt x="456" y="1556"/>
                  </a:lnTo>
                  <a:lnTo>
                    <a:pt x="459" y="1557"/>
                  </a:lnTo>
                  <a:lnTo>
                    <a:pt x="464" y="1556"/>
                  </a:lnTo>
                  <a:lnTo>
                    <a:pt x="467" y="1555"/>
                  </a:lnTo>
                  <a:lnTo>
                    <a:pt x="471" y="1553"/>
                  </a:lnTo>
                  <a:lnTo>
                    <a:pt x="473" y="1553"/>
                  </a:lnTo>
                  <a:lnTo>
                    <a:pt x="475" y="1553"/>
                  </a:lnTo>
                  <a:lnTo>
                    <a:pt x="482" y="1553"/>
                  </a:lnTo>
                  <a:lnTo>
                    <a:pt x="486" y="1552"/>
                  </a:lnTo>
                  <a:lnTo>
                    <a:pt x="489" y="1552"/>
                  </a:lnTo>
                  <a:lnTo>
                    <a:pt x="494" y="1551"/>
                  </a:lnTo>
                  <a:lnTo>
                    <a:pt x="497" y="1551"/>
                  </a:lnTo>
                  <a:lnTo>
                    <a:pt x="502" y="1549"/>
                  </a:lnTo>
                  <a:lnTo>
                    <a:pt x="504" y="1548"/>
                  </a:lnTo>
                  <a:lnTo>
                    <a:pt x="508" y="1545"/>
                  </a:lnTo>
                  <a:lnTo>
                    <a:pt x="513" y="1542"/>
                  </a:lnTo>
                  <a:lnTo>
                    <a:pt x="522" y="1537"/>
                  </a:lnTo>
                  <a:lnTo>
                    <a:pt x="524" y="1535"/>
                  </a:lnTo>
                  <a:lnTo>
                    <a:pt x="528" y="1534"/>
                  </a:lnTo>
                  <a:lnTo>
                    <a:pt x="531" y="1533"/>
                  </a:lnTo>
                  <a:lnTo>
                    <a:pt x="535" y="1532"/>
                  </a:lnTo>
                  <a:lnTo>
                    <a:pt x="537" y="1531"/>
                  </a:lnTo>
                  <a:lnTo>
                    <a:pt x="540" y="1531"/>
                  </a:lnTo>
                  <a:lnTo>
                    <a:pt x="545" y="1529"/>
                  </a:lnTo>
                  <a:lnTo>
                    <a:pt x="546" y="1528"/>
                  </a:lnTo>
                  <a:lnTo>
                    <a:pt x="547" y="1527"/>
                  </a:lnTo>
                  <a:lnTo>
                    <a:pt x="548" y="1525"/>
                  </a:lnTo>
                  <a:lnTo>
                    <a:pt x="552" y="1521"/>
                  </a:lnTo>
                  <a:lnTo>
                    <a:pt x="554" y="1519"/>
                  </a:lnTo>
                  <a:lnTo>
                    <a:pt x="556" y="1518"/>
                  </a:lnTo>
                  <a:lnTo>
                    <a:pt x="559" y="1518"/>
                  </a:lnTo>
                  <a:lnTo>
                    <a:pt x="562" y="1518"/>
                  </a:lnTo>
                  <a:lnTo>
                    <a:pt x="566" y="1518"/>
                  </a:lnTo>
                  <a:lnTo>
                    <a:pt x="568" y="1516"/>
                  </a:lnTo>
                  <a:lnTo>
                    <a:pt x="569" y="1513"/>
                  </a:lnTo>
                  <a:lnTo>
                    <a:pt x="575" y="1502"/>
                  </a:lnTo>
                  <a:lnTo>
                    <a:pt x="578" y="1499"/>
                  </a:lnTo>
                  <a:lnTo>
                    <a:pt x="583" y="1496"/>
                  </a:lnTo>
                  <a:lnTo>
                    <a:pt x="586" y="1494"/>
                  </a:lnTo>
                  <a:lnTo>
                    <a:pt x="588" y="1491"/>
                  </a:lnTo>
                  <a:lnTo>
                    <a:pt x="591" y="1485"/>
                  </a:lnTo>
                  <a:lnTo>
                    <a:pt x="594" y="1483"/>
                  </a:lnTo>
                  <a:lnTo>
                    <a:pt x="596" y="1479"/>
                  </a:lnTo>
                  <a:lnTo>
                    <a:pt x="600" y="1473"/>
                  </a:lnTo>
                  <a:lnTo>
                    <a:pt x="604" y="1463"/>
                  </a:lnTo>
                  <a:lnTo>
                    <a:pt x="607" y="1461"/>
                  </a:lnTo>
                  <a:lnTo>
                    <a:pt x="610" y="1456"/>
                  </a:lnTo>
                  <a:lnTo>
                    <a:pt x="612" y="1454"/>
                  </a:lnTo>
                  <a:lnTo>
                    <a:pt x="616" y="1449"/>
                  </a:lnTo>
                  <a:lnTo>
                    <a:pt x="617" y="1448"/>
                  </a:lnTo>
                  <a:lnTo>
                    <a:pt x="618" y="1447"/>
                  </a:lnTo>
                  <a:lnTo>
                    <a:pt x="620" y="1445"/>
                  </a:lnTo>
                  <a:lnTo>
                    <a:pt x="622" y="1444"/>
                  </a:lnTo>
                  <a:lnTo>
                    <a:pt x="623" y="1443"/>
                  </a:lnTo>
                  <a:lnTo>
                    <a:pt x="623" y="1441"/>
                  </a:lnTo>
                  <a:lnTo>
                    <a:pt x="626" y="1438"/>
                  </a:lnTo>
                  <a:lnTo>
                    <a:pt x="627" y="1436"/>
                  </a:lnTo>
                  <a:lnTo>
                    <a:pt x="630" y="1435"/>
                  </a:lnTo>
                  <a:lnTo>
                    <a:pt x="632" y="1433"/>
                  </a:lnTo>
                  <a:lnTo>
                    <a:pt x="634" y="1432"/>
                  </a:lnTo>
                  <a:lnTo>
                    <a:pt x="638" y="1431"/>
                  </a:lnTo>
                  <a:lnTo>
                    <a:pt x="640" y="1429"/>
                  </a:lnTo>
                  <a:lnTo>
                    <a:pt x="642" y="1427"/>
                  </a:lnTo>
                  <a:lnTo>
                    <a:pt x="646" y="1424"/>
                  </a:lnTo>
                  <a:lnTo>
                    <a:pt x="649" y="1421"/>
                  </a:lnTo>
                  <a:lnTo>
                    <a:pt x="649" y="1420"/>
                  </a:lnTo>
                  <a:lnTo>
                    <a:pt x="650" y="1419"/>
                  </a:lnTo>
                  <a:lnTo>
                    <a:pt x="650" y="1416"/>
                  </a:lnTo>
                  <a:lnTo>
                    <a:pt x="649" y="1414"/>
                  </a:lnTo>
                  <a:lnTo>
                    <a:pt x="649" y="1411"/>
                  </a:lnTo>
                  <a:lnTo>
                    <a:pt x="649" y="1408"/>
                  </a:lnTo>
                  <a:lnTo>
                    <a:pt x="648" y="1406"/>
                  </a:lnTo>
                  <a:lnTo>
                    <a:pt x="647" y="1405"/>
                  </a:lnTo>
                  <a:lnTo>
                    <a:pt x="646" y="1403"/>
                  </a:lnTo>
                  <a:lnTo>
                    <a:pt x="643" y="1401"/>
                  </a:lnTo>
                  <a:lnTo>
                    <a:pt x="642" y="1399"/>
                  </a:lnTo>
                  <a:lnTo>
                    <a:pt x="638" y="1397"/>
                  </a:lnTo>
                  <a:lnTo>
                    <a:pt x="635" y="1396"/>
                  </a:lnTo>
                  <a:lnTo>
                    <a:pt x="632" y="1395"/>
                  </a:lnTo>
                  <a:lnTo>
                    <a:pt x="628" y="1393"/>
                  </a:lnTo>
                  <a:lnTo>
                    <a:pt x="625" y="1392"/>
                  </a:lnTo>
                  <a:lnTo>
                    <a:pt x="619" y="1391"/>
                  </a:lnTo>
                  <a:lnTo>
                    <a:pt x="615" y="1390"/>
                  </a:lnTo>
                  <a:lnTo>
                    <a:pt x="608" y="1388"/>
                  </a:lnTo>
                  <a:lnTo>
                    <a:pt x="602" y="1387"/>
                  </a:lnTo>
                  <a:lnTo>
                    <a:pt x="593" y="1383"/>
                  </a:lnTo>
                  <a:lnTo>
                    <a:pt x="592" y="1382"/>
                  </a:lnTo>
                  <a:lnTo>
                    <a:pt x="591" y="1381"/>
                  </a:lnTo>
                  <a:lnTo>
                    <a:pt x="588" y="1377"/>
                  </a:lnTo>
                  <a:lnTo>
                    <a:pt x="586" y="1376"/>
                  </a:lnTo>
                  <a:lnTo>
                    <a:pt x="585" y="1374"/>
                  </a:lnTo>
                  <a:lnTo>
                    <a:pt x="583" y="1372"/>
                  </a:lnTo>
                  <a:lnTo>
                    <a:pt x="583" y="1368"/>
                  </a:lnTo>
                  <a:lnTo>
                    <a:pt x="580" y="1360"/>
                  </a:lnTo>
                  <a:lnTo>
                    <a:pt x="579" y="1358"/>
                  </a:lnTo>
                  <a:lnTo>
                    <a:pt x="579" y="1356"/>
                  </a:lnTo>
                  <a:lnTo>
                    <a:pt x="579" y="1352"/>
                  </a:lnTo>
                  <a:lnTo>
                    <a:pt x="579" y="1350"/>
                  </a:lnTo>
                  <a:lnTo>
                    <a:pt x="577" y="1342"/>
                  </a:lnTo>
                  <a:lnTo>
                    <a:pt x="576" y="1340"/>
                  </a:lnTo>
                  <a:lnTo>
                    <a:pt x="575" y="1337"/>
                  </a:lnTo>
                  <a:lnTo>
                    <a:pt x="574" y="1335"/>
                  </a:lnTo>
                  <a:lnTo>
                    <a:pt x="571" y="1332"/>
                  </a:lnTo>
                  <a:lnTo>
                    <a:pt x="570" y="1329"/>
                  </a:lnTo>
                  <a:lnTo>
                    <a:pt x="569" y="1327"/>
                  </a:lnTo>
                  <a:lnTo>
                    <a:pt x="567" y="1325"/>
                  </a:lnTo>
                  <a:lnTo>
                    <a:pt x="566" y="1323"/>
                  </a:lnTo>
                  <a:lnTo>
                    <a:pt x="563" y="1319"/>
                  </a:lnTo>
                  <a:lnTo>
                    <a:pt x="562" y="1318"/>
                  </a:lnTo>
                  <a:lnTo>
                    <a:pt x="562" y="1316"/>
                  </a:lnTo>
                  <a:lnTo>
                    <a:pt x="561" y="1312"/>
                  </a:lnTo>
                  <a:lnTo>
                    <a:pt x="561" y="1309"/>
                  </a:lnTo>
                  <a:lnTo>
                    <a:pt x="561" y="1307"/>
                  </a:lnTo>
                  <a:lnTo>
                    <a:pt x="562" y="1302"/>
                  </a:lnTo>
                  <a:lnTo>
                    <a:pt x="561" y="1300"/>
                  </a:lnTo>
                  <a:lnTo>
                    <a:pt x="564" y="1303"/>
                  </a:lnTo>
                  <a:lnTo>
                    <a:pt x="567" y="1304"/>
                  </a:lnTo>
                  <a:lnTo>
                    <a:pt x="570" y="1309"/>
                  </a:lnTo>
                  <a:lnTo>
                    <a:pt x="572" y="1310"/>
                  </a:lnTo>
                  <a:lnTo>
                    <a:pt x="574" y="1313"/>
                  </a:lnTo>
                  <a:lnTo>
                    <a:pt x="576" y="1316"/>
                  </a:lnTo>
                  <a:lnTo>
                    <a:pt x="577" y="1319"/>
                  </a:lnTo>
                  <a:lnTo>
                    <a:pt x="579" y="1323"/>
                  </a:lnTo>
                  <a:lnTo>
                    <a:pt x="580" y="1325"/>
                  </a:lnTo>
                  <a:lnTo>
                    <a:pt x="582" y="1328"/>
                  </a:lnTo>
                  <a:lnTo>
                    <a:pt x="584" y="1331"/>
                  </a:lnTo>
                  <a:lnTo>
                    <a:pt x="585" y="1335"/>
                  </a:lnTo>
                  <a:lnTo>
                    <a:pt x="585" y="1339"/>
                  </a:lnTo>
                  <a:lnTo>
                    <a:pt x="585" y="1342"/>
                  </a:lnTo>
                  <a:lnTo>
                    <a:pt x="586" y="1345"/>
                  </a:lnTo>
                  <a:lnTo>
                    <a:pt x="587" y="1353"/>
                  </a:lnTo>
                  <a:lnTo>
                    <a:pt x="590" y="1355"/>
                  </a:lnTo>
                  <a:lnTo>
                    <a:pt x="591" y="1357"/>
                  </a:lnTo>
                  <a:lnTo>
                    <a:pt x="592" y="1361"/>
                  </a:lnTo>
                  <a:lnTo>
                    <a:pt x="595" y="1366"/>
                  </a:lnTo>
                  <a:lnTo>
                    <a:pt x="596" y="1368"/>
                  </a:lnTo>
                  <a:lnTo>
                    <a:pt x="599" y="1371"/>
                  </a:lnTo>
                  <a:lnTo>
                    <a:pt x="604" y="1376"/>
                  </a:lnTo>
                  <a:lnTo>
                    <a:pt x="607" y="1377"/>
                  </a:lnTo>
                  <a:lnTo>
                    <a:pt x="610" y="1379"/>
                  </a:lnTo>
                  <a:lnTo>
                    <a:pt x="612" y="1379"/>
                  </a:lnTo>
                  <a:lnTo>
                    <a:pt x="614" y="1379"/>
                  </a:lnTo>
                  <a:lnTo>
                    <a:pt x="615" y="1380"/>
                  </a:lnTo>
                  <a:lnTo>
                    <a:pt x="616" y="1380"/>
                  </a:lnTo>
                  <a:lnTo>
                    <a:pt x="618" y="1381"/>
                  </a:lnTo>
                  <a:lnTo>
                    <a:pt x="619" y="1381"/>
                  </a:lnTo>
                  <a:lnTo>
                    <a:pt x="623" y="1382"/>
                  </a:lnTo>
                  <a:lnTo>
                    <a:pt x="626" y="1383"/>
                  </a:lnTo>
                  <a:lnTo>
                    <a:pt x="632" y="1387"/>
                  </a:lnTo>
                  <a:lnTo>
                    <a:pt x="635" y="1388"/>
                  </a:lnTo>
                  <a:lnTo>
                    <a:pt x="639" y="1390"/>
                  </a:lnTo>
                  <a:lnTo>
                    <a:pt x="641" y="1391"/>
                  </a:lnTo>
                  <a:lnTo>
                    <a:pt x="643" y="1393"/>
                  </a:lnTo>
                  <a:lnTo>
                    <a:pt x="647" y="1395"/>
                  </a:lnTo>
                  <a:lnTo>
                    <a:pt x="649" y="1397"/>
                  </a:lnTo>
                  <a:lnTo>
                    <a:pt x="651" y="1399"/>
                  </a:lnTo>
                  <a:lnTo>
                    <a:pt x="652" y="1401"/>
                  </a:lnTo>
                  <a:lnTo>
                    <a:pt x="654" y="1405"/>
                  </a:lnTo>
                  <a:lnTo>
                    <a:pt x="655" y="1407"/>
                  </a:lnTo>
                  <a:lnTo>
                    <a:pt x="657" y="1412"/>
                  </a:lnTo>
                  <a:lnTo>
                    <a:pt x="657" y="1414"/>
                  </a:lnTo>
                  <a:lnTo>
                    <a:pt x="658" y="1417"/>
                  </a:lnTo>
                  <a:lnTo>
                    <a:pt x="658" y="1421"/>
                  </a:lnTo>
                  <a:lnTo>
                    <a:pt x="658" y="1424"/>
                  </a:lnTo>
                  <a:lnTo>
                    <a:pt x="658" y="1428"/>
                  </a:lnTo>
                  <a:lnTo>
                    <a:pt x="657" y="1430"/>
                  </a:lnTo>
                  <a:lnTo>
                    <a:pt x="654" y="1438"/>
                  </a:lnTo>
                  <a:lnTo>
                    <a:pt x="651" y="1441"/>
                  </a:lnTo>
                  <a:lnTo>
                    <a:pt x="649" y="1444"/>
                  </a:lnTo>
                  <a:lnTo>
                    <a:pt x="648" y="1447"/>
                  </a:lnTo>
                  <a:lnTo>
                    <a:pt x="647" y="1449"/>
                  </a:lnTo>
                  <a:lnTo>
                    <a:pt x="644" y="1453"/>
                  </a:lnTo>
                  <a:lnTo>
                    <a:pt x="642" y="1455"/>
                  </a:lnTo>
                  <a:lnTo>
                    <a:pt x="641" y="1459"/>
                  </a:lnTo>
                  <a:lnTo>
                    <a:pt x="639" y="1462"/>
                  </a:lnTo>
                  <a:lnTo>
                    <a:pt x="638" y="1467"/>
                  </a:lnTo>
                  <a:lnTo>
                    <a:pt x="638" y="1468"/>
                  </a:lnTo>
                  <a:lnTo>
                    <a:pt x="638" y="1471"/>
                  </a:lnTo>
                  <a:lnTo>
                    <a:pt x="639" y="1472"/>
                  </a:lnTo>
                  <a:lnTo>
                    <a:pt x="642" y="1480"/>
                  </a:lnTo>
                  <a:lnTo>
                    <a:pt x="643" y="1483"/>
                  </a:lnTo>
                  <a:lnTo>
                    <a:pt x="643" y="1485"/>
                  </a:lnTo>
                  <a:lnTo>
                    <a:pt x="643" y="1487"/>
                  </a:lnTo>
                  <a:lnTo>
                    <a:pt x="646" y="1491"/>
                  </a:lnTo>
                  <a:lnTo>
                    <a:pt x="647" y="1493"/>
                  </a:lnTo>
                  <a:lnTo>
                    <a:pt x="648" y="1494"/>
                  </a:lnTo>
                  <a:lnTo>
                    <a:pt x="649" y="1495"/>
                  </a:lnTo>
                  <a:lnTo>
                    <a:pt x="650" y="1497"/>
                  </a:lnTo>
                  <a:lnTo>
                    <a:pt x="651" y="1500"/>
                  </a:lnTo>
                  <a:lnTo>
                    <a:pt x="650" y="1502"/>
                  </a:lnTo>
                  <a:lnTo>
                    <a:pt x="650" y="1504"/>
                  </a:lnTo>
                  <a:lnTo>
                    <a:pt x="650" y="1505"/>
                  </a:lnTo>
                  <a:lnTo>
                    <a:pt x="651" y="1508"/>
                  </a:lnTo>
                  <a:lnTo>
                    <a:pt x="652" y="1509"/>
                  </a:lnTo>
                  <a:lnTo>
                    <a:pt x="654" y="1509"/>
                  </a:lnTo>
                  <a:lnTo>
                    <a:pt x="657" y="1509"/>
                  </a:lnTo>
                  <a:lnTo>
                    <a:pt x="658" y="1508"/>
                  </a:lnTo>
                  <a:lnTo>
                    <a:pt x="659" y="1505"/>
                  </a:lnTo>
                  <a:lnTo>
                    <a:pt x="659" y="1503"/>
                  </a:lnTo>
                  <a:lnTo>
                    <a:pt x="662" y="1502"/>
                  </a:lnTo>
                  <a:lnTo>
                    <a:pt x="664" y="1500"/>
                  </a:lnTo>
                  <a:lnTo>
                    <a:pt x="665" y="1500"/>
                  </a:lnTo>
                  <a:lnTo>
                    <a:pt x="667" y="1500"/>
                  </a:lnTo>
                  <a:lnTo>
                    <a:pt x="670" y="1499"/>
                  </a:lnTo>
                  <a:lnTo>
                    <a:pt x="674" y="1500"/>
                  </a:lnTo>
                  <a:lnTo>
                    <a:pt x="676" y="1502"/>
                  </a:lnTo>
                  <a:lnTo>
                    <a:pt x="679" y="1502"/>
                  </a:lnTo>
                  <a:lnTo>
                    <a:pt x="682" y="1503"/>
                  </a:lnTo>
                  <a:lnTo>
                    <a:pt x="684" y="1504"/>
                  </a:lnTo>
                  <a:lnTo>
                    <a:pt x="687" y="1504"/>
                  </a:lnTo>
                  <a:lnTo>
                    <a:pt x="689" y="1504"/>
                  </a:lnTo>
                  <a:lnTo>
                    <a:pt x="691" y="1503"/>
                  </a:lnTo>
                  <a:lnTo>
                    <a:pt x="694" y="1502"/>
                  </a:lnTo>
                  <a:lnTo>
                    <a:pt x="696" y="1501"/>
                  </a:lnTo>
                  <a:lnTo>
                    <a:pt x="699" y="1500"/>
                  </a:lnTo>
                  <a:lnTo>
                    <a:pt x="702" y="1499"/>
                  </a:lnTo>
                  <a:lnTo>
                    <a:pt x="706" y="1499"/>
                  </a:lnTo>
                  <a:lnTo>
                    <a:pt x="711" y="1497"/>
                  </a:lnTo>
                  <a:lnTo>
                    <a:pt x="714" y="1496"/>
                  </a:lnTo>
                  <a:lnTo>
                    <a:pt x="718" y="1493"/>
                  </a:lnTo>
                  <a:lnTo>
                    <a:pt x="721" y="1492"/>
                  </a:lnTo>
                  <a:lnTo>
                    <a:pt x="723" y="1491"/>
                  </a:lnTo>
                  <a:lnTo>
                    <a:pt x="727" y="1489"/>
                  </a:lnTo>
                  <a:lnTo>
                    <a:pt x="729" y="1487"/>
                  </a:lnTo>
                  <a:lnTo>
                    <a:pt x="732" y="1486"/>
                  </a:lnTo>
                  <a:lnTo>
                    <a:pt x="735" y="1483"/>
                  </a:lnTo>
                  <a:lnTo>
                    <a:pt x="737" y="1480"/>
                  </a:lnTo>
                  <a:lnTo>
                    <a:pt x="738" y="1478"/>
                  </a:lnTo>
                  <a:lnTo>
                    <a:pt x="739" y="1477"/>
                  </a:lnTo>
                  <a:lnTo>
                    <a:pt x="742" y="1475"/>
                  </a:lnTo>
                  <a:lnTo>
                    <a:pt x="745" y="1473"/>
                  </a:lnTo>
                  <a:lnTo>
                    <a:pt x="747" y="1473"/>
                  </a:lnTo>
                  <a:lnTo>
                    <a:pt x="750" y="1472"/>
                  </a:lnTo>
                  <a:lnTo>
                    <a:pt x="754" y="1473"/>
                  </a:lnTo>
                  <a:lnTo>
                    <a:pt x="759" y="1472"/>
                  </a:lnTo>
                  <a:lnTo>
                    <a:pt x="760" y="1471"/>
                  </a:lnTo>
                  <a:lnTo>
                    <a:pt x="761" y="1467"/>
                  </a:lnTo>
                  <a:lnTo>
                    <a:pt x="760" y="1459"/>
                  </a:lnTo>
                  <a:lnTo>
                    <a:pt x="760" y="1456"/>
                  </a:lnTo>
                  <a:lnTo>
                    <a:pt x="760" y="1453"/>
                  </a:lnTo>
                  <a:lnTo>
                    <a:pt x="760" y="1448"/>
                  </a:lnTo>
                  <a:lnTo>
                    <a:pt x="761" y="1446"/>
                  </a:lnTo>
                  <a:lnTo>
                    <a:pt x="763" y="1443"/>
                  </a:lnTo>
                  <a:lnTo>
                    <a:pt x="764" y="1439"/>
                  </a:lnTo>
                  <a:lnTo>
                    <a:pt x="767" y="1438"/>
                  </a:lnTo>
                  <a:lnTo>
                    <a:pt x="768" y="1438"/>
                  </a:lnTo>
                  <a:lnTo>
                    <a:pt x="770" y="1438"/>
                  </a:lnTo>
                  <a:lnTo>
                    <a:pt x="775" y="1439"/>
                  </a:lnTo>
                  <a:lnTo>
                    <a:pt x="777" y="1440"/>
                  </a:lnTo>
                  <a:lnTo>
                    <a:pt x="780" y="1441"/>
                  </a:lnTo>
                  <a:lnTo>
                    <a:pt x="783" y="1443"/>
                  </a:lnTo>
                  <a:lnTo>
                    <a:pt x="786" y="1440"/>
                  </a:lnTo>
                  <a:lnTo>
                    <a:pt x="788" y="1440"/>
                  </a:lnTo>
                  <a:lnTo>
                    <a:pt x="791" y="1441"/>
                  </a:lnTo>
                  <a:lnTo>
                    <a:pt x="793" y="1441"/>
                  </a:lnTo>
                  <a:lnTo>
                    <a:pt x="795" y="1439"/>
                  </a:lnTo>
                  <a:lnTo>
                    <a:pt x="796" y="1437"/>
                  </a:lnTo>
                  <a:lnTo>
                    <a:pt x="796" y="1435"/>
                  </a:lnTo>
                  <a:lnTo>
                    <a:pt x="799" y="1433"/>
                  </a:lnTo>
                  <a:lnTo>
                    <a:pt x="800" y="1432"/>
                  </a:lnTo>
                  <a:lnTo>
                    <a:pt x="801" y="1435"/>
                  </a:lnTo>
                  <a:lnTo>
                    <a:pt x="801" y="1436"/>
                  </a:lnTo>
                  <a:lnTo>
                    <a:pt x="802" y="1437"/>
                  </a:lnTo>
                  <a:lnTo>
                    <a:pt x="801" y="1440"/>
                  </a:lnTo>
                  <a:lnTo>
                    <a:pt x="800" y="1445"/>
                  </a:lnTo>
                  <a:lnTo>
                    <a:pt x="800" y="1448"/>
                  </a:lnTo>
                  <a:lnTo>
                    <a:pt x="802" y="1452"/>
                  </a:lnTo>
                  <a:lnTo>
                    <a:pt x="806" y="1454"/>
                  </a:lnTo>
                  <a:lnTo>
                    <a:pt x="810" y="1456"/>
                  </a:lnTo>
                  <a:lnTo>
                    <a:pt x="812" y="1459"/>
                  </a:lnTo>
                  <a:lnTo>
                    <a:pt x="815" y="1460"/>
                  </a:lnTo>
                  <a:lnTo>
                    <a:pt x="817" y="1462"/>
                  </a:lnTo>
                  <a:lnTo>
                    <a:pt x="820" y="1463"/>
                  </a:lnTo>
                  <a:lnTo>
                    <a:pt x="825" y="1464"/>
                  </a:lnTo>
                  <a:lnTo>
                    <a:pt x="830" y="1464"/>
                  </a:lnTo>
                  <a:lnTo>
                    <a:pt x="834" y="1465"/>
                  </a:lnTo>
                  <a:lnTo>
                    <a:pt x="838" y="1465"/>
                  </a:lnTo>
                  <a:lnTo>
                    <a:pt x="843" y="1464"/>
                  </a:lnTo>
                  <a:lnTo>
                    <a:pt x="847" y="1463"/>
                  </a:lnTo>
                  <a:lnTo>
                    <a:pt x="855" y="1463"/>
                  </a:lnTo>
                  <a:lnTo>
                    <a:pt x="859" y="1467"/>
                  </a:lnTo>
                  <a:lnTo>
                    <a:pt x="863" y="1468"/>
                  </a:lnTo>
                  <a:lnTo>
                    <a:pt x="864" y="1469"/>
                  </a:lnTo>
                  <a:lnTo>
                    <a:pt x="865" y="1469"/>
                  </a:lnTo>
                  <a:lnTo>
                    <a:pt x="867" y="1469"/>
                  </a:lnTo>
                  <a:lnTo>
                    <a:pt x="870" y="1470"/>
                  </a:lnTo>
                  <a:lnTo>
                    <a:pt x="871" y="1470"/>
                  </a:lnTo>
                  <a:lnTo>
                    <a:pt x="873" y="1470"/>
                  </a:lnTo>
                  <a:lnTo>
                    <a:pt x="875" y="1470"/>
                  </a:lnTo>
                  <a:lnTo>
                    <a:pt x="876" y="1470"/>
                  </a:lnTo>
                  <a:lnTo>
                    <a:pt x="878" y="1469"/>
                  </a:lnTo>
                  <a:lnTo>
                    <a:pt x="879" y="1469"/>
                  </a:lnTo>
                  <a:lnTo>
                    <a:pt x="881" y="1464"/>
                  </a:lnTo>
                  <a:lnTo>
                    <a:pt x="882" y="1463"/>
                  </a:lnTo>
                  <a:lnTo>
                    <a:pt x="883" y="1462"/>
                  </a:lnTo>
                  <a:lnTo>
                    <a:pt x="884" y="1461"/>
                  </a:lnTo>
                  <a:lnTo>
                    <a:pt x="886" y="1460"/>
                  </a:lnTo>
                  <a:lnTo>
                    <a:pt x="887" y="1460"/>
                  </a:lnTo>
                  <a:lnTo>
                    <a:pt x="889" y="1460"/>
                  </a:lnTo>
                  <a:lnTo>
                    <a:pt x="890" y="1461"/>
                  </a:lnTo>
                  <a:lnTo>
                    <a:pt x="897" y="1449"/>
                  </a:lnTo>
                  <a:lnTo>
                    <a:pt x="897" y="1446"/>
                  </a:lnTo>
                  <a:lnTo>
                    <a:pt x="897" y="1444"/>
                  </a:lnTo>
                  <a:lnTo>
                    <a:pt x="896" y="1441"/>
                  </a:lnTo>
                  <a:lnTo>
                    <a:pt x="890" y="1436"/>
                  </a:lnTo>
                  <a:lnTo>
                    <a:pt x="886" y="1430"/>
                  </a:lnTo>
                  <a:lnTo>
                    <a:pt x="883" y="1424"/>
                  </a:lnTo>
                  <a:lnTo>
                    <a:pt x="883" y="1420"/>
                  </a:lnTo>
                  <a:lnTo>
                    <a:pt x="884" y="1414"/>
                  </a:lnTo>
                  <a:lnTo>
                    <a:pt x="888" y="1407"/>
                  </a:lnTo>
                  <a:lnTo>
                    <a:pt x="891" y="1399"/>
                  </a:lnTo>
                  <a:lnTo>
                    <a:pt x="891" y="1395"/>
                  </a:lnTo>
                  <a:lnTo>
                    <a:pt x="891" y="1390"/>
                  </a:lnTo>
                  <a:lnTo>
                    <a:pt x="891" y="1387"/>
                  </a:lnTo>
                  <a:lnTo>
                    <a:pt x="889" y="1382"/>
                  </a:lnTo>
                  <a:lnTo>
                    <a:pt x="883" y="1369"/>
                  </a:lnTo>
                  <a:lnTo>
                    <a:pt x="878" y="1360"/>
                  </a:lnTo>
                  <a:lnTo>
                    <a:pt x="873" y="1352"/>
                  </a:lnTo>
                  <a:lnTo>
                    <a:pt x="873" y="1347"/>
                  </a:lnTo>
                  <a:lnTo>
                    <a:pt x="872" y="1336"/>
                  </a:lnTo>
                  <a:lnTo>
                    <a:pt x="872" y="1329"/>
                  </a:lnTo>
                  <a:lnTo>
                    <a:pt x="872" y="1325"/>
                  </a:lnTo>
                  <a:lnTo>
                    <a:pt x="871" y="1319"/>
                  </a:lnTo>
                  <a:lnTo>
                    <a:pt x="871" y="1315"/>
                  </a:lnTo>
                  <a:lnTo>
                    <a:pt x="870" y="1311"/>
                  </a:lnTo>
                  <a:lnTo>
                    <a:pt x="868" y="1307"/>
                  </a:lnTo>
                  <a:lnTo>
                    <a:pt x="866" y="1301"/>
                  </a:lnTo>
                  <a:lnTo>
                    <a:pt x="862" y="1287"/>
                  </a:lnTo>
                  <a:lnTo>
                    <a:pt x="858" y="1279"/>
                  </a:lnTo>
                  <a:lnTo>
                    <a:pt x="858" y="1271"/>
                  </a:lnTo>
                  <a:lnTo>
                    <a:pt x="858" y="1261"/>
                  </a:lnTo>
                  <a:lnTo>
                    <a:pt x="857" y="1254"/>
                  </a:lnTo>
                  <a:lnTo>
                    <a:pt x="855" y="1248"/>
                  </a:lnTo>
                  <a:lnTo>
                    <a:pt x="852" y="1245"/>
                  </a:lnTo>
                  <a:lnTo>
                    <a:pt x="851" y="1240"/>
                  </a:lnTo>
                  <a:lnTo>
                    <a:pt x="851" y="1236"/>
                  </a:lnTo>
                  <a:lnTo>
                    <a:pt x="852" y="1231"/>
                  </a:lnTo>
                  <a:lnTo>
                    <a:pt x="855" y="1228"/>
                  </a:lnTo>
                  <a:lnTo>
                    <a:pt x="858" y="1223"/>
                  </a:lnTo>
                  <a:lnTo>
                    <a:pt x="862" y="1220"/>
                  </a:lnTo>
                  <a:lnTo>
                    <a:pt x="863" y="1214"/>
                  </a:lnTo>
                  <a:lnTo>
                    <a:pt x="863" y="1209"/>
                  </a:lnTo>
                  <a:lnTo>
                    <a:pt x="859" y="1206"/>
                  </a:lnTo>
                  <a:lnTo>
                    <a:pt x="856" y="1205"/>
                  </a:lnTo>
                  <a:lnTo>
                    <a:pt x="852" y="1203"/>
                  </a:lnTo>
                  <a:lnTo>
                    <a:pt x="840" y="1185"/>
                  </a:lnTo>
                  <a:lnTo>
                    <a:pt x="836" y="1183"/>
                  </a:lnTo>
                  <a:lnTo>
                    <a:pt x="834" y="1175"/>
                  </a:lnTo>
                  <a:lnTo>
                    <a:pt x="832" y="1173"/>
                  </a:lnTo>
                  <a:lnTo>
                    <a:pt x="832" y="1171"/>
                  </a:lnTo>
                  <a:lnTo>
                    <a:pt x="833" y="1168"/>
                  </a:lnTo>
                  <a:lnTo>
                    <a:pt x="835" y="1167"/>
                  </a:lnTo>
                  <a:lnTo>
                    <a:pt x="839" y="1161"/>
                  </a:lnTo>
                  <a:lnTo>
                    <a:pt x="838" y="1155"/>
                  </a:lnTo>
                  <a:lnTo>
                    <a:pt x="839" y="1151"/>
                  </a:lnTo>
                  <a:lnTo>
                    <a:pt x="841" y="1147"/>
                  </a:lnTo>
                  <a:lnTo>
                    <a:pt x="844" y="1143"/>
                  </a:lnTo>
                  <a:lnTo>
                    <a:pt x="849" y="1140"/>
                  </a:lnTo>
                  <a:lnTo>
                    <a:pt x="851" y="1136"/>
                  </a:lnTo>
                  <a:lnTo>
                    <a:pt x="852" y="1132"/>
                  </a:lnTo>
                  <a:lnTo>
                    <a:pt x="852" y="1127"/>
                  </a:lnTo>
                  <a:lnTo>
                    <a:pt x="855" y="1124"/>
                  </a:lnTo>
                  <a:lnTo>
                    <a:pt x="857" y="1123"/>
                  </a:lnTo>
                  <a:lnTo>
                    <a:pt x="859" y="1120"/>
                  </a:lnTo>
                  <a:lnTo>
                    <a:pt x="860" y="1117"/>
                  </a:lnTo>
                  <a:lnTo>
                    <a:pt x="857" y="1115"/>
                  </a:lnTo>
                  <a:lnTo>
                    <a:pt x="854" y="1113"/>
                  </a:lnTo>
                  <a:lnTo>
                    <a:pt x="849" y="1111"/>
                  </a:lnTo>
                  <a:lnTo>
                    <a:pt x="846" y="1111"/>
                  </a:lnTo>
                  <a:lnTo>
                    <a:pt x="842" y="1110"/>
                  </a:lnTo>
                  <a:lnTo>
                    <a:pt x="831" y="1105"/>
                  </a:lnTo>
                  <a:lnTo>
                    <a:pt x="826" y="1104"/>
                  </a:lnTo>
                  <a:lnTo>
                    <a:pt x="823" y="1105"/>
                  </a:lnTo>
                  <a:lnTo>
                    <a:pt x="820" y="1107"/>
                  </a:lnTo>
                  <a:lnTo>
                    <a:pt x="816" y="1108"/>
                  </a:lnTo>
                  <a:lnTo>
                    <a:pt x="812" y="1108"/>
                  </a:lnTo>
                  <a:lnTo>
                    <a:pt x="806" y="1108"/>
                  </a:lnTo>
                  <a:lnTo>
                    <a:pt x="800" y="1107"/>
                  </a:lnTo>
                  <a:lnTo>
                    <a:pt x="795" y="1107"/>
                  </a:lnTo>
                  <a:lnTo>
                    <a:pt x="790" y="1104"/>
                  </a:lnTo>
                  <a:lnTo>
                    <a:pt x="786" y="1102"/>
                  </a:lnTo>
                  <a:lnTo>
                    <a:pt x="786" y="1100"/>
                  </a:lnTo>
                  <a:lnTo>
                    <a:pt x="786" y="1096"/>
                  </a:lnTo>
                  <a:lnTo>
                    <a:pt x="793" y="1092"/>
                  </a:lnTo>
                  <a:lnTo>
                    <a:pt x="801" y="1087"/>
                  </a:lnTo>
                  <a:lnTo>
                    <a:pt x="804" y="1084"/>
                  </a:lnTo>
                  <a:lnTo>
                    <a:pt x="804" y="1079"/>
                  </a:lnTo>
                  <a:lnTo>
                    <a:pt x="801" y="1076"/>
                  </a:lnTo>
                  <a:lnTo>
                    <a:pt x="799" y="1073"/>
                  </a:lnTo>
                  <a:lnTo>
                    <a:pt x="799" y="1067"/>
                  </a:lnTo>
                  <a:lnTo>
                    <a:pt x="800" y="1062"/>
                  </a:lnTo>
                  <a:lnTo>
                    <a:pt x="802" y="1056"/>
                  </a:lnTo>
                  <a:lnTo>
                    <a:pt x="806" y="1052"/>
                  </a:lnTo>
                  <a:lnTo>
                    <a:pt x="808" y="1048"/>
                  </a:lnTo>
                  <a:lnTo>
                    <a:pt x="809" y="1046"/>
                  </a:lnTo>
                  <a:lnTo>
                    <a:pt x="809" y="1044"/>
                  </a:lnTo>
                  <a:lnTo>
                    <a:pt x="808" y="1041"/>
                  </a:lnTo>
                  <a:lnTo>
                    <a:pt x="806" y="1039"/>
                  </a:lnTo>
                  <a:lnTo>
                    <a:pt x="800" y="1037"/>
                  </a:lnTo>
                  <a:lnTo>
                    <a:pt x="796" y="1035"/>
                  </a:lnTo>
                  <a:lnTo>
                    <a:pt x="790" y="1032"/>
                  </a:lnTo>
                  <a:lnTo>
                    <a:pt x="786" y="1031"/>
                  </a:lnTo>
                  <a:lnTo>
                    <a:pt x="783" y="1029"/>
                  </a:lnTo>
                  <a:lnTo>
                    <a:pt x="779" y="1024"/>
                  </a:lnTo>
                  <a:lnTo>
                    <a:pt x="777" y="1022"/>
                  </a:lnTo>
                  <a:lnTo>
                    <a:pt x="775" y="1017"/>
                  </a:lnTo>
                  <a:lnTo>
                    <a:pt x="775" y="1014"/>
                  </a:lnTo>
                  <a:lnTo>
                    <a:pt x="775" y="1011"/>
                  </a:lnTo>
                  <a:lnTo>
                    <a:pt x="775" y="1009"/>
                  </a:lnTo>
                  <a:lnTo>
                    <a:pt x="772" y="1007"/>
                  </a:lnTo>
                  <a:lnTo>
                    <a:pt x="770" y="1005"/>
                  </a:lnTo>
                  <a:lnTo>
                    <a:pt x="767" y="1004"/>
                  </a:lnTo>
                  <a:lnTo>
                    <a:pt x="759" y="998"/>
                  </a:lnTo>
                  <a:lnTo>
                    <a:pt x="753" y="995"/>
                  </a:lnTo>
                  <a:lnTo>
                    <a:pt x="750" y="991"/>
                  </a:lnTo>
                  <a:lnTo>
                    <a:pt x="748" y="987"/>
                  </a:lnTo>
                  <a:lnTo>
                    <a:pt x="748" y="981"/>
                  </a:lnTo>
                  <a:lnTo>
                    <a:pt x="750" y="974"/>
                  </a:lnTo>
                  <a:lnTo>
                    <a:pt x="751" y="968"/>
                  </a:lnTo>
                  <a:lnTo>
                    <a:pt x="751" y="963"/>
                  </a:lnTo>
                  <a:lnTo>
                    <a:pt x="748" y="957"/>
                  </a:lnTo>
                  <a:lnTo>
                    <a:pt x="750" y="953"/>
                  </a:lnTo>
                  <a:lnTo>
                    <a:pt x="750" y="951"/>
                  </a:lnTo>
                  <a:lnTo>
                    <a:pt x="750" y="949"/>
                  </a:lnTo>
                  <a:lnTo>
                    <a:pt x="750" y="940"/>
                  </a:lnTo>
                  <a:lnTo>
                    <a:pt x="750" y="925"/>
                  </a:lnTo>
                  <a:lnTo>
                    <a:pt x="752" y="924"/>
                  </a:lnTo>
                  <a:lnTo>
                    <a:pt x="754" y="923"/>
                  </a:lnTo>
                  <a:lnTo>
                    <a:pt x="755" y="923"/>
                  </a:lnTo>
                  <a:lnTo>
                    <a:pt x="761" y="923"/>
                  </a:lnTo>
                  <a:lnTo>
                    <a:pt x="767" y="923"/>
                  </a:lnTo>
                  <a:lnTo>
                    <a:pt x="774" y="921"/>
                  </a:lnTo>
                  <a:lnTo>
                    <a:pt x="778" y="919"/>
                  </a:lnTo>
                  <a:lnTo>
                    <a:pt x="782" y="918"/>
                  </a:lnTo>
                  <a:lnTo>
                    <a:pt x="786" y="916"/>
                  </a:lnTo>
                  <a:lnTo>
                    <a:pt x="791" y="915"/>
                  </a:lnTo>
                  <a:lnTo>
                    <a:pt x="794" y="912"/>
                  </a:lnTo>
                  <a:lnTo>
                    <a:pt x="798" y="910"/>
                  </a:lnTo>
                  <a:lnTo>
                    <a:pt x="799" y="907"/>
                  </a:lnTo>
                  <a:lnTo>
                    <a:pt x="799" y="902"/>
                  </a:lnTo>
                  <a:lnTo>
                    <a:pt x="799" y="896"/>
                  </a:lnTo>
                  <a:lnTo>
                    <a:pt x="796" y="891"/>
                  </a:lnTo>
                  <a:lnTo>
                    <a:pt x="795" y="885"/>
                  </a:lnTo>
                  <a:lnTo>
                    <a:pt x="792" y="871"/>
                  </a:lnTo>
                  <a:lnTo>
                    <a:pt x="791" y="867"/>
                  </a:lnTo>
                  <a:lnTo>
                    <a:pt x="790" y="862"/>
                  </a:lnTo>
                  <a:lnTo>
                    <a:pt x="791" y="859"/>
                  </a:lnTo>
                  <a:lnTo>
                    <a:pt x="792" y="856"/>
                  </a:lnTo>
                  <a:lnTo>
                    <a:pt x="795" y="851"/>
                  </a:lnTo>
                  <a:lnTo>
                    <a:pt x="796" y="846"/>
                  </a:lnTo>
                  <a:lnTo>
                    <a:pt x="798" y="836"/>
                  </a:lnTo>
                  <a:lnTo>
                    <a:pt x="798" y="829"/>
                  </a:lnTo>
                  <a:lnTo>
                    <a:pt x="798" y="823"/>
                  </a:lnTo>
                  <a:lnTo>
                    <a:pt x="795" y="819"/>
                  </a:lnTo>
                  <a:lnTo>
                    <a:pt x="792" y="814"/>
                  </a:lnTo>
                  <a:lnTo>
                    <a:pt x="787" y="809"/>
                  </a:lnTo>
                  <a:lnTo>
                    <a:pt x="784" y="806"/>
                  </a:lnTo>
                  <a:lnTo>
                    <a:pt x="778" y="804"/>
                  </a:lnTo>
                  <a:lnTo>
                    <a:pt x="774" y="804"/>
                  </a:lnTo>
                  <a:lnTo>
                    <a:pt x="768" y="801"/>
                  </a:lnTo>
                  <a:lnTo>
                    <a:pt x="762" y="800"/>
                  </a:lnTo>
                  <a:lnTo>
                    <a:pt x="758" y="800"/>
                  </a:lnTo>
                  <a:lnTo>
                    <a:pt x="752" y="799"/>
                  </a:lnTo>
                  <a:lnTo>
                    <a:pt x="745" y="799"/>
                  </a:lnTo>
                  <a:lnTo>
                    <a:pt x="738" y="798"/>
                  </a:lnTo>
                  <a:lnTo>
                    <a:pt x="732" y="797"/>
                  </a:lnTo>
                  <a:lnTo>
                    <a:pt x="728" y="795"/>
                  </a:lnTo>
                  <a:lnTo>
                    <a:pt x="722" y="793"/>
                  </a:lnTo>
                  <a:lnTo>
                    <a:pt x="718" y="791"/>
                  </a:lnTo>
                  <a:lnTo>
                    <a:pt x="712" y="790"/>
                  </a:lnTo>
                  <a:lnTo>
                    <a:pt x="707" y="788"/>
                  </a:lnTo>
                  <a:lnTo>
                    <a:pt x="702" y="785"/>
                  </a:lnTo>
                  <a:lnTo>
                    <a:pt x="696" y="782"/>
                  </a:lnTo>
                  <a:lnTo>
                    <a:pt x="691" y="780"/>
                  </a:lnTo>
                  <a:lnTo>
                    <a:pt x="686" y="777"/>
                  </a:lnTo>
                  <a:lnTo>
                    <a:pt x="678" y="776"/>
                  </a:lnTo>
                  <a:lnTo>
                    <a:pt x="673" y="774"/>
                  </a:lnTo>
                  <a:lnTo>
                    <a:pt x="665" y="769"/>
                  </a:lnTo>
                  <a:lnTo>
                    <a:pt x="659" y="767"/>
                  </a:lnTo>
                  <a:lnTo>
                    <a:pt x="652" y="765"/>
                  </a:lnTo>
                  <a:lnTo>
                    <a:pt x="647" y="764"/>
                  </a:lnTo>
                  <a:lnTo>
                    <a:pt x="639" y="759"/>
                  </a:lnTo>
                  <a:lnTo>
                    <a:pt x="633" y="755"/>
                  </a:lnTo>
                  <a:lnTo>
                    <a:pt x="630" y="751"/>
                  </a:lnTo>
                  <a:lnTo>
                    <a:pt x="627" y="749"/>
                  </a:lnTo>
                  <a:lnTo>
                    <a:pt x="625" y="747"/>
                  </a:lnTo>
                  <a:lnTo>
                    <a:pt x="624" y="742"/>
                  </a:lnTo>
                  <a:lnTo>
                    <a:pt x="623" y="737"/>
                  </a:lnTo>
                  <a:lnTo>
                    <a:pt x="622" y="733"/>
                  </a:lnTo>
                  <a:lnTo>
                    <a:pt x="618" y="727"/>
                  </a:lnTo>
                  <a:lnTo>
                    <a:pt x="615" y="721"/>
                  </a:lnTo>
                  <a:lnTo>
                    <a:pt x="610" y="717"/>
                  </a:lnTo>
                  <a:lnTo>
                    <a:pt x="607" y="712"/>
                  </a:lnTo>
                  <a:lnTo>
                    <a:pt x="606" y="709"/>
                  </a:lnTo>
                  <a:lnTo>
                    <a:pt x="606" y="705"/>
                  </a:lnTo>
                  <a:lnTo>
                    <a:pt x="607" y="700"/>
                  </a:lnTo>
                  <a:lnTo>
                    <a:pt x="608" y="697"/>
                  </a:lnTo>
                  <a:lnTo>
                    <a:pt x="609" y="695"/>
                  </a:lnTo>
                  <a:lnTo>
                    <a:pt x="611" y="692"/>
                  </a:lnTo>
                  <a:lnTo>
                    <a:pt x="612" y="691"/>
                  </a:lnTo>
                  <a:lnTo>
                    <a:pt x="615" y="688"/>
                  </a:lnTo>
                  <a:lnTo>
                    <a:pt x="617" y="684"/>
                  </a:lnTo>
                  <a:lnTo>
                    <a:pt x="620" y="680"/>
                  </a:lnTo>
                  <a:lnTo>
                    <a:pt x="623" y="676"/>
                  </a:lnTo>
                  <a:lnTo>
                    <a:pt x="624" y="671"/>
                  </a:lnTo>
                  <a:lnTo>
                    <a:pt x="626" y="668"/>
                  </a:lnTo>
                  <a:lnTo>
                    <a:pt x="626" y="665"/>
                  </a:lnTo>
                  <a:lnTo>
                    <a:pt x="628" y="662"/>
                  </a:lnTo>
                  <a:lnTo>
                    <a:pt x="630" y="661"/>
                  </a:lnTo>
                  <a:lnTo>
                    <a:pt x="633" y="660"/>
                  </a:lnTo>
                  <a:lnTo>
                    <a:pt x="635" y="659"/>
                  </a:lnTo>
                  <a:lnTo>
                    <a:pt x="639" y="656"/>
                  </a:lnTo>
                  <a:lnTo>
                    <a:pt x="639" y="654"/>
                  </a:lnTo>
                  <a:lnTo>
                    <a:pt x="639" y="652"/>
                  </a:lnTo>
                  <a:lnTo>
                    <a:pt x="636" y="649"/>
                  </a:lnTo>
                  <a:lnTo>
                    <a:pt x="636" y="647"/>
                  </a:lnTo>
                  <a:lnTo>
                    <a:pt x="632" y="643"/>
                  </a:lnTo>
                  <a:lnTo>
                    <a:pt x="631" y="639"/>
                  </a:lnTo>
                  <a:lnTo>
                    <a:pt x="631" y="637"/>
                  </a:lnTo>
                  <a:lnTo>
                    <a:pt x="632" y="635"/>
                  </a:lnTo>
                  <a:lnTo>
                    <a:pt x="634" y="632"/>
                  </a:lnTo>
                  <a:lnTo>
                    <a:pt x="636" y="631"/>
                  </a:lnTo>
                  <a:lnTo>
                    <a:pt x="641" y="629"/>
                  </a:lnTo>
                  <a:lnTo>
                    <a:pt x="646" y="627"/>
                  </a:lnTo>
                  <a:lnTo>
                    <a:pt x="648" y="627"/>
                  </a:lnTo>
                  <a:lnTo>
                    <a:pt x="651" y="629"/>
                  </a:lnTo>
                  <a:lnTo>
                    <a:pt x="654" y="630"/>
                  </a:lnTo>
                  <a:lnTo>
                    <a:pt x="655" y="632"/>
                  </a:lnTo>
                  <a:lnTo>
                    <a:pt x="657" y="636"/>
                  </a:lnTo>
                  <a:lnTo>
                    <a:pt x="657" y="640"/>
                  </a:lnTo>
                  <a:lnTo>
                    <a:pt x="657" y="645"/>
                  </a:lnTo>
                  <a:lnTo>
                    <a:pt x="658" y="649"/>
                  </a:lnTo>
                  <a:lnTo>
                    <a:pt x="660" y="651"/>
                  </a:lnTo>
                  <a:lnTo>
                    <a:pt x="663" y="651"/>
                  </a:lnTo>
                  <a:lnTo>
                    <a:pt x="665" y="649"/>
                  </a:lnTo>
                  <a:lnTo>
                    <a:pt x="667" y="648"/>
                  </a:lnTo>
                  <a:lnTo>
                    <a:pt x="670" y="647"/>
                  </a:lnTo>
                  <a:lnTo>
                    <a:pt x="671" y="647"/>
                  </a:lnTo>
                  <a:lnTo>
                    <a:pt x="674" y="647"/>
                  </a:lnTo>
                  <a:lnTo>
                    <a:pt x="678" y="648"/>
                  </a:lnTo>
                  <a:lnTo>
                    <a:pt x="681" y="649"/>
                  </a:lnTo>
                  <a:lnTo>
                    <a:pt x="683" y="648"/>
                  </a:lnTo>
                  <a:lnTo>
                    <a:pt x="684" y="647"/>
                  </a:lnTo>
                  <a:lnTo>
                    <a:pt x="686" y="646"/>
                  </a:lnTo>
                  <a:lnTo>
                    <a:pt x="684" y="644"/>
                  </a:lnTo>
                  <a:lnTo>
                    <a:pt x="683" y="641"/>
                  </a:lnTo>
                  <a:lnTo>
                    <a:pt x="682" y="638"/>
                  </a:lnTo>
                  <a:lnTo>
                    <a:pt x="683" y="636"/>
                  </a:lnTo>
                  <a:lnTo>
                    <a:pt x="686" y="633"/>
                  </a:lnTo>
                  <a:lnTo>
                    <a:pt x="689" y="633"/>
                  </a:lnTo>
                  <a:lnTo>
                    <a:pt x="691" y="633"/>
                  </a:lnTo>
                  <a:lnTo>
                    <a:pt x="695" y="632"/>
                  </a:lnTo>
                  <a:lnTo>
                    <a:pt x="699" y="629"/>
                  </a:lnTo>
                  <a:lnTo>
                    <a:pt x="704" y="623"/>
                  </a:lnTo>
                  <a:lnTo>
                    <a:pt x="707" y="613"/>
                  </a:lnTo>
                  <a:lnTo>
                    <a:pt x="713" y="596"/>
                  </a:lnTo>
                  <a:lnTo>
                    <a:pt x="715" y="590"/>
                  </a:lnTo>
                  <a:lnTo>
                    <a:pt x="715" y="584"/>
                  </a:lnTo>
                  <a:lnTo>
                    <a:pt x="716" y="581"/>
                  </a:lnTo>
                  <a:lnTo>
                    <a:pt x="718" y="579"/>
                  </a:lnTo>
                  <a:lnTo>
                    <a:pt x="716" y="575"/>
                  </a:lnTo>
                  <a:lnTo>
                    <a:pt x="714" y="567"/>
                  </a:lnTo>
                  <a:lnTo>
                    <a:pt x="715" y="563"/>
                  </a:lnTo>
                  <a:lnTo>
                    <a:pt x="716" y="563"/>
                  </a:lnTo>
                  <a:lnTo>
                    <a:pt x="720" y="561"/>
                  </a:lnTo>
                  <a:lnTo>
                    <a:pt x="722" y="563"/>
                  </a:lnTo>
                  <a:lnTo>
                    <a:pt x="728" y="564"/>
                  </a:lnTo>
                  <a:lnTo>
                    <a:pt x="732" y="565"/>
                  </a:lnTo>
                  <a:lnTo>
                    <a:pt x="738" y="567"/>
                  </a:lnTo>
                  <a:lnTo>
                    <a:pt x="745" y="568"/>
                  </a:lnTo>
                  <a:lnTo>
                    <a:pt x="752" y="568"/>
                  </a:lnTo>
                  <a:lnTo>
                    <a:pt x="762" y="568"/>
                  </a:lnTo>
                  <a:lnTo>
                    <a:pt x="774" y="567"/>
                  </a:lnTo>
                  <a:lnTo>
                    <a:pt x="782" y="566"/>
                  </a:lnTo>
                  <a:lnTo>
                    <a:pt x="790" y="566"/>
                  </a:lnTo>
                  <a:lnTo>
                    <a:pt x="793" y="566"/>
                  </a:lnTo>
                  <a:lnTo>
                    <a:pt x="795" y="567"/>
                  </a:lnTo>
                  <a:lnTo>
                    <a:pt x="801" y="571"/>
                  </a:lnTo>
                  <a:lnTo>
                    <a:pt x="806" y="573"/>
                  </a:lnTo>
                  <a:lnTo>
                    <a:pt x="808" y="573"/>
                  </a:lnTo>
                  <a:lnTo>
                    <a:pt x="810" y="573"/>
                  </a:lnTo>
                  <a:lnTo>
                    <a:pt x="816" y="571"/>
                  </a:lnTo>
                  <a:lnTo>
                    <a:pt x="820" y="567"/>
                  </a:lnTo>
                  <a:lnTo>
                    <a:pt x="825" y="565"/>
                  </a:lnTo>
                  <a:lnTo>
                    <a:pt x="828" y="565"/>
                  </a:lnTo>
                  <a:lnTo>
                    <a:pt x="832" y="565"/>
                  </a:lnTo>
                  <a:lnTo>
                    <a:pt x="838" y="566"/>
                  </a:lnTo>
                  <a:lnTo>
                    <a:pt x="842" y="568"/>
                  </a:lnTo>
                  <a:lnTo>
                    <a:pt x="846" y="569"/>
                  </a:lnTo>
                  <a:lnTo>
                    <a:pt x="850" y="569"/>
                  </a:lnTo>
                  <a:lnTo>
                    <a:pt x="851" y="568"/>
                  </a:lnTo>
                  <a:lnTo>
                    <a:pt x="855" y="566"/>
                  </a:lnTo>
                  <a:lnTo>
                    <a:pt x="855" y="560"/>
                  </a:lnTo>
                  <a:lnTo>
                    <a:pt x="856" y="558"/>
                  </a:lnTo>
                  <a:lnTo>
                    <a:pt x="858" y="557"/>
                  </a:lnTo>
                  <a:lnTo>
                    <a:pt x="859" y="553"/>
                  </a:lnTo>
                  <a:lnTo>
                    <a:pt x="859" y="549"/>
                  </a:lnTo>
                  <a:lnTo>
                    <a:pt x="858" y="545"/>
                  </a:lnTo>
                  <a:lnTo>
                    <a:pt x="858" y="541"/>
                  </a:lnTo>
                  <a:lnTo>
                    <a:pt x="860" y="540"/>
                  </a:lnTo>
                  <a:lnTo>
                    <a:pt x="864" y="540"/>
                  </a:lnTo>
                  <a:lnTo>
                    <a:pt x="868" y="540"/>
                  </a:lnTo>
                  <a:lnTo>
                    <a:pt x="872" y="539"/>
                  </a:lnTo>
                  <a:lnTo>
                    <a:pt x="874" y="535"/>
                  </a:lnTo>
                  <a:lnTo>
                    <a:pt x="875" y="532"/>
                  </a:lnTo>
                  <a:lnTo>
                    <a:pt x="874" y="529"/>
                  </a:lnTo>
                  <a:lnTo>
                    <a:pt x="871" y="529"/>
                  </a:lnTo>
                  <a:lnTo>
                    <a:pt x="867" y="528"/>
                  </a:lnTo>
                  <a:lnTo>
                    <a:pt x="862" y="528"/>
                  </a:lnTo>
                  <a:lnTo>
                    <a:pt x="857" y="526"/>
                  </a:lnTo>
                  <a:lnTo>
                    <a:pt x="852" y="524"/>
                  </a:lnTo>
                  <a:lnTo>
                    <a:pt x="847" y="521"/>
                  </a:lnTo>
                  <a:lnTo>
                    <a:pt x="835" y="520"/>
                  </a:lnTo>
                  <a:lnTo>
                    <a:pt x="830" y="518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47" name="JH"/>
            <p:cNvSpPr>
              <a:spLocks/>
            </p:cNvSpPr>
            <p:nvPr/>
          </p:nvSpPr>
          <p:spPr bwMode="auto">
            <a:xfrm>
              <a:off x="7008523" y="3179120"/>
              <a:ext cx="503896" cy="364230"/>
            </a:xfrm>
            <a:custGeom>
              <a:avLst/>
              <a:gdLst>
                <a:gd name="T0" fmla="*/ 6 w 1256"/>
                <a:gd name="T1" fmla="*/ 312 h 939"/>
                <a:gd name="T2" fmla="*/ 106 w 1256"/>
                <a:gd name="T3" fmla="*/ 461 h 939"/>
                <a:gd name="T4" fmla="*/ 192 w 1256"/>
                <a:gd name="T5" fmla="*/ 557 h 939"/>
                <a:gd name="T6" fmla="*/ 281 w 1256"/>
                <a:gd name="T7" fmla="*/ 654 h 939"/>
                <a:gd name="T8" fmla="*/ 180 w 1256"/>
                <a:gd name="T9" fmla="*/ 769 h 939"/>
                <a:gd name="T10" fmla="*/ 342 w 1256"/>
                <a:gd name="T11" fmla="*/ 798 h 939"/>
                <a:gd name="T12" fmla="*/ 434 w 1256"/>
                <a:gd name="T13" fmla="*/ 793 h 939"/>
                <a:gd name="T14" fmla="*/ 479 w 1256"/>
                <a:gd name="T15" fmla="*/ 818 h 939"/>
                <a:gd name="T16" fmla="*/ 478 w 1256"/>
                <a:gd name="T17" fmla="*/ 890 h 939"/>
                <a:gd name="T18" fmla="*/ 600 w 1256"/>
                <a:gd name="T19" fmla="*/ 884 h 939"/>
                <a:gd name="T20" fmla="*/ 672 w 1256"/>
                <a:gd name="T21" fmla="*/ 912 h 939"/>
                <a:gd name="T22" fmla="*/ 737 w 1256"/>
                <a:gd name="T23" fmla="*/ 844 h 939"/>
                <a:gd name="T24" fmla="*/ 735 w 1256"/>
                <a:gd name="T25" fmla="*/ 773 h 939"/>
                <a:gd name="T26" fmla="*/ 809 w 1256"/>
                <a:gd name="T27" fmla="*/ 798 h 939"/>
                <a:gd name="T28" fmla="*/ 896 w 1256"/>
                <a:gd name="T29" fmla="*/ 841 h 939"/>
                <a:gd name="T30" fmla="*/ 974 w 1256"/>
                <a:gd name="T31" fmla="*/ 858 h 939"/>
                <a:gd name="T32" fmla="*/ 931 w 1256"/>
                <a:gd name="T33" fmla="*/ 779 h 939"/>
                <a:gd name="T34" fmla="*/ 897 w 1256"/>
                <a:gd name="T35" fmla="*/ 730 h 939"/>
                <a:gd name="T36" fmla="*/ 857 w 1256"/>
                <a:gd name="T37" fmla="*/ 659 h 939"/>
                <a:gd name="T38" fmla="*/ 770 w 1256"/>
                <a:gd name="T39" fmla="*/ 628 h 939"/>
                <a:gd name="T40" fmla="*/ 695 w 1256"/>
                <a:gd name="T41" fmla="*/ 600 h 939"/>
                <a:gd name="T42" fmla="*/ 738 w 1256"/>
                <a:gd name="T43" fmla="*/ 510 h 939"/>
                <a:gd name="T44" fmla="*/ 785 w 1256"/>
                <a:gd name="T45" fmla="*/ 520 h 939"/>
                <a:gd name="T46" fmla="*/ 834 w 1256"/>
                <a:gd name="T47" fmla="*/ 489 h 939"/>
                <a:gd name="T48" fmla="*/ 961 w 1256"/>
                <a:gd name="T49" fmla="*/ 428 h 939"/>
                <a:gd name="T50" fmla="*/ 1050 w 1256"/>
                <a:gd name="T51" fmla="*/ 418 h 939"/>
                <a:gd name="T52" fmla="*/ 1080 w 1256"/>
                <a:gd name="T53" fmla="*/ 390 h 939"/>
                <a:gd name="T54" fmla="*/ 1083 w 1256"/>
                <a:gd name="T55" fmla="*/ 363 h 939"/>
                <a:gd name="T56" fmla="*/ 1150 w 1256"/>
                <a:gd name="T57" fmla="*/ 338 h 939"/>
                <a:gd name="T58" fmla="*/ 1194 w 1256"/>
                <a:gd name="T59" fmla="*/ 301 h 939"/>
                <a:gd name="T60" fmla="*/ 1235 w 1256"/>
                <a:gd name="T61" fmla="*/ 216 h 939"/>
                <a:gd name="T62" fmla="*/ 1241 w 1256"/>
                <a:gd name="T63" fmla="*/ 90 h 939"/>
                <a:gd name="T64" fmla="*/ 1163 w 1256"/>
                <a:gd name="T65" fmla="*/ 5 h 939"/>
                <a:gd name="T66" fmla="*/ 1132 w 1256"/>
                <a:gd name="T67" fmla="*/ 18 h 939"/>
                <a:gd name="T68" fmla="*/ 1097 w 1256"/>
                <a:gd name="T69" fmla="*/ 36 h 939"/>
                <a:gd name="T70" fmla="*/ 1063 w 1256"/>
                <a:gd name="T71" fmla="*/ 68 h 939"/>
                <a:gd name="T72" fmla="*/ 1027 w 1256"/>
                <a:gd name="T73" fmla="*/ 138 h 939"/>
                <a:gd name="T74" fmla="*/ 1020 w 1256"/>
                <a:gd name="T75" fmla="*/ 180 h 939"/>
                <a:gd name="T76" fmla="*/ 980 w 1256"/>
                <a:gd name="T77" fmla="*/ 204 h 939"/>
                <a:gd name="T78" fmla="*/ 930 w 1256"/>
                <a:gd name="T79" fmla="*/ 203 h 939"/>
                <a:gd name="T80" fmla="*/ 887 w 1256"/>
                <a:gd name="T81" fmla="*/ 209 h 939"/>
                <a:gd name="T82" fmla="*/ 856 w 1256"/>
                <a:gd name="T83" fmla="*/ 256 h 939"/>
                <a:gd name="T84" fmla="*/ 804 w 1256"/>
                <a:gd name="T85" fmla="*/ 245 h 939"/>
                <a:gd name="T86" fmla="*/ 804 w 1256"/>
                <a:gd name="T87" fmla="*/ 210 h 939"/>
                <a:gd name="T88" fmla="*/ 767 w 1256"/>
                <a:gd name="T89" fmla="*/ 201 h 939"/>
                <a:gd name="T90" fmla="*/ 735 w 1256"/>
                <a:gd name="T91" fmla="*/ 166 h 939"/>
                <a:gd name="T92" fmla="*/ 672 w 1256"/>
                <a:gd name="T93" fmla="*/ 149 h 939"/>
                <a:gd name="T94" fmla="*/ 640 w 1256"/>
                <a:gd name="T95" fmla="*/ 195 h 939"/>
                <a:gd name="T96" fmla="*/ 596 w 1256"/>
                <a:gd name="T97" fmla="*/ 226 h 939"/>
                <a:gd name="T98" fmla="*/ 548 w 1256"/>
                <a:gd name="T99" fmla="*/ 230 h 939"/>
                <a:gd name="T100" fmla="*/ 503 w 1256"/>
                <a:gd name="T101" fmla="*/ 252 h 939"/>
                <a:gd name="T102" fmla="*/ 474 w 1256"/>
                <a:gd name="T103" fmla="*/ 256 h 939"/>
                <a:gd name="T104" fmla="*/ 420 w 1256"/>
                <a:gd name="T105" fmla="*/ 246 h 939"/>
                <a:gd name="T106" fmla="*/ 395 w 1256"/>
                <a:gd name="T107" fmla="*/ 233 h 939"/>
                <a:gd name="T108" fmla="*/ 360 w 1256"/>
                <a:gd name="T109" fmla="*/ 259 h 939"/>
                <a:gd name="T110" fmla="*/ 323 w 1256"/>
                <a:gd name="T111" fmla="*/ 275 h 939"/>
                <a:gd name="T112" fmla="*/ 299 w 1256"/>
                <a:gd name="T113" fmla="*/ 269 h 939"/>
                <a:gd name="T114" fmla="*/ 272 w 1256"/>
                <a:gd name="T115" fmla="*/ 236 h 939"/>
                <a:gd name="T116" fmla="*/ 249 w 1256"/>
                <a:gd name="T117" fmla="*/ 219 h 939"/>
                <a:gd name="T118" fmla="*/ 226 w 1256"/>
                <a:gd name="T119" fmla="*/ 233 h 939"/>
                <a:gd name="T120" fmla="*/ 198 w 1256"/>
                <a:gd name="T121" fmla="*/ 202 h 939"/>
                <a:gd name="T122" fmla="*/ 155 w 1256"/>
                <a:gd name="T123" fmla="*/ 214 h 939"/>
                <a:gd name="T124" fmla="*/ 71 w 1256"/>
                <a:gd name="T125" fmla="*/ 224 h 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56" h="939">
                  <a:moveTo>
                    <a:pt x="35" y="224"/>
                  </a:moveTo>
                  <a:lnTo>
                    <a:pt x="33" y="226"/>
                  </a:lnTo>
                  <a:lnTo>
                    <a:pt x="28" y="226"/>
                  </a:lnTo>
                  <a:lnTo>
                    <a:pt x="24" y="226"/>
                  </a:lnTo>
                  <a:lnTo>
                    <a:pt x="19" y="227"/>
                  </a:lnTo>
                  <a:lnTo>
                    <a:pt x="18" y="227"/>
                  </a:lnTo>
                  <a:lnTo>
                    <a:pt x="16" y="229"/>
                  </a:lnTo>
                  <a:lnTo>
                    <a:pt x="15" y="232"/>
                  </a:lnTo>
                  <a:lnTo>
                    <a:pt x="12" y="234"/>
                  </a:lnTo>
                  <a:lnTo>
                    <a:pt x="12" y="238"/>
                  </a:lnTo>
                  <a:lnTo>
                    <a:pt x="12" y="243"/>
                  </a:lnTo>
                  <a:lnTo>
                    <a:pt x="12" y="248"/>
                  </a:lnTo>
                  <a:lnTo>
                    <a:pt x="16" y="253"/>
                  </a:lnTo>
                  <a:lnTo>
                    <a:pt x="19" y="259"/>
                  </a:lnTo>
                  <a:lnTo>
                    <a:pt x="22" y="264"/>
                  </a:lnTo>
                  <a:lnTo>
                    <a:pt x="22" y="268"/>
                  </a:lnTo>
                  <a:lnTo>
                    <a:pt x="22" y="272"/>
                  </a:lnTo>
                  <a:lnTo>
                    <a:pt x="19" y="275"/>
                  </a:lnTo>
                  <a:lnTo>
                    <a:pt x="15" y="278"/>
                  </a:lnTo>
                  <a:lnTo>
                    <a:pt x="12" y="283"/>
                  </a:lnTo>
                  <a:lnTo>
                    <a:pt x="11" y="286"/>
                  </a:lnTo>
                  <a:lnTo>
                    <a:pt x="11" y="292"/>
                  </a:lnTo>
                  <a:lnTo>
                    <a:pt x="10" y="297"/>
                  </a:lnTo>
                  <a:lnTo>
                    <a:pt x="9" y="304"/>
                  </a:lnTo>
                  <a:lnTo>
                    <a:pt x="8" y="307"/>
                  </a:lnTo>
                  <a:lnTo>
                    <a:pt x="6" y="312"/>
                  </a:lnTo>
                  <a:lnTo>
                    <a:pt x="4" y="315"/>
                  </a:lnTo>
                  <a:lnTo>
                    <a:pt x="2" y="325"/>
                  </a:lnTo>
                  <a:lnTo>
                    <a:pt x="0" y="333"/>
                  </a:lnTo>
                  <a:lnTo>
                    <a:pt x="11" y="340"/>
                  </a:lnTo>
                  <a:lnTo>
                    <a:pt x="17" y="355"/>
                  </a:lnTo>
                  <a:lnTo>
                    <a:pt x="22" y="362"/>
                  </a:lnTo>
                  <a:lnTo>
                    <a:pt x="30" y="369"/>
                  </a:lnTo>
                  <a:lnTo>
                    <a:pt x="42" y="371"/>
                  </a:lnTo>
                  <a:lnTo>
                    <a:pt x="46" y="372"/>
                  </a:lnTo>
                  <a:lnTo>
                    <a:pt x="49" y="376"/>
                  </a:lnTo>
                  <a:lnTo>
                    <a:pt x="51" y="380"/>
                  </a:lnTo>
                  <a:lnTo>
                    <a:pt x="55" y="389"/>
                  </a:lnTo>
                  <a:lnTo>
                    <a:pt x="57" y="394"/>
                  </a:lnTo>
                  <a:lnTo>
                    <a:pt x="60" y="398"/>
                  </a:lnTo>
                  <a:lnTo>
                    <a:pt x="65" y="402"/>
                  </a:lnTo>
                  <a:lnTo>
                    <a:pt x="70" y="404"/>
                  </a:lnTo>
                  <a:lnTo>
                    <a:pt x="75" y="405"/>
                  </a:lnTo>
                  <a:lnTo>
                    <a:pt x="81" y="409"/>
                  </a:lnTo>
                  <a:lnTo>
                    <a:pt x="84" y="412"/>
                  </a:lnTo>
                  <a:lnTo>
                    <a:pt x="88" y="421"/>
                  </a:lnTo>
                  <a:lnTo>
                    <a:pt x="88" y="426"/>
                  </a:lnTo>
                  <a:lnTo>
                    <a:pt x="90" y="432"/>
                  </a:lnTo>
                  <a:lnTo>
                    <a:pt x="95" y="442"/>
                  </a:lnTo>
                  <a:lnTo>
                    <a:pt x="98" y="448"/>
                  </a:lnTo>
                  <a:lnTo>
                    <a:pt x="104" y="454"/>
                  </a:lnTo>
                  <a:lnTo>
                    <a:pt x="106" y="461"/>
                  </a:lnTo>
                  <a:lnTo>
                    <a:pt x="108" y="469"/>
                  </a:lnTo>
                  <a:lnTo>
                    <a:pt x="116" y="484"/>
                  </a:lnTo>
                  <a:lnTo>
                    <a:pt x="121" y="486"/>
                  </a:lnTo>
                  <a:lnTo>
                    <a:pt x="127" y="488"/>
                  </a:lnTo>
                  <a:lnTo>
                    <a:pt x="132" y="490"/>
                  </a:lnTo>
                  <a:lnTo>
                    <a:pt x="138" y="492"/>
                  </a:lnTo>
                  <a:lnTo>
                    <a:pt x="144" y="494"/>
                  </a:lnTo>
                  <a:lnTo>
                    <a:pt x="148" y="494"/>
                  </a:lnTo>
                  <a:lnTo>
                    <a:pt x="154" y="494"/>
                  </a:lnTo>
                  <a:lnTo>
                    <a:pt x="156" y="491"/>
                  </a:lnTo>
                  <a:lnTo>
                    <a:pt x="158" y="486"/>
                  </a:lnTo>
                  <a:lnTo>
                    <a:pt x="160" y="481"/>
                  </a:lnTo>
                  <a:lnTo>
                    <a:pt x="164" y="475"/>
                  </a:lnTo>
                  <a:lnTo>
                    <a:pt x="170" y="474"/>
                  </a:lnTo>
                  <a:lnTo>
                    <a:pt x="176" y="476"/>
                  </a:lnTo>
                  <a:lnTo>
                    <a:pt x="180" y="480"/>
                  </a:lnTo>
                  <a:lnTo>
                    <a:pt x="183" y="486"/>
                  </a:lnTo>
                  <a:lnTo>
                    <a:pt x="182" y="493"/>
                  </a:lnTo>
                  <a:lnTo>
                    <a:pt x="179" y="501"/>
                  </a:lnTo>
                  <a:lnTo>
                    <a:pt x="175" y="509"/>
                  </a:lnTo>
                  <a:lnTo>
                    <a:pt x="169" y="520"/>
                  </a:lnTo>
                  <a:lnTo>
                    <a:pt x="168" y="525"/>
                  </a:lnTo>
                  <a:lnTo>
                    <a:pt x="172" y="531"/>
                  </a:lnTo>
                  <a:lnTo>
                    <a:pt x="180" y="537"/>
                  </a:lnTo>
                  <a:lnTo>
                    <a:pt x="188" y="548"/>
                  </a:lnTo>
                  <a:lnTo>
                    <a:pt x="192" y="557"/>
                  </a:lnTo>
                  <a:lnTo>
                    <a:pt x="194" y="569"/>
                  </a:lnTo>
                  <a:lnTo>
                    <a:pt x="193" y="579"/>
                  </a:lnTo>
                  <a:lnTo>
                    <a:pt x="186" y="597"/>
                  </a:lnTo>
                  <a:lnTo>
                    <a:pt x="187" y="604"/>
                  </a:lnTo>
                  <a:lnTo>
                    <a:pt x="190" y="610"/>
                  </a:lnTo>
                  <a:lnTo>
                    <a:pt x="194" y="614"/>
                  </a:lnTo>
                  <a:lnTo>
                    <a:pt x="199" y="616"/>
                  </a:lnTo>
                  <a:lnTo>
                    <a:pt x="204" y="619"/>
                  </a:lnTo>
                  <a:lnTo>
                    <a:pt x="210" y="621"/>
                  </a:lnTo>
                  <a:lnTo>
                    <a:pt x="214" y="626"/>
                  </a:lnTo>
                  <a:lnTo>
                    <a:pt x="216" y="634"/>
                  </a:lnTo>
                  <a:lnTo>
                    <a:pt x="214" y="644"/>
                  </a:lnTo>
                  <a:lnTo>
                    <a:pt x="216" y="649"/>
                  </a:lnTo>
                  <a:lnTo>
                    <a:pt x="222" y="652"/>
                  </a:lnTo>
                  <a:lnTo>
                    <a:pt x="226" y="651"/>
                  </a:lnTo>
                  <a:lnTo>
                    <a:pt x="228" y="645"/>
                  </a:lnTo>
                  <a:lnTo>
                    <a:pt x="231" y="641"/>
                  </a:lnTo>
                  <a:lnTo>
                    <a:pt x="234" y="641"/>
                  </a:lnTo>
                  <a:lnTo>
                    <a:pt x="236" y="644"/>
                  </a:lnTo>
                  <a:lnTo>
                    <a:pt x="239" y="649"/>
                  </a:lnTo>
                  <a:lnTo>
                    <a:pt x="244" y="651"/>
                  </a:lnTo>
                  <a:lnTo>
                    <a:pt x="252" y="651"/>
                  </a:lnTo>
                  <a:lnTo>
                    <a:pt x="260" y="652"/>
                  </a:lnTo>
                  <a:lnTo>
                    <a:pt x="268" y="653"/>
                  </a:lnTo>
                  <a:lnTo>
                    <a:pt x="274" y="653"/>
                  </a:lnTo>
                  <a:lnTo>
                    <a:pt x="281" y="654"/>
                  </a:lnTo>
                  <a:lnTo>
                    <a:pt x="288" y="657"/>
                  </a:lnTo>
                  <a:lnTo>
                    <a:pt x="289" y="661"/>
                  </a:lnTo>
                  <a:lnTo>
                    <a:pt x="289" y="667"/>
                  </a:lnTo>
                  <a:lnTo>
                    <a:pt x="286" y="675"/>
                  </a:lnTo>
                  <a:lnTo>
                    <a:pt x="278" y="681"/>
                  </a:lnTo>
                  <a:lnTo>
                    <a:pt x="272" y="686"/>
                  </a:lnTo>
                  <a:lnTo>
                    <a:pt x="267" y="698"/>
                  </a:lnTo>
                  <a:lnTo>
                    <a:pt x="263" y="706"/>
                  </a:lnTo>
                  <a:lnTo>
                    <a:pt x="259" y="707"/>
                  </a:lnTo>
                  <a:lnTo>
                    <a:pt x="252" y="710"/>
                  </a:lnTo>
                  <a:lnTo>
                    <a:pt x="248" y="713"/>
                  </a:lnTo>
                  <a:lnTo>
                    <a:pt x="247" y="716"/>
                  </a:lnTo>
                  <a:lnTo>
                    <a:pt x="243" y="724"/>
                  </a:lnTo>
                  <a:lnTo>
                    <a:pt x="240" y="732"/>
                  </a:lnTo>
                  <a:lnTo>
                    <a:pt x="234" y="738"/>
                  </a:lnTo>
                  <a:lnTo>
                    <a:pt x="224" y="740"/>
                  </a:lnTo>
                  <a:lnTo>
                    <a:pt x="216" y="741"/>
                  </a:lnTo>
                  <a:lnTo>
                    <a:pt x="210" y="744"/>
                  </a:lnTo>
                  <a:lnTo>
                    <a:pt x="206" y="746"/>
                  </a:lnTo>
                  <a:lnTo>
                    <a:pt x="201" y="749"/>
                  </a:lnTo>
                  <a:lnTo>
                    <a:pt x="198" y="752"/>
                  </a:lnTo>
                  <a:lnTo>
                    <a:pt x="194" y="754"/>
                  </a:lnTo>
                  <a:lnTo>
                    <a:pt x="190" y="757"/>
                  </a:lnTo>
                  <a:lnTo>
                    <a:pt x="185" y="761"/>
                  </a:lnTo>
                  <a:lnTo>
                    <a:pt x="183" y="763"/>
                  </a:lnTo>
                  <a:lnTo>
                    <a:pt x="180" y="769"/>
                  </a:lnTo>
                  <a:lnTo>
                    <a:pt x="180" y="772"/>
                  </a:lnTo>
                  <a:lnTo>
                    <a:pt x="185" y="773"/>
                  </a:lnTo>
                  <a:lnTo>
                    <a:pt x="199" y="778"/>
                  </a:lnTo>
                  <a:lnTo>
                    <a:pt x="210" y="785"/>
                  </a:lnTo>
                  <a:lnTo>
                    <a:pt x="216" y="794"/>
                  </a:lnTo>
                  <a:lnTo>
                    <a:pt x="218" y="802"/>
                  </a:lnTo>
                  <a:lnTo>
                    <a:pt x="223" y="810"/>
                  </a:lnTo>
                  <a:lnTo>
                    <a:pt x="230" y="813"/>
                  </a:lnTo>
                  <a:lnTo>
                    <a:pt x="241" y="818"/>
                  </a:lnTo>
                  <a:lnTo>
                    <a:pt x="251" y="820"/>
                  </a:lnTo>
                  <a:lnTo>
                    <a:pt x="256" y="824"/>
                  </a:lnTo>
                  <a:lnTo>
                    <a:pt x="262" y="826"/>
                  </a:lnTo>
                  <a:lnTo>
                    <a:pt x="268" y="827"/>
                  </a:lnTo>
                  <a:lnTo>
                    <a:pt x="275" y="825"/>
                  </a:lnTo>
                  <a:lnTo>
                    <a:pt x="281" y="825"/>
                  </a:lnTo>
                  <a:lnTo>
                    <a:pt x="289" y="826"/>
                  </a:lnTo>
                  <a:lnTo>
                    <a:pt x="294" y="824"/>
                  </a:lnTo>
                  <a:lnTo>
                    <a:pt x="299" y="821"/>
                  </a:lnTo>
                  <a:lnTo>
                    <a:pt x="304" y="818"/>
                  </a:lnTo>
                  <a:lnTo>
                    <a:pt x="312" y="810"/>
                  </a:lnTo>
                  <a:lnTo>
                    <a:pt x="313" y="806"/>
                  </a:lnTo>
                  <a:lnTo>
                    <a:pt x="321" y="804"/>
                  </a:lnTo>
                  <a:lnTo>
                    <a:pt x="329" y="801"/>
                  </a:lnTo>
                  <a:lnTo>
                    <a:pt x="332" y="797"/>
                  </a:lnTo>
                  <a:lnTo>
                    <a:pt x="337" y="797"/>
                  </a:lnTo>
                  <a:lnTo>
                    <a:pt x="342" y="798"/>
                  </a:lnTo>
                  <a:lnTo>
                    <a:pt x="346" y="800"/>
                  </a:lnTo>
                  <a:lnTo>
                    <a:pt x="353" y="802"/>
                  </a:lnTo>
                  <a:lnTo>
                    <a:pt x="356" y="802"/>
                  </a:lnTo>
                  <a:lnTo>
                    <a:pt x="362" y="803"/>
                  </a:lnTo>
                  <a:lnTo>
                    <a:pt x="367" y="804"/>
                  </a:lnTo>
                  <a:lnTo>
                    <a:pt x="374" y="804"/>
                  </a:lnTo>
                  <a:lnTo>
                    <a:pt x="382" y="804"/>
                  </a:lnTo>
                  <a:lnTo>
                    <a:pt x="388" y="801"/>
                  </a:lnTo>
                  <a:lnTo>
                    <a:pt x="393" y="798"/>
                  </a:lnTo>
                  <a:lnTo>
                    <a:pt x="398" y="797"/>
                  </a:lnTo>
                  <a:lnTo>
                    <a:pt x="400" y="796"/>
                  </a:lnTo>
                  <a:lnTo>
                    <a:pt x="401" y="795"/>
                  </a:lnTo>
                  <a:lnTo>
                    <a:pt x="404" y="794"/>
                  </a:lnTo>
                  <a:lnTo>
                    <a:pt x="408" y="793"/>
                  </a:lnTo>
                  <a:lnTo>
                    <a:pt x="410" y="793"/>
                  </a:lnTo>
                  <a:lnTo>
                    <a:pt x="412" y="794"/>
                  </a:lnTo>
                  <a:lnTo>
                    <a:pt x="415" y="795"/>
                  </a:lnTo>
                  <a:lnTo>
                    <a:pt x="417" y="797"/>
                  </a:lnTo>
                  <a:lnTo>
                    <a:pt x="420" y="800"/>
                  </a:lnTo>
                  <a:lnTo>
                    <a:pt x="423" y="801"/>
                  </a:lnTo>
                  <a:lnTo>
                    <a:pt x="424" y="801"/>
                  </a:lnTo>
                  <a:lnTo>
                    <a:pt x="426" y="801"/>
                  </a:lnTo>
                  <a:lnTo>
                    <a:pt x="428" y="800"/>
                  </a:lnTo>
                  <a:lnTo>
                    <a:pt x="430" y="798"/>
                  </a:lnTo>
                  <a:lnTo>
                    <a:pt x="433" y="795"/>
                  </a:lnTo>
                  <a:lnTo>
                    <a:pt x="434" y="793"/>
                  </a:lnTo>
                  <a:lnTo>
                    <a:pt x="436" y="792"/>
                  </a:lnTo>
                  <a:lnTo>
                    <a:pt x="440" y="792"/>
                  </a:lnTo>
                  <a:lnTo>
                    <a:pt x="442" y="794"/>
                  </a:lnTo>
                  <a:lnTo>
                    <a:pt x="444" y="795"/>
                  </a:lnTo>
                  <a:lnTo>
                    <a:pt x="447" y="795"/>
                  </a:lnTo>
                  <a:lnTo>
                    <a:pt x="451" y="795"/>
                  </a:lnTo>
                  <a:lnTo>
                    <a:pt x="454" y="795"/>
                  </a:lnTo>
                  <a:lnTo>
                    <a:pt x="456" y="794"/>
                  </a:lnTo>
                  <a:lnTo>
                    <a:pt x="458" y="793"/>
                  </a:lnTo>
                  <a:lnTo>
                    <a:pt x="460" y="790"/>
                  </a:lnTo>
                  <a:lnTo>
                    <a:pt x="463" y="788"/>
                  </a:lnTo>
                  <a:lnTo>
                    <a:pt x="467" y="787"/>
                  </a:lnTo>
                  <a:lnTo>
                    <a:pt x="472" y="787"/>
                  </a:lnTo>
                  <a:lnTo>
                    <a:pt x="474" y="787"/>
                  </a:lnTo>
                  <a:lnTo>
                    <a:pt x="478" y="788"/>
                  </a:lnTo>
                  <a:lnTo>
                    <a:pt x="478" y="789"/>
                  </a:lnTo>
                  <a:lnTo>
                    <a:pt x="476" y="794"/>
                  </a:lnTo>
                  <a:lnTo>
                    <a:pt x="475" y="796"/>
                  </a:lnTo>
                  <a:lnTo>
                    <a:pt x="476" y="800"/>
                  </a:lnTo>
                  <a:lnTo>
                    <a:pt x="476" y="802"/>
                  </a:lnTo>
                  <a:lnTo>
                    <a:pt x="478" y="804"/>
                  </a:lnTo>
                  <a:lnTo>
                    <a:pt x="478" y="806"/>
                  </a:lnTo>
                  <a:lnTo>
                    <a:pt x="478" y="809"/>
                  </a:lnTo>
                  <a:lnTo>
                    <a:pt x="478" y="812"/>
                  </a:lnTo>
                  <a:lnTo>
                    <a:pt x="478" y="814"/>
                  </a:lnTo>
                  <a:lnTo>
                    <a:pt x="479" y="818"/>
                  </a:lnTo>
                  <a:lnTo>
                    <a:pt x="479" y="821"/>
                  </a:lnTo>
                  <a:lnTo>
                    <a:pt x="482" y="826"/>
                  </a:lnTo>
                  <a:lnTo>
                    <a:pt x="484" y="827"/>
                  </a:lnTo>
                  <a:lnTo>
                    <a:pt x="486" y="828"/>
                  </a:lnTo>
                  <a:lnTo>
                    <a:pt x="486" y="830"/>
                  </a:lnTo>
                  <a:lnTo>
                    <a:pt x="484" y="834"/>
                  </a:lnTo>
                  <a:lnTo>
                    <a:pt x="484" y="837"/>
                  </a:lnTo>
                  <a:lnTo>
                    <a:pt x="484" y="838"/>
                  </a:lnTo>
                  <a:lnTo>
                    <a:pt x="481" y="845"/>
                  </a:lnTo>
                  <a:lnTo>
                    <a:pt x="479" y="848"/>
                  </a:lnTo>
                  <a:lnTo>
                    <a:pt x="475" y="851"/>
                  </a:lnTo>
                  <a:lnTo>
                    <a:pt x="473" y="854"/>
                  </a:lnTo>
                  <a:lnTo>
                    <a:pt x="471" y="858"/>
                  </a:lnTo>
                  <a:lnTo>
                    <a:pt x="467" y="864"/>
                  </a:lnTo>
                  <a:lnTo>
                    <a:pt x="467" y="868"/>
                  </a:lnTo>
                  <a:lnTo>
                    <a:pt x="464" y="874"/>
                  </a:lnTo>
                  <a:lnTo>
                    <a:pt x="460" y="883"/>
                  </a:lnTo>
                  <a:lnTo>
                    <a:pt x="457" y="893"/>
                  </a:lnTo>
                  <a:lnTo>
                    <a:pt x="455" y="899"/>
                  </a:lnTo>
                  <a:lnTo>
                    <a:pt x="457" y="900"/>
                  </a:lnTo>
                  <a:lnTo>
                    <a:pt x="458" y="900"/>
                  </a:lnTo>
                  <a:lnTo>
                    <a:pt x="466" y="892"/>
                  </a:lnTo>
                  <a:lnTo>
                    <a:pt x="471" y="889"/>
                  </a:lnTo>
                  <a:lnTo>
                    <a:pt x="473" y="889"/>
                  </a:lnTo>
                  <a:lnTo>
                    <a:pt x="476" y="889"/>
                  </a:lnTo>
                  <a:lnTo>
                    <a:pt x="478" y="890"/>
                  </a:lnTo>
                  <a:lnTo>
                    <a:pt x="479" y="891"/>
                  </a:lnTo>
                  <a:lnTo>
                    <a:pt x="481" y="894"/>
                  </a:lnTo>
                  <a:lnTo>
                    <a:pt x="483" y="897"/>
                  </a:lnTo>
                  <a:lnTo>
                    <a:pt x="486" y="899"/>
                  </a:lnTo>
                  <a:lnTo>
                    <a:pt x="488" y="902"/>
                  </a:lnTo>
                  <a:lnTo>
                    <a:pt x="490" y="902"/>
                  </a:lnTo>
                  <a:lnTo>
                    <a:pt x="496" y="902"/>
                  </a:lnTo>
                  <a:lnTo>
                    <a:pt x="500" y="902"/>
                  </a:lnTo>
                  <a:lnTo>
                    <a:pt x="507" y="901"/>
                  </a:lnTo>
                  <a:lnTo>
                    <a:pt x="512" y="900"/>
                  </a:lnTo>
                  <a:lnTo>
                    <a:pt x="515" y="899"/>
                  </a:lnTo>
                  <a:lnTo>
                    <a:pt x="519" y="899"/>
                  </a:lnTo>
                  <a:lnTo>
                    <a:pt x="521" y="899"/>
                  </a:lnTo>
                  <a:lnTo>
                    <a:pt x="524" y="897"/>
                  </a:lnTo>
                  <a:lnTo>
                    <a:pt x="529" y="897"/>
                  </a:lnTo>
                  <a:lnTo>
                    <a:pt x="532" y="896"/>
                  </a:lnTo>
                  <a:lnTo>
                    <a:pt x="536" y="894"/>
                  </a:lnTo>
                  <a:lnTo>
                    <a:pt x="546" y="890"/>
                  </a:lnTo>
                  <a:lnTo>
                    <a:pt x="550" y="888"/>
                  </a:lnTo>
                  <a:lnTo>
                    <a:pt x="556" y="882"/>
                  </a:lnTo>
                  <a:lnTo>
                    <a:pt x="564" y="876"/>
                  </a:lnTo>
                  <a:lnTo>
                    <a:pt x="569" y="874"/>
                  </a:lnTo>
                  <a:lnTo>
                    <a:pt x="574" y="874"/>
                  </a:lnTo>
                  <a:lnTo>
                    <a:pt x="578" y="876"/>
                  </a:lnTo>
                  <a:lnTo>
                    <a:pt x="588" y="881"/>
                  </a:lnTo>
                  <a:lnTo>
                    <a:pt x="600" y="884"/>
                  </a:lnTo>
                  <a:lnTo>
                    <a:pt x="622" y="891"/>
                  </a:lnTo>
                  <a:lnTo>
                    <a:pt x="630" y="893"/>
                  </a:lnTo>
                  <a:lnTo>
                    <a:pt x="649" y="899"/>
                  </a:lnTo>
                  <a:lnTo>
                    <a:pt x="655" y="900"/>
                  </a:lnTo>
                  <a:lnTo>
                    <a:pt x="660" y="899"/>
                  </a:lnTo>
                  <a:lnTo>
                    <a:pt x="663" y="898"/>
                  </a:lnTo>
                  <a:lnTo>
                    <a:pt x="665" y="898"/>
                  </a:lnTo>
                  <a:lnTo>
                    <a:pt x="666" y="897"/>
                  </a:lnTo>
                  <a:lnTo>
                    <a:pt x="670" y="894"/>
                  </a:lnTo>
                  <a:lnTo>
                    <a:pt x="672" y="891"/>
                  </a:lnTo>
                  <a:lnTo>
                    <a:pt x="674" y="890"/>
                  </a:lnTo>
                  <a:lnTo>
                    <a:pt x="676" y="888"/>
                  </a:lnTo>
                  <a:lnTo>
                    <a:pt x="679" y="886"/>
                  </a:lnTo>
                  <a:lnTo>
                    <a:pt x="681" y="886"/>
                  </a:lnTo>
                  <a:lnTo>
                    <a:pt x="682" y="889"/>
                  </a:lnTo>
                  <a:lnTo>
                    <a:pt x="683" y="892"/>
                  </a:lnTo>
                  <a:lnTo>
                    <a:pt x="684" y="893"/>
                  </a:lnTo>
                  <a:lnTo>
                    <a:pt x="686" y="897"/>
                  </a:lnTo>
                  <a:lnTo>
                    <a:pt x="686" y="899"/>
                  </a:lnTo>
                  <a:lnTo>
                    <a:pt x="683" y="900"/>
                  </a:lnTo>
                  <a:lnTo>
                    <a:pt x="681" y="901"/>
                  </a:lnTo>
                  <a:lnTo>
                    <a:pt x="679" y="902"/>
                  </a:lnTo>
                  <a:lnTo>
                    <a:pt x="676" y="904"/>
                  </a:lnTo>
                  <a:lnTo>
                    <a:pt x="674" y="907"/>
                  </a:lnTo>
                  <a:lnTo>
                    <a:pt x="674" y="909"/>
                  </a:lnTo>
                  <a:lnTo>
                    <a:pt x="672" y="912"/>
                  </a:lnTo>
                  <a:lnTo>
                    <a:pt x="671" y="913"/>
                  </a:lnTo>
                  <a:lnTo>
                    <a:pt x="668" y="914"/>
                  </a:lnTo>
                  <a:lnTo>
                    <a:pt x="666" y="916"/>
                  </a:lnTo>
                  <a:lnTo>
                    <a:pt x="666" y="920"/>
                  </a:lnTo>
                  <a:lnTo>
                    <a:pt x="667" y="928"/>
                  </a:lnTo>
                  <a:lnTo>
                    <a:pt x="671" y="933"/>
                  </a:lnTo>
                  <a:lnTo>
                    <a:pt x="675" y="937"/>
                  </a:lnTo>
                  <a:lnTo>
                    <a:pt x="681" y="939"/>
                  </a:lnTo>
                  <a:lnTo>
                    <a:pt x="687" y="939"/>
                  </a:lnTo>
                  <a:lnTo>
                    <a:pt x="692" y="937"/>
                  </a:lnTo>
                  <a:lnTo>
                    <a:pt x="702" y="933"/>
                  </a:lnTo>
                  <a:lnTo>
                    <a:pt x="710" y="926"/>
                  </a:lnTo>
                  <a:lnTo>
                    <a:pt x="719" y="916"/>
                  </a:lnTo>
                  <a:lnTo>
                    <a:pt x="724" y="905"/>
                  </a:lnTo>
                  <a:lnTo>
                    <a:pt x="729" y="897"/>
                  </a:lnTo>
                  <a:lnTo>
                    <a:pt x="730" y="889"/>
                  </a:lnTo>
                  <a:lnTo>
                    <a:pt x="731" y="884"/>
                  </a:lnTo>
                  <a:lnTo>
                    <a:pt x="736" y="876"/>
                  </a:lnTo>
                  <a:lnTo>
                    <a:pt x="737" y="865"/>
                  </a:lnTo>
                  <a:lnTo>
                    <a:pt x="737" y="862"/>
                  </a:lnTo>
                  <a:lnTo>
                    <a:pt x="734" y="859"/>
                  </a:lnTo>
                  <a:lnTo>
                    <a:pt x="730" y="857"/>
                  </a:lnTo>
                  <a:lnTo>
                    <a:pt x="729" y="852"/>
                  </a:lnTo>
                  <a:lnTo>
                    <a:pt x="731" y="848"/>
                  </a:lnTo>
                  <a:lnTo>
                    <a:pt x="734" y="845"/>
                  </a:lnTo>
                  <a:lnTo>
                    <a:pt x="737" y="844"/>
                  </a:lnTo>
                  <a:lnTo>
                    <a:pt x="740" y="842"/>
                  </a:lnTo>
                  <a:lnTo>
                    <a:pt x="742" y="841"/>
                  </a:lnTo>
                  <a:lnTo>
                    <a:pt x="743" y="841"/>
                  </a:lnTo>
                  <a:lnTo>
                    <a:pt x="744" y="838"/>
                  </a:lnTo>
                  <a:lnTo>
                    <a:pt x="743" y="835"/>
                  </a:lnTo>
                  <a:lnTo>
                    <a:pt x="742" y="834"/>
                  </a:lnTo>
                  <a:lnTo>
                    <a:pt x="738" y="833"/>
                  </a:lnTo>
                  <a:lnTo>
                    <a:pt x="736" y="832"/>
                  </a:lnTo>
                  <a:lnTo>
                    <a:pt x="736" y="828"/>
                  </a:lnTo>
                  <a:lnTo>
                    <a:pt x="736" y="824"/>
                  </a:lnTo>
                  <a:lnTo>
                    <a:pt x="736" y="819"/>
                  </a:lnTo>
                  <a:lnTo>
                    <a:pt x="736" y="813"/>
                  </a:lnTo>
                  <a:lnTo>
                    <a:pt x="735" y="806"/>
                  </a:lnTo>
                  <a:lnTo>
                    <a:pt x="734" y="801"/>
                  </a:lnTo>
                  <a:lnTo>
                    <a:pt x="732" y="794"/>
                  </a:lnTo>
                  <a:lnTo>
                    <a:pt x="730" y="787"/>
                  </a:lnTo>
                  <a:lnTo>
                    <a:pt x="727" y="785"/>
                  </a:lnTo>
                  <a:lnTo>
                    <a:pt x="723" y="784"/>
                  </a:lnTo>
                  <a:lnTo>
                    <a:pt x="721" y="781"/>
                  </a:lnTo>
                  <a:lnTo>
                    <a:pt x="720" y="778"/>
                  </a:lnTo>
                  <a:lnTo>
                    <a:pt x="721" y="777"/>
                  </a:lnTo>
                  <a:lnTo>
                    <a:pt x="722" y="776"/>
                  </a:lnTo>
                  <a:lnTo>
                    <a:pt x="724" y="777"/>
                  </a:lnTo>
                  <a:lnTo>
                    <a:pt x="728" y="777"/>
                  </a:lnTo>
                  <a:lnTo>
                    <a:pt x="731" y="776"/>
                  </a:lnTo>
                  <a:lnTo>
                    <a:pt x="735" y="773"/>
                  </a:lnTo>
                  <a:lnTo>
                    <a:pt x="736" y="770"/>
                  </a:lnTo>
                  <a:lnTo>
                    <a:pt x="737" y="768"/>
                  </a:lnTo>
                  <a:lnTo>
                    <a:pt x="738" y="764"/>
                  </a:lnTo>
                  <a:lnTo>
                    <a:pt x="739" y="763"/>
                  </a:lnTo>
                  <a:lnTo>
                    <a:pt x="743" y="763"/>
                  </a:lnTo>
                  <a:lnTo>
                    <a:pt x="745" y="764"/>
                  </a:lnTo>
                  <a:lnTo>
                    <a:pt x="747" y="768"/>
                  </a:lnTo>
                  <a:lnTo>
                    <a:pt x="753" y="774"/>
                  </a:lnTo>
                  <a:lnTo>
                    <a:pt x="759" y="781"/>
                  </a:lnTo>
                  <a:lnTo>
                    <a:pt x="761" y="785"/>
                  </a:lnTo>
                  <a:lnTo>
                    <a:pt x="764" y="787"/>
                  </a:lnTo>
                  <a:lnTo>
                    <a:pt x="768" y="788"/>
                  </a:lnTo>
                  <a:lnTo>
                    <a:pt x="771" y="788"/>
                  </a:lnTo>
                  <a:lnTo>
                    <a:pt x="775" y="789"/>
                  </a:lnTo>
                  <a:lnTo>
                    <a:pt x="778" y="789"/>
                  </a:lnTo>
                  <a:lnTo>
                    <a:pt x="780" y="788"/>
                  </a:lnTo>
                  <a:lnTo>
                    <a:pt x="783" y="788"/>
                  </a:lnTo>
                  <a:lnTo>
                    <a:pt x="786" y="788"/>
                  </a:lnTo>
                  <a:lnTo>
                    <a:pt x="788" y="789"/>
                  </a:lnTo>
                  <a:lnTo>
                    <a:pt x="791" y="792"/>
                  </a:lnTo>
                  <a:lnTo>
                    <a:pt x="792" y="794"/>
                  </a:lnTo>
                  <a:lnTo>
                    <a:pt x="794" y="796"/>
                  </a:lnTo>
                  <a:lnTo>
                    <a:pt x="798" y="796"/>
                  </a:lnTo>
                  <a:lnTo>
                    <a:pt x="801" y="797"/>
                  </a:lnTo>
                  <a:lnTo>
                    <a:pt x="804" y="798"/>
                  </a:lnTo>
                  <a:lnTo>
                    <a:pt x="809" y="798"/>
                  </a:lnTo>
                  <a:lnTo>
                    <a:pt x="811" y="800"/>
                  </a:lnTo>
                  <a:lnTo>
                    <a:pt x="814" y="801"/>
                  </a:lnTo>
                  <a:lnTo>
                    <a:pt x="816" y="804"/>
                  </a:lnTo>
                  <a:lnTo>
                    <a:pt x="822" y="809"/>
                  </a:lnTo>
                  <a:lnTo>
                    <a:pt x="831" y="820"/>
                  </a:lnTo>
                  <a:lnTo>
                    <a:pt x="833" y="821"/>
                  </a:lnTo>
                  <a:lnTo>
                    <a:pt x="834" y="824"/>
                  </a:lnTo>
                  <a:lnTo>
                    <a:pt x="838" y="825"/>
                  </a:lnTo>
                  <a:lnTo>
                    <a:pt x="841" y="827"/>
                  </a:lnTo>
                  <a:lnTo>
                    <a:pt x="843" y="829"/>
                  </a:lnTo>
                  <a:lnTo>
                    <a:pt x="846" y="829"/>
                  </a:lnTo>
                  <a:lnTo>
                    <a:pt x="849" y="829"/>
                  </a:lnTo>
                  <a:lnTo>
                    <a:pt x="854" y="829"/>
                  </a:lnTo>
                  <a:lnTo>
                    <a:pt x="857" y="829"/>
                  </a:lnTo>
                  <a:lnTo>
                    <a:pt x="862" y="829"/>
                  </a:lnTo>
                  <a:lnTo>
                    <a:pt x="864" y="829"/>
                  </a:lnTo>
                  <a:lnTo>
                    <a:pt x="867" y="829"/>
                  </a:lnTo>
                  <a:lnTo>
                    <a:pt x="871" y="829"/>
                  </a:lnTo>
                  <a:lnTo>
                    <a:pt x="874" y="829"/>
                  </a:lnTo>
                  <a:lnTo>
                    <a:pt x="876" y="830"/>
                  </a:lnTo>
                  <a:lnTo>
                    <a:pt x="879" y="830"/>
                  </a:lnTo>
                  <a:lnTo>
                    <a:pt x="883" y="833"/>
                  </a:lnTo>
                  <a:lnTo>
                    <a:pt x="886" y="834"/>
                  </a:lnTo>
                  <a:lnTo>
                    <a:pt x="889" y="836"/>
                  </a:lnTo>
                  <a:lnTo>
                    <a:pt x="892" y="838"/>
                  </a:lnTo>
                  <a:lnTo>
                    <a:pt x="896" y="841"/>
                  </a:lnTo>
                  <a:lnTo>
                    <a:pt x="900" y="843"/>
                  </a:lnTo>
                  <a:lnTo>
                    <a:pt x="904" y="844"/>
                  </a:lnTo>
                  <a:lnTo>
                    <a:pt x="905" y="845"/>
                  </a:lnTo>
                  <a:lnTo>
                    <a:pt x="907" y="846"/>
                  </a:lnTo>
                  <a:lnTo>
                    <a:pt x="912" y="848"/>
                  </a:lnTo>
                  <a:lnTo>
                    <a:pt x="922" y="852"/>
                  </a:lnTo>
                  <a:lnTo>
                    <a:pt x="928" y="854"/>
                  </a:lnTo>
                  <a:lnTo>
                    <a:pt x="931" y="854"/>
                  </a:lnTo>
                  <a:lnTo>
                    <a:pt x="934" y="854"/>
                  </a:lnTo>
                  <a:lnTo>
                    <a:pt x="935" y="856"/>
                  </a:lnTo>
                  <a:lnTo>
                    <a:pt x="937" y="858"/>
                  </a:lnTo>
                  <a:lnTo>
                    <a:pt x="939" y="859"/>
                  </a:lnTo>
                  <a:lnTo>
                    <a:pt x="943" y="859"/>
                  </a:lnTo>
                  <a:lnTo>
                    <a:pt x="945" y="859"/>
                  </a:lnTo>
                  <a:lnTo>
                    <a:pt x="948" y="859"/>
                  </a:lnTo>
                  <a:lnTo>
                    <a:pt x="951" y="859"/>
                  </a:lnTo>
                  <a:lnTo>
                    <a:pt x="952" y="857"/>
                  </a:lnTo>
                  <a:lnTo>
                    <a:pt x="952" y="853"/>
                  </a:lnTo>
                  <a:lnTo>
                    <a:pt x="953" y="852"/>
                  </a:lnTo>
                  <a:lnTo>
                    <a:pt x="955" y="852"/>
                  </a:lnTo>
                  <a:lnTo>
                    <a:pt x="956" y="852"/>
                  </a:lnTo>
                  <a:lnTo>
                    <a:pt x="960" y="854"/>
                  </a:lnTo>
                  <a:lnTo>
                    <a:pt x="963" y="857"/>
                  </a:lnTo>
                  <a:lnTo>
                    <a:pt x="967" y="857"/>
                  </a:lnTo>
                  <a:lnTo>
                    <a:pt x="970" y="858"/>
                  </a:lnTo>
                  <a:lnTo>
                    <a:pt x="974" y="858"/>
                  </a:lnTo>
                  <a:lnTo>
                    <a:pt x="975" y="856"/>
                  </a:lnTo>
                  <a:lnTo>
                    <a:pt x="975" y="853"/>
                  </a:lnTo>
                  <a:lnTo>
                    <a:pt x="974" y="851"/>
                  </a:lnTo>
                  <a:lnTo>
                    <a:pt x="971" y="850"/>
                  </a:lnTo>
                  <a:lnTo>
                    <a:pt x="969" y="848"/>
                  </a:lnTo>
                  <a:lnTo>
                    <a:pt x="967" y="844"/>
                  </a:lnTo>
                  <a:lnTo>
                    <a:pt x="964" y="842"/>
                  </a:lnTo>
                  <a:lnTo>
                    <a:pt x="962" y="835"/>
                  </a:lnTo>
                  <a:lnTo>
                    <a:pt x="962" y="830"/>
                  </a:lnTo>
                  <a:lnTo>
                    <a:pt x="962" y="825"/>
                  </a:lnTo>
                  <a:lnTo>
                    <a:pt x="961" y="820"/>
                  </a:lnTo>
                  <a:lnTo>
                    <a:pt x="962" y="817"/>
                  </a:lnTo>
                  <a:lnTo>
                    <a:pt x="963" y="813"/>
                  </a:lnTo>
                  <a:lnTo>
                    <a:pt x="963" y="809"/>
                  </a:lnTo>
                  <a:lnTo>
                    <a:pt x="960" y="805"/>
                  </a:lnTo>
                  <a:lnTo>
                    <a:pt x="955" y="804"/>
                  </a:lnTo>
                  <a:lnTo>
                    <a:pt x="951" y="804"/>
                  </a:lnTo>
                  <a:lnTo>
                    <a:pt x="947" y="801"/>
                  </a:lnTo>
                  <a:lnTo>
                    <a:pt x="945" y="798"/>
                  </a:lnTo>
                  <a:lnTo>
                    <a:pt x="943" y="796"/>
                  </a:lnTo>
                  <a:lnTo>
                    <a:pt x="938" y="793"/>
                  </a:lnTo>
                  <a:lnTo>
                    <a:pt x="935" y="789"/>
                  </a:lnTo>
                  <a:lnTo>
                    <a:pt x="932" y="787"/>
                  </a:lnTo>
                  <a:lnTo>
                    <a:pt x="930" y="784"/>
                  </a:lnTo>
                  <a:lnTo>
                    <a:pt x="929" y="780"/>
                  </a:lnTo>
                  <a:lnTo>
                    <a:pt x="931" y="779"/>
                  </a:lnTo>
                  <a:lnTo>
                    <a:pt x="932" y="779"/>
                  </a:lnTo>
                  <a:lnTo>
                    <a:pt x="937" y="781"/>
                  </a:lnTo>
                  <a:lnTo>
                    <a:pt x="943" y="784"/>
                  </a:lnTo>
                  <a:lnTo>
                    <a:pt x="946" y="784"/>
                  </a:lnTo>
                  <a:lnTo>
                    <a:pt x="948" y="782"/>
                  </a:lnTo>
                  <a:lnTo>
                    <a:pt x="950" y="780"/>
                  </a:lnTo>
                  <a:lnTo>
                    <a:pt x="950" y="777"/>
                  </a:lnTo>
                  <a:lnTo>
                    <a:pt x="948" y="774"/>
                  </a:lnTo>
                  <a:lnTo>
                    <a:pt x="947" y="771"/>
                  </a:lnTo>
                  <a:lnTo>
                    <a:pt x="945" y="768"/>
                  </a:lnTo>
                  <a:lnTo>
                    <a:pt x="942" y="765"/>
                  </a:lnTo>
                  <a:lnTo>
                    <a:pt x="937" y="763"/>
                  </a:lnTo>
                  <a:lnTo>
                    <a:pt x="934" y="763"/>
                  </a:lnTo>
                  <a:lnTo>
                    <a:pt x="928" y="763"/>
                  </a:lnTo>
                  <a:lnTo>
                    <a:pt x="926" y="763"/>
                  </a:lnTo>
                  <a:lnTo>
                    <a:pt x="921" y="762"/>
                  </a:lnTo>
                  <a:lnTo>
                    <a:pt x="915" y="761"/>
                  </a:lnTo>
                  <a:lnTo>
                    <a:pt x="912" y="761"/>
                  </a:lnTo>
                  <a:lnTo>
                    <a:pt x="908" y="760"/>
                  </a:lnTo>
                  <a:lnTo>
                    <a:pt x="907" y="757"/>
                  </a:lnTo>
                  <a:lnTo>
                    <a:pt x="905" y="754"/>
                  </a:lnTo>
                  <a:lnTo>
                    <a:pt x="904" y="750"/>
                  </a:lnTo>
                  <a:lnTo>
                    <a:pt x="905" y="744"/>
                  </a:lnTo>
                  <a:lnTo>
                    <a:pt x="903" y="738"/>
                  </a:lnTo>
                  <a:lnTo>
                    <a:pt x="899" y="732"/>
                  </a:lnTo>
                  <a:lnTo>
                    <a:pt x="897" y="730"/>
                  </a:lnTo>
                  <a:lnTo>
                    <a:pt x="894" y="729"/>
                  </a:lnTo>
                  <a:lnTo>
                    <a:pt x="890" y="728"/>
                  </a:lnTo>
                  <a:lnTo>
                    <a:pt x="888" y="725"/>
                  </a:lnTo>
                  <a:lnTo>
                    <a:pt x="887" y="723"/>
                  </a:lnTo>
                  <a:lnTo>
                    <a:pt x="882" y="722"/>
                  </a:lnTo>
                  <a:lnTo>
                    <a:pt x="880" y="723"/>
                  </a:lnTo>
                  <a:lnTo>
                    <a:pt x="878" y="724"/>
                  </a:lnTo>
                  <a:lnTo>
                    <a:pt x="875" y="724"/>
                  </a:lnTo>
                  <a:lnTo>
                    <a:pt x="872" y="724"/>
                  </a:lnTo>
                  <a:lnTo>
                    <a:pt x="870" y="723"/>
                  </a:lnTo>
                  <a:lnTo>
                    <a:pt x="866" y="721"/>
                  </a:lnTo>
                  <a:lnTo>
                    <a:pt x="856" y="712"/>
                  </a:lnTo>
                  <a:lnTo>
                    <a:pt x="848" y="702"/>
                  </a:lnTo>
                  <a:lnTo>
                    <a:pt x="846" y="698"/>
                  </a:lnTo>
                  <a:lnTo>
                    <a:pt x="846" y="694"/>
                  </a:lnTo>
                  <a:lnTo>
                    <a:pt x="848" y="691"/>
                  </a:lnTo>
                  <a:lnTo>
                    <a:pt x="851" y="688"/>
                  </a:lnTo>
                  <a:lnTo>
                    <a:pt x="854" y="683"/>
                  </a:lnTo>
                  <a:lnTo>
                    <a:pt x="854" y="678"/>
                  </a:lnTo>
                  <a:lnTo>
                    <a:pt x="852" y="676"/>
                  </a:lnTo>
                  <a:lnTo>
                    <a:pt x="850" y="673"/>
                  </a:lnTo>
                  <a:lnTo>
                    <a:pt x="850" y="670"/>
                  </a:lnTo>
                  <a:lnTo>
                    <a:pt x="850" y="667"/>
                  </a:lnTo>
                  <a:lnTo>
                    <a:pt x="851" y="665"/>
                  </a:lnTo>
                  <a:lnTo>
                    <a:pt x="855" y="660"/>
                  </a:lnTo>
                  <a:lnTo>
                    <a:pt x="857" y="659"/>
                  </a:lnTo>
                  <a:lnTo>
                    <a:pt x="860" y="658"/>
                  </a:lnTo>
                  <a:lnTo>
                    <a:pt x="863" y="658"/>
                  </a:lnTo>
                  <a:lnTo>
                    <a:pt x="875" y="658"/>
                  </a:lnTo>
                  <a:lnTo>
                    <a:pt x="879" y="657"/>
                  </a:lnTo>
                  <a:lnTo>
                    <a:pt x="881" y="656"/>
                  </a:lnTo>
                  <a:lnTo>
                    <a:pt x="881" y="653"/>
                  </a:lnTo>
                  <a:lnTo>
                    <a:pt x="880" y="651"/>
                  </a:lnTo>
                  <a:lnTo>
                    <a:pt x="875" y="649"/>
                  </a:lnTo>
                  <a:lnTo>
                    <a:pt x="871" y="648"/>
                  </a:lnTo>
                  <a:lnTo>
                    <a:pt x="865" y="646"/>
                  </a:lnTo>
                  <a:lnTo>
                    <a:pt x="858" y="646"/>
                  </a:lnTo>
                  <a:lnTo>
                    <a:pt x="851" y="646"/>
                  </a:lnTo>
                  <a:lnTo>
                    <a:pt x="844" y="646"/>
                  </a:lnTo>
                  <a:lnTo>
                    <a:pt x="836" y="646"/>
                  </a:lnTo>
                  <a:lnTo>
                    <a:pt x="831" y="646"/>
                  </a:lnTo>
                  <a:lnTo>
                    <a:pt x="824" y="646"/>
                  </a:lnTo>
                  <a:lnTo>
                    <a:pt x="817" y="646"/>
                  </a:lnTo>
                  <a:lnTo>
                    <a:pt x="810" y="646"/>
                  </a:lnTo>
                  <a:lnTo>
                    <a:pt x="803" y="646"/>
                  </a:lnTo>
                  <a:lnTo>
                    <a:pt x="798" y="646"/>
                  </a:lnTo>
                  <a:lnTo>
                    <a:pt x="791" y="646"/>
                  </a:lnTo>
                  <a:lnTo>
                    <a:pt x="786" y="645"/>
                  </a:lnTo>
                  <a:lnTo>
                    <a:pt x="780" y="643"/>
                  </a:lnTo>
                  <a:lnTo>
                    <a:pt x="778" y="641"/>
                  </a:lnTo>
                  <a:lnTo>
                    <a:pt x="774" y="633"/>
                  </a:lnTo>
                  <a:lnTo>
                    <a:pt x="770" y="628"/>
                  </a:lnTo>
                  <a:lnTo>
                    <a:pt x="768" y="626"/>
                  </a:lnTo>
                  <a:lnTo>
                    <a:pt x="767" y="625"/>
                  </a:lnTo>
                  <a:lnTo>
                    <a:pt x="764" y="624"/>
                  </a:lnTo>
                  <a:lnTo>
                    <a:pt x="762" y="624"/>
                  </a:lnTo>
                  <a:lnTo>
                    <a:pt x="755" y="622"/>
                  </a:lnTo>
                  <a:lnTo>
                    <a:pt x="751" y="620"/>
                  </a:lnTo>
                  <a:lnTo>
                    <a:pt x="748" y="618"/>
                  </a:lnTo>
                  <a:lnTo>
                    <a:pt x="747" y="614"/>
                  </a:lnTo>
                  <a:lnTo>
                    <a:pt x="746" y="612"/>
                  </a:lnTo>
                  <a:lnTo>
                    <a:pt x="745" y="609"/>
                  </a:lnTo>
                  <a:lnTo>
                    <a:pt x="744" y="606"/>
                  </a:lnTo>
                  <a:lnTo>
                    <a:pt x="742" y="605"/>
                  </a:lnTo>
                  <a:lnTo>
                    <a:pt x="738" y="604"/>
                  </a:lnTo>
                  <a:lnTo>
                    <a:pt x="735" y="604"/>
                  </a:lnTo>
                  <a:lnTo>
                    <a:pt x="731" y="604"/>
                  </a:lnTo>
                  <a:lnTo>
                    <a:pt x="728" y="604"/>
                  </a:lnTo>
                  <a:lnTo>
                    <a:pt x="724" y="604"/>
                  </a:lnTo>
                  <a:lnTo>
                    <a:pt x="720" y="604"/>
                  </a:lnTo>
                  <a:lnTo>
                    <a:pt x="719" y="604"/>
                  </a:lnTo>
                  <a:lnTo>
                    <a:pt x="715" y="605"/>
                  </a:lnTo>
                  <a:lnTo>
                    <a:pt x="713" y="606"/>
                  </a:lnTo>
                  <a:lnTo>
                    <a:pt x="707" y="609"/>
                  </a:lnTo>
                  <a:lnTo>
                    <a:pt x="703" y="608"/>
                  </a:lnTo>
                  <a:lnTo>
                    <a:pt x="698" y="605"/>
                  </a:lnTo>
                  <a:lnTo>
                    <a:pt x="696" y="603"/>
                  </a:lnTo>
                  <a:lnTo>
                    <a:pt x="695" y="600"/>
                  </a:lnTo>
                  <a:lnTo>
                    <a:pt x="692" y="596"/>
                  </a:lnTo>
                  <a:lnTo>
                    <a:pt x="692" y="593"/>
                  </a:lnTo>
                  <a:lnTo>
                    <a:pt x="691" y="589"/>
                  </a:lnTo>
                  <a:lnTo>
                    <a:pt x="690" y="585"/>
                  </a:lnTo>
                  <a:lnTo>
                    <a:pt x="689" y="581"/>
                  </a:lnTo>
                  <a:lnTo>
                    <a:pt x="688" y="578"/>
                  </a:lnTo>
                  <a:lnTo>
                    <a:pt x="688" y="573"/>
                  </a:lnTo>
                  <a:lnTo>
                    <a:pt x="688" y="569"/>
                  </a:lnTo>
                  <a:lnTo>
                    <a:pt x="689" y="564"/>
                  </a:lnTo>
                  <a:lnTo>
                    <a:pt x="691" y="560"/>
                  </a:lnTo>
                  <a:lnTo>
                    <a:pt x="695" y="553"/>
                  </a:lnTo>
                  <a:lnTo>
                    <a:pt x="696" y="546"/>
                  </a:lnTo>
                  <a:lnTo>
                    <a:pt x="696" y="541"/>
                  </a:lnTo>
                  <a:lnTo>
                    <a:pt x="695" y="534"/>
                  </a:lnTo>
                  <a:lnTo>
                    <a:pt x="694" y="531"/>
                  </a:lnTo>
                  <a:lnTo>
                    <a:pt x="691" y="524"/>
                  </a:lnTo>
                  <a:lnTo>
                    <a:pt x="689" y="520"/>
                  </a:lnTo>
                  <a:lnTo>
                    <a:pt x="689" y="515"/>
                  </a:lnTo>
                  <a:lnTo>
                    <a:pt x="691" y="513"/>
                  </a:lnTo>
                  <a:lnTo>
                    <a:pt x="695" y="512"/>
                  </a:lnTo>
                  <a:lnTo>
                    <a:pt x="699" y="512"/>
                  </a:lnTo>
                  <a:lnTo>
                    <a:pt x="712" y="514"/>
                  </a:lnTo>
                  <a:lnTo>
                    <a:pt x="720" y="515"/>
                  </a:lnTo>
                  <a:lnTo>
                    <a:pt x="727" y="514"/>
                  </a:lnTo>
                  <a:lnTo>
                    <a:pt x="737" y="513"/>
                  </a:lnTo>
                  <a:lnTo>
                    <a:pt x="738" y="510"/>
                  </a:lnTo>
                  <a:lnTo>
                    <a:pt x="738" y="507"/>
                  </a:lnTo>
                  <a:lnTo>
                    <a:pt x="737" y="505"/>
                  </a:lnTo>
                  <a:lnTo>
                    <a:pt x="732" y="499"/>
                  </a:lnTo>
                  <a:lnTo>
                    <a:pt x="732" y="493"/>
                  </a:lnTo>
                  <a:lnTo>
                    <a:pt x="732" y="489"/>
                  </a:lnTo>
                  <a:lnTo>
                    <a:pt x="735" y="485"/>
                  </a:lnTo>
                  <a:lnTo>
                    <a:pt x="737" y="483"/>
                  </a:lnTo>
                  <a:lnTo>
                    <a:pt x="738" y="483"/>
                  </a:lnTo>
                  <a:lnTo>
                    <a:pt x="740" y="482"/>
                  </a:lnTo>
                  <a:lnTo>
                    <a:pt x="743" y="482"/>
                  </a:lnTo>
                  <a:lnTo>
                    <a:pt x="745" y="483"/>
                  </a:lnTo>
                  <a:lnTo>
                    <a:pt x="747" y="485"/>
                  </a:lnTo>
                  <a:lnTo>
                    <a:pt x="753" y="486"/>
                  </a:lnTo>
                  <a:lnTo>
                    <a:pt x="758" y="488"/>
                  </a:lnTo>
                  <a:lnTo>
                    <a:pt x="761" y="488"/>
                  </a:lnTo>
                  <a:lnTo>
                    <a:pt x="764" y="488"/>
                  </a:lnTo>
                  <a:lnTo>
                    <a:pt x="768" y="489"/>
                  </a:lnTo>
                  <a:lnTo>
                    <a:pt x="769" y="490"/>
                  </a:lnTo>
                  <a:lnTo>
                    <a:pt x="771" y="492"/>
                  </a:lnTo>
                  <a:lnTo>
                    <a:pt x="772" y="497"/>
                  </a:lnTo>
                  <a:lnTo>
                    <a:pt x="774" y="506"/>
                  </a:lnTo>
                  <a:lnTo>
                    <a:pt x="774" y="509"/>
                  </a:lnTo>
                  <a:lnTo>
                    <a:pt x="774" y="513"/>
                  </a:lnTo>
                  <a:lnTo>
                    <a:pt x="775" y="515"/>
                  </a:lnTo>
                  <a:lnTo>
                    <a:pt x="778" y="518"/>
                  </a:lnTo>
                  <a:lnTo>
                    <a:pt x="785" y="520"/>
                  </a:lnTo>
                  <a:lnTo>
                    <a:pt x="792" y="525"/>
                  </a:lnTo>
                  <a:lnTo>
                    <a:pt x="793" y="529"/>
                  </a:lnTo>
                  <a:lnTo>
                    <a:pt x="794" y="530"/>
                  </a:lnTo>
                  <a:lnTo>
                    <a:pt x="798" y="531"/>
                  </a:lnTo>
                  <a:lnTo>
                    <a:pt x="802" y="530"/>
                  </a:lnTo>
                  <a:lnTo>
                    <a:pt x="803" y="529"/>
                  </a:lnTo>
                  <a:lnTo>
                    <a:pt x="806" y="528"/>
                  </a:lnTo>
                  <a:lnTo>
                    <a:pt x="809" y="526"/>
                  </a:lnTo>
                  <a:lnTo>
                    <a:pt x="811" y="528"/>
                  </a:lnTo>
                  <a:lnTo>
                    <a:pt x="816" y="531"/>
                  </a:lnTo>
                  <a:lnTo>
                    <a:pt x="819" y="531"/>
                  </a:lnTo>
                  <a:lnTo>
                    <a:pt x="820" y="529"/>
                  </a:lnTo>
                  <a:lnTo>
                    <a:pt x="820" y="526"/>
                  </a:lnTo>
                  <a:lnTo>
                    <a:pt x="820" y="524"/>
                  </a:lnTo>
                  <a:lnTo>
                    <a:pt x="822" y="522"/>
                  </a:lnTo>
                  <a:lnTo>
                    <a:pt x="824" y="520"/>
                  </a:lnTo>
                  <a:lnTo>
                    <a:pt x="828" y="517"/>
                  </a:lnTo>
                  <a:lnTo>
                    <a:pt x="831" y="516"/>
                  </a:lnTo>
                  <a:lnTo>
                    <a:pt x="834" y="515"/>
                  </a:lnTo>
                  <a:lnTo>
                    <a:pt x="834" y="513"/>
                  </a:lnTo>
                  <a:lnTo>
                    <a:pt x="833" y="512"/>
                  </a:lnTo>
                  <a:lnTo>
                    <a:pt x="830" y="510"/>
                  </a:lnTo>
                  <a:lnTo>
                    <a:pt x="828" y="508"/>
                  </a:lnTo>
                  <a:lnTo>
                    <a:pt x="828" y="505"/>
                  </a:lnTo>
                  <a:lnTo>
                    <a:pt x="830" y="499"/>
                  </a:lnTo>
                  <a:lnTo>
                    <a:pt x="834" y="489"/>
                  </a:lnTo>
                  <a:lnTo>
                    <a:pt x="844" y="476"/>
                  </a:lnTo>
                  <a:lnTo>
                    <a:pt x="850" y="473"/>
                  </a:lnTo>
                  <a:lnTo>
                    <a:pt x="856" y="469"/>
                  </a:lnTo>
                  <a:lnTo>
                    <a:pt x="863" y="466"/>
                  </a:lnTo>
                  <a:lnTo>
                    <a:pt x="872" y="462"/>
                  </a:lnTo>
                  <a:lnTo>
                    <a:pt x="880" y="459"/>
                  </a:lnTo>
                  <a:lnTo>
                    <a:pt x="888" y="459"/>
                  </a:lnTo>
                  <a:lnTo>
                    <a:pt x="894" y="459"/>
                  </a:lnTo>
                  <a:lnTo>
                    <a:pt x="898" y="459"/>
                  </a:lnTo>
                  <a:lnTo>
                    <a:pt x="903" y="458"/>
                  </a:lnTo>
                  <a:lnTo>
                    <a:pt x="905" y="457"/>
                  </a:lnTo>
                  <a:lnTo>
                    <a:pt x="916" y="454"/>
                  </a:lnTo>
                  <a:lnTo>
                    <a:pt x="922" y="453"/>
                  </a:lnTo>
                  <a:lnTo>
                    <a:pt x="926" y="451"/>
                  </a:lnTo>
                  <a:lnTo>
                    <a:pt x="930" y="450"/>
                  </a:lnTo>
                  <a:lnTo>
                    <a:pt x="934" y="450"/>
                  </a:lnTo>
                  <a:lnTo>
                    <a:pt x="938" y="450"/>
                  </a:lnTo>
                  <a:lnTo>
                    <a:pt x="942" y="450"/>
                  </a:lnTo>
                  <a:lnTo>
                    <a:pt x="944" y="449"/>
                  </a:lnTo>
                  <a:lnTo>
                    <a:pt x="946" y="445"/>
                  </a:lnTo>
                  <a:lnTo>
                    <a:pt x="948" y="443"/>
                  </a:lnTo>
                  <a:lnTo>
                    <a:pt x="953" y="441"/>
                  </a:lnTo>
                  <a:lnTo>
                    <a:pt x="956" y="438"/>
                  </a:lnTo>
                  <a:lnTo>
                    <a:pt x="958" y="437"/>
                  </a:lnTo>
                  <a:lnTo>
                    <a:pt x="960" y="435"/>
                  </a:lnTo>
                  <a:lnTo>
                    <a:pt x="961" y="428"/>
                  </a:lnTo>
                  <a:lnTo>
                    <a:pt x="960" y="422"/>
                  </a:lnTo>
                  <a:lnTo>
                    <a:pt x="960" y="419"/>
                  </a:lnTo>
                  <a:lnTo>
                    <a:pt x="960" y="414"/>
                  </a:lnTo>
                  <a:lnTo>
                    <a:pt x="963" y="410"/>
                  </a:lnTo>
                  <a:lnTo>
                    <a:pt x="966" y="406"/>
                  </a:lnTo>
                  <a:lnTo>
                    <a:pt x="967" y="404"/>
                  </a:lnTo>
                  <a:lnTo>
                    <a:pt x="968" y="402"/>
                  </a:lnTo>
                  <a:lnTo>
                    <a:pt x="970" y="401"/>
                  </a:lnTo>
                  <a:lnTo>
                    <a:pt x="974" y="401"/>
                  </a:lnTo>
                  <a:lnTo>
                    <a:pt x="976" y="401"/>
                  </a:lnTo>
                  <a:lnTo>
                    <a:pt x="979" y="403"/>
                  </a:lnTo>
                  <a:lnTo>
                    <a:pt x="980" y="404"/>
                  </a:lnTo>
                  <a:lnTo>
                    <a:pt x="984" y="405"/>
                  </a:lnTo>
                  <a:lnTo>
                    <a:pt x="986" y="404"/>
                  </a:lnTo>
                  <a:lnTo>
                    <a:pt x="990" y="405"/>
                  </a:lnTo>
                  <a:lnTo>
                    <a:pt x="996" y="408"/>
                  </a:lnTo>
                  <a:lnTo>
                    <a:pt x="1010" y="413"/>
                  </a:lnTo>
                  <a:lnTo>
                    <a:pt x="1016" y="416"/>
                  </a:lnTo>
                  <a:lnTo>
                    <a:pt x="1018" y="417"/>
                  </a:lnTo>
                  <a:lnTo>
                    <a:pt x="1022" y="419"/>
                  </a:lnTo>
                  <a:lnTo>
                    <a:pt x="1024" y="420"/>
                  </a:lnTo>
                  <a:lnTo>
                    <a:pt x="1033" y="420"/>
                  </a:lnTo>
                  <a:lnTo>
                    <a:pt x="1038" y="420"/>
                  </a:lnTo>
                  <a:lnTo>
                    <a:pt x="1046" y="420"/>
                  </a:lnTo>
                  <a:lnTo>
                    <a:pt x="1048" y="419"/>
                  </a:lnTo>
                  <a:lnTo>
                    <a:pt x="1050" y="418"/>
                  </a:lnTo>
                  <a:lnTo>
                    <a:pt x="1050" y="417"/>
                  </a:lnTo>
                  <a:lnTo>
                    <a:pt x="1048" y="414"/>
                  </a:lnTo>
                  <a:lnTo>
                    <a:pt x="1047" y="412"/>
                  </a:lnTo>
                  <a:lnTo>
                    <a:pt x="1047" y="409"/>
                  </a:lnTo>
                  <a:lnTo>
                    <a:pt x="1047" y="408"/>
                  </a:lnTo>
                  <a:lnTo>
                    <a:pt x="1049" y="408"/>
                  </a:lnTo>
                  <a:lnTo>
                    <a:pt x="1051" y="409"/>
                  </a:lnTo>
                  <a:lnTo>
                    <a:pt x="1055" y="411"/>
                  </a:lnTo>
                  <a:lnTo>
                    <a:pt x="1056" y="413"/>
                  </a:lnTo>
                  <a:lnTo>
                    <a:pt x="1058" y="414"/>
                  </a:lnTo>
                  <a:lnTo>
                    <a:pt x="1060" y="414"/>
                  </a:lnTo>
                  <a:lnTo>
                    <a:pt x="1063" y="413"/>
                  </a:lnTo>
                  <a:lnTo>
                    <a:pt x="1065" y="412"/>
                  </a:lnTo>
                  <a:lnTo>
                    <a:pt x="1067" y="411"/>
                  </a:lnTo>
                  <a:lnTo>
                    <a:pt x="1068" y="411"/>
                  </a:lnTo>
                  <a:lnTo>
                    <a:pt x="1071" y="413"/>
                  </a:lnTo>
                  <a:lnTo>
                    <a:pt x="1073" y="416"/>
                  </a:lnTo>
                  <a:lnTo>
                    <a:pt x="1075" y="417"/>
                  </a:lnTo>
                  <a:lnTo>
                    <a:pt x="1076" y="414"/>
                  </a:lnTo>
                  <a:lnTo>
                    <a:pt x="1076" y="412"/>
                  </a:lnTo>
                  <a:lnTo>
                    <a:pt x="1076" y="408"/>
                  </a:lnTo>
                  <a:lnTo>
                    <a:pt x="1076" y="403"/>
                  </a:lnTo>
                  <a:lnTo>
                    <a:pt x="1076" y="398"/>
                  </a:lnTo>
                  <a:lnTo>
                    <a:pt x="1076" y="395"/>
                  </a:lnTo>
                  <a:lnTo>
                    <a:pt x="1078" y="392"/>
                  </a:lnTo>
                  <a:lnTo>
                    <a:pt x="1080" y="390"/>
                  </a:lnTo>
                  <a:lnTo>
                    <a:pt x="1082" y="390"/>
                  </a:lnTo>
                  <a:lnTo>
                    <a:pt x="1082" y="392"/>
                  </a:lnTo>
                  <a:lnTo>
                    <a:pt x="1082" y="394"/>
                  </a:lnTo>
                  <a:lnTo>
                    <a:pt x="1081" y="397"/>
                  </a:lnTo>
                  <a:lnTo>
                    <a:pt x="1081" y="401"/>
                  </a:lnTo>
                  <a:lnTo>
                    <a:pt x="1082" y="403"/>
                  </a:lnTo>
                  <a:lnTo>
                    <a:pt x="1084" y="403"/>
                  </a:lnTo>
                  <a:lnTo>
                    <a:pt x="1087" y="401"/>
                  </a:lnTo>
                  <a:lnTo>
                    <a:pt x="1089" y="397"/>
                  </a:lnTo>
                  <a:lnTo>
                    <a:pt x="1091" y="395"/>
                  </a:lnTo>
                  <a:lnTo>
                    <a:pt x="1094" y="395"/>
                  </a:lnTo>
                  <a:lnTo>
                    <a:pt x="1098" y="395"/>
                  </a:lnTo>
                  <a:lnTo>
                    <a:pt x="1099" y="395"/>
                  </a:lnTo>
                  <a:lnTo>
                    <a:pt x="1100" y="393"/>
                  </a:lnTo>
                  <a:lnTo>
                    <a:pt x="1098" y="389"/>
                  </a:lnTo>
                  <a:lnTo>
                    <a:pt x="1095" y="386"/>
                  </a:lnTo>
                  <a:lnTo>
                    <a:pt x="1089" y="380"/>
                  </a:lnTo>
                  <a:lnTo>
                    <a:pt x="1080" y="372"/>
                  </a:lnTo>
                  <a:lnTo>
                    <a:pt x="1075" y="369"/>
                  </a:lnTo>
                  <a:lnTo>
                    <a:pt x="1073" y="365"/>
                  </a:lnTo>
                  <a:lnTo>
                    <a:pt x="1072" y="361"/>
                  </a:lnTo>
                  <a:lnTo>
                    <a:pt x="1073" y="360"/>
                  </a:lnTo>
                  <a:lnTo>
                    <a:pt x="1075" y="360"/>
                  </a:lnTo>
                  <a:lnTo>
                    <a:pt x="1079" y="361"/>
                  </a:lnTo>
                  <a:lnTo>
                    <a:pt x="1081" y="362"/>
                  </a:lnTo>
                  <a:lnTo>
                    <a:pt x="1083" y="363"/>
                  </a:lnTo>
                  <a:lnTo>
                    <a:pt x="1089" y="363"/>
                  </a:lnTo>
                  <a:lnTo>
                    <a:pt x="1092" y="362"/>
                  </a:lnTo>
                  <a:lnTo>
                    <a:pt x="1094" y="362"/>
                  </a:lnTo>
                  <a:lnTo>
                    <a:pt x="1095" y="364"/>
                  </a:lnTo>
                  <a:lnTo>
                    <a:pt x="1096" y="369"/>
                  </a:lnTo>
                  <a:lnTo>
                    <a:pt x="1097" y="372"/>
                  </a:lnTo>
                  <a:lnTo>
                    <a:pt x="1097" y="373"/>
                  </a:lnTo>
                  <a:lnTo>
                    <a:pt x="1100" y="371"/>
                  </a:lnTo>
                  <a:lnTo>
                    <a:pt x="1103" y="370"/>
                  </a:lnTo>
                  <a:lnTo>
                    <a:pt x="1105" y="369"/>
                  </a:lnTo>
                  <a:lnTo>
                    <a:pt x="1107" y="369"/>
                  </a:lnTo>
                  <a:lnTo>
                    <a:pt x="1111" y="370"/>
                  </a:lnTo>
                  <a:lnTo>
                    <a:pt x="1115" y="371"/>
                  </a:lnTo>
                  <a:lnTo>
                    <a:pt x="1122" y="374"/>
                  </a:lnTo>
                  <a:lnTo>
                    <a:pt x="1127" y="376"/>
                  </a:lnTo>
                  <a:lnTo>
                    <a:pt x="1130" y="376"/>
                  </a:lnTo>
                  <a:lnTo>
                    <a:pt x="1131" y="372"/>
                  </a:lnTo>
                  <a:lnTo>
                    <a:pt x="1137" y="369"/>
                  </a:lnTo>
                  <a:lnTo>
                    <a:pt x="1142" y="365"/>
                  </a:lnTo>
                  <a:lnTo>
                    <a:pt x="1142" y="362"/>
                  </a:lnTo>
                  <a:lnTo>
                    <a:pt x="1142" y="358"/>
                  </a:lnTo>
                  <a:lnTo>
                    <a:pt x="1143" y="353"/>
                  </a:lnTo>
                  <a:lnTo>
                    <a:pt x="1145" y="348"/>
                  </a:lnTo>
                  <a:lnTo>
                    <a:pt x="1146" y="344"/>
                  </a:lnTo>
                  <a:lnTo>
                    <a:pt x="1147" y="338"/>
                  </a:lnTo>
                  <a:lnTo>
                    <a:pt x="1150" y="338"/>
                  </a:lnTo>
                  <a:lnTo>
                    <a:pt x="1154" y="341"/>
                  </a:lnTo>
                  <a:lnTo>
                    <a:pt x="1159" y="344"/>
                  </a:lnTo>
                  <a:lnTo>
                    <a:pt x="1162" y="345"/>
                  </a:lnTo>
                  <a:lnTo>
                    <a:pt x="1166" y="342"/>
                  </a:lnTo>
                  <a:lnTo>
                    <a:pt x="1169" y="339"/>
                  </a:lnTo>
                  <a:lnTo>
                    <a:pt x="1171" y="334"/>
                  </a:lnTo>
                  <a:lnTo>
                    <a:pt x="1170" y="332"/>
                  </a:lnTo>
                  <a:lnTo>
                    <a:pt x="1167" y="330"/>
                  </a:lnTo>
                  <a:lnTo>
                    <a:pt x="1170" y="326"/>
                  </a:lnTo>
                  <a:lnTo>
                    <a:pt x="1175" y="325"/>
                  </a:lnTo>
                  <a:lnTo>
                    <a:pt x="1179" y="326"/>
                  </a:lnTo>
                  <a:lnTo>
                    <a:pt x="1186" y="329"/>
                  </a:lnTo>
                  <a:lnTo>
                    <a:pt x="1192" y="329"/>
                  </a:lnTo>
                  <a:lnTo>
                    <a:pt x="1196" y="328"/>
                  </a:lnTo>
                  <a:lnTo>
                    <a:pt x="1196" y="326"/>
                  </a:lnTo>
                  <a:lnTo>
                    <a:pt x="1196" y="323"/>
                  </a:lnTo>
                  <a:lnTo>
                    <a:pt x="1193" y="320"/>
                  </a:lnTo>
                  <a:lnTo>
                    <a:pt x="1188" y="316"/>
                  </a:lnTo>
                  <a:lnTo>
                    <a:pt x="1184" y="313"/>
                  </a:lnTo>
                  <a:lnTo>
                    <a:pt x="1182" y="310"/>
                  </a:lnTo>
                  <a:lnTo>
                    <a:pt x="1180" y="307"/>
                  </a:lnTo>
                  <a:lnTo>
                    <a:pt x="1182" y="306"/>
                  </a:lnTo>
                  <a:lnTo>
                    <a:pt x="1185" y="305"/>
                  </a:lnTo>
                  <a:lnTo>
                    <a:pt x="1188" y="304"/>
                  </a:lnTo>
                  <a:lnTo>
                    <a:pt x="1191" y="302"/>
                  </a:lnTo>
                  <a:lnTo>
                    <a:pt x="1194" y="301"/>
                  </a:lnTo>
                  <a:lnTo>
                    <a:pt x="1198" y="298"/>
                  </a:lnTo>
                  <a:lnTo>
                    <a:pt x="1201" y="296"/>
                  </a:lnTo>
                  <a:lnTo>
                    <a:pt x="1203" y="293"/>
                  </a:lnTo>
                  <a:lnTo>
                    <a:pt x="1207" y="290"/>
                  </a:lnTo>
                  <a:lnTo>
                    <a:pt x="1208" y="286"/>
                  </a:lnTo>
                  <a:lnTo>
                    <a:pt x="1211" y="282"/>
                  </a:lnTo>
                  <a:lnTo>
                    <a:pt x="1216" y="277"/>
                  </a:lnTo>
                  <a:lnTo>
                    <a:pt x="1219" y="270"/>
                  </a:lnTo>
                  <a:lnTo>
                    <a:pt x="1224" y="265"/>
                  </a:lnTo>
                  <a:lnTo>
                    <a:pt x="1225" y="262"/>
                  </a:lnTo>
                  <a:lnTo>
                    <a:pt x="1226" y="258"/>
                  </a:lnTo>
                  <a:lnTo>
                    <a:pt x="1225" y="254"/>
                  </a:lnTo>
                  <a:lnTo>
                    <a:pt x="1230" y="250"/>
                  </a:lnTo>
                  <a:lnTo>
                    <a:pt x="1233" y="245"/>
                  </a:lnTo>
                  <a:lnTo>
                    <a:pt x="1232" y="242"/>
                  </a:lnTo>
                  <a:lnTo>
                    <a:pt x="1228" y="237"/>
                  </a:lnTo>
                  <a:lnTo>
                    <a:pt x="1226" y="230"/>
                  </a:lnTo>
                  <a:lnTo>
                    <a:pt x="1225" y="226"/>
                  </a:lnTo>
                  <a:lnTo>
                    <a:pt x="1225" y="218"/>
                  </a:lnTo>
                  <a:lnTo>
                    <a:pt x="1222" y="214"/>
                  </a:lnTo>
                  <a:lnTo>
                    <a:pt x="1220" y="211"/>
                  </a:lnTo>
                  <a:lnTo>
                    <a:pt x="1220" y="208"/>
                  </a:lnTo>
                  <a:lnTo>
                    <a:pt x="1224" y="208"/>
                  </a:lnTo>
                  <a:lnTo>
                    <a:pt x="1227" y="209"/>
                  </a:lnTo>
                  <a:lnTo>
                    <a:pt x="1232" y="213"/>
                  </a:lnTo>
                  <a:lnTo>
                    <a:pt x="1235" y="216"/>
                  </a:lnTo>
                  <a:lnTo>
                    <a:pt x="1241" y="216"/>
                  </a:lnTo>
                  <a:lnTo>
                    <a:pt x="1248" y="216"/>
                  </a:lnTo>
                  <a:lnTo>
                    <a:pt x="1249" y="211"/>
                  </a:lnTo>
                  <a:lnTo>
                    <a:pt x="1252" y="209"/>
                  </a:lnTo>
                  <a:lnTo>
                    <a:pt x="1256" y="205"/>
                  </a:lnTo>
                  <a:lnTo>
                    <a:pt x="1256" y="201"/>
                  </a:lnTo>
                  <a:lnTo>
                    <a:pt x="1254" y="196"/>
                  </a:lnTo>
                  <a:lnTo>
                    <a:pt x="1250" y="190"/>
                  </a:lnTo>
                  <a:lnTo>
                    <a:pt x="1249" y="185"/>
                  </a:lnTo>
                  <a:lnTo>
                    <a:pt x="1250" y="181"/>
                  </a:lnTo>
                  <a:lnTo>
                    <a:pt x="1251" y="176"/>
                  </a:lnTo>
                  <a:lnTo>
                    <a:pt x="1250" y="172"/>
                  </a:lnTo>
                  <a:lnTo>
                    <a:pt x="1247" y="170"/>
                  </a:lnTo>
                  <a:lnTo>
                    <a:pt x="1242" y="166"/>
                  </a:lnTo>
                  <a:lnTo>
                    <a:pt x="1236" y="164"/>
                  </a:lnTo>
                  <a:lnTo>
                    <a:pt x="1235" y="161"/>
                  </a:lnTo>
                  <a:lnTo>
                    <a:pt x="1235" y="157"/>
                  </a:lnTo>
                  <a:lnTo>
                    <a:pt x="1241" y="150"/>
                  </a:lnTo>
                  <a:lnTo>
                    <a:pt x="1246" y="148"/>
                  </a:lnTo>
                  <a:lnTo>
                    <a:pt x="1248" y="146"/>
                  </a:lnTo>
                  <a:lnTo>
                    <a:pt x="1251" y="141"/>
                  </a:lnTo>
                  <a:lnTo>
                    <a:pt x="1251" y="138"/>
                  </a:lnTo>
                  <a:lnTo>
                    <a:pt x="1251" y="131"/>
                  </a:lnTo>
                  <a:lnTo>
                    <a:pt x="1249" y="122"/>
                  </a:lnTo>
                  <a:lnTo>
                    <a:pt x="1247" y="104"/>
                  </a:lnTo>
                  <a:lnTo>
                    <a:pt x="1241" y="90"/>
                  </a:lnTo>
                  <a:lnTo>
                    <a:pt x="1236" y="83"/>
                  </a:lnTo>
                  <a:lnTo>
                    <a:pt x="1233" y="77"/>
                  </a:lnTo>
                  <a:lnTo>
                    <a:pt x="1227" y="72"/>
                  </a:lnTo>
                  <a:lnTo>
                    <a:pt x="1224" y="67"/>
                  </a:lnTo>
                  <a:lnTo>
                    <a:pt x="1223" y="61"/>
                  </a:lnTo>
                  <a:lnTo>
                    <a:pt x="1223" y="49"/>
                  </a:lnTo>
                  <a:lnTo>
                    <a:pt x="1223" y="42"/>
                  </a:lnTo>
                  <a:lnTo>
                    <a:pt x="1226" y="37"/>
                  </a:lnTo>
                  <a:lnTo>
                    <a:pt x="1219" y="33"/>
                  </a:lnTo>
                  <a:lnTo>
                    <a:pt x="1217" y="32"/>
                  </a:lnTo>
                  <a:lnTo>
                    <a:pt x="1215" y="29"/>
                  </a:lnTo>
                  <a:lnTo>
                    <a:pt x="1211" y="27"/>
                  </a:lnTo>
                  <a:lnTo>
                    <a:pt x="1208" y="26"/>
                  </a:lnTo>
                  <a:lnTo>
                    <a:pt x="1206" y="24"/>
                  </a:lnTo>
                  <a:lnTo>
                    <a:pt x="1204" y="21"/>
                  </a:lnTo>
                  <a:lnTo>
                    <a:pt x="1200" y="18"/>
                  </a:lnTo>
                  <a:lnTo>
                    <a:pt x="1195" y="17"/>
                  </a:lnTo>
                  <a:lnTo>
                    <a:pt x="1186" y="11"/>
                  </a:lnTo>
                  <a:lnTo>
                    <a:pt x="1184" y="10"/>
                  </a:lnTo>
                  <a:lnTo>
                    <a:pt x="1180" y="10"/>
                  </a:lnTo>
                  <a:lnTo>
                    <a:pt x="1176" y="9"/>
                  </a:lnTo>
                  <a:lnTo>
                    <a:pt x="1172" y="9"/>
                  </a:lnTo>
                  <a:lnTo>
                    <a:pt x="1169" y="9"/>
                  </a:lnTo>
                  <a:lnTo>
                    <a:pt x="1167" y="8"/>
                  </a:lnTo>
                  <a:lnTo>
                    <a:pt x="1164" y="6"/>
                  </a:lnTo>
                  <a:lnTo>
                    <a:pt x="1163" y="5"/>
                  </a:lnTo>
                  <a:lnTo>
                    <a:pt x="1161" y="4"/>
                  </a:lnTo>
                  <a:lnTo>
                    <a:pt x="1159" y="4"/>
                  </a:lnTo>
                  <a:lnTo>
                    <a:pt x="1158" y="2"/>
                  </a:lnTo>
                  <a:lnTo>
                    <a:pt x="1156" y="1"/>
                  </a:lnTo>
                  <a:lnTo>
                    <a:pt x="1155" y="0"/>
                  </a:lnTo>
                  <a:lnTo>
                    <a:pt x="1153" y="0"/>
                  </a:lnTo>
                  <a:lnTo>
                    <a:pt x="1152" y="0"/>
                  </a:lnTo>
                  <a:lnTo>
                    <a:pt x="1151" y="1"/>
                  </a:lnTo>
                  <a:lnTo>
                    <a:pt x="1148" y="3"/>
                  </a:lnTo>
                  <a:lnTo>
                    <a:pt x="1147" y="4"/>
                  </a:lnTo>
                  <a:lnTo>
                    <a:pt x="1146" y="6"/>
                  </a:lnTo>
                  <a:lnTo>
                    <a:pt x="1146" y="9"/>
                  </a:lnTo>
                  <a:lnTo>
                    <a:pt x="1146" y="11"/>
                  </a:lnTo>
                  <a:lnTo>
                    <a:pt x="1146" y="13"/>
                  </a:lnTo>
                  <a:lnTo>
                    <a:pt x="1146" y="16"/>
                  </a:lnTo>
                  <a:lnTo>
                    <a:pt x="1144" y="16"/>
                  </a:lnTo>
                  <a:lnTo>
                    <a:pt x="1143" y="14"/>
                  </a:lnTo>
                  <a:lnTo>
                    <a:pt x="1138" y="12"/>
                  </a:lnTo>
                  <a:lnTo>
                    <a:pt x="1136" y="11"/>
                  </a:lnTo>
                  <a:lnTo>
                    <a:pt x="1132" y="10"/>
                  </a:lnTo>
                  <a:lnTo>
                    <a:pt x="1130" y="10"/>
                  </a:lnTo>
                  <a:lnTo>
                    <a:pt x="1130" y="11"/>
                  </a:lnTo>
                  <a:lnTo>
                    <a:pt x="1130" y="13"/>
                  </a:lnTo>
                  <a:lnTo>
                    <a:pt x="1131" y="14"/>
                  </a:lnTo>
                  <a:lnTo>
                    <a:pt x="1132" y="16"/>
                  </a:lnTo>
                  <a:lnTo>
                    <a:pt x="1132" y="18"/>
                  </a:lnTo>
                  <a:lnTo>
                    <a:pt x="1134" y="20"/>
                  </a:lnTo>
                  <a:lnTo>
                    <a:pt x="1134" y="21"/>
                  </a:lnTo>
                  <a:lnTo>
                    <a:pt x="1135" y="24"/>
                  </a:lnTo>
                  <a:lnTo>
                    <a:pt x="1135" y="26"/>
                  </a:lnTo>
                  <a:lnTo>
                    <a:pt x="1135" y="27"/>
                  </a:lnTo>
                  <a:lnTo>
                    <a:pt x="1132" y="30"/>
                  </a:lnTo>
                  <a:lnTo>
                    <a:pt x="1128" y="36"/>
                  </a:lnTo>
                  <a:lnTo>
                    <a:pt x="1126" y="38"/>
                  </a:lnTo>
                  <a:lnTo>
                    <a:pt x="1123" y="40"/>
                  </a:lnTo>
                  <a:lnTo>
                    <a:pt x="1122" y="40"/>
                  </a:lnTo>
                  <a:lnTo>
                    <a:pt x="1120" y="38"/>
                  </a:lnTo>
                  <a:lnTo>
                    <a:pt x="1119" y="37"/>
                  </a:lnTo>
                  <a:lnTo>
                    <a:pt x="1118" y="36"/>
                  </a:lnTo>
                  <a:lnTo>
                    <a:pt x="1116" y="35"/>
                  </a:lnTo>
                  <a:lnTo>
                    <a:pt x="1114" y="34"/>
                  </a:lnTo>
                  <a:lnTo>
                    <a:pt x="1112" y="33"/>
                  </a:lnTo>
                  <a:lnTo>
                    <a:pt x="1108" y="33"/>
                  </a:lnTo>
                  <a:lnTo>
                    <a:pt x="1105" y="32"/>
                  </a:lnTo>
                  <a:lnTo>
                    <a:pt x="1104" y="30"/>
                  </a:lnTo>
                  <a:lnTo>
                    <a:pt x="1102" y="28"/>
                  </a:lnTo>
                  <a:lnTo>
                    <a:pt x="1099" y="28"/>
                  </a:lnTo>
                  <a:lnTo>
                    <a:pt x="1097" y="29"/>
                  </a:lnTo>
                  <a:lnTo>
                    <a:pt x="1098" y="30"/>
                  </a:lnTo>
                  <a:lnTo>
                    <a:pt x="1098" y="32"/>
                  </a:lnTo>
                  <a:lnTo>
                    <a:pt x="1098" y="34"/>
                  </a:lnTo>
                  <a:lnTo>
                    <a:pt x="1097" y="36"/>
                  </a:lnTo>
                  <a:lnTo>
                    <a:pt x="1095" y="36"/>
                  </a:lnTo>
                  <a:lnTo>
                    <a:pt x="1092" y="35"/>
                  </a:lnTo>
                  <a:lnTo>
                    <a:pt x="1090" y="35"/>
                  </a:lnTo>
                  <a:lnTo>
                    <a:pt x="1089" y="35"/>
                  </a:lnTo>
                  <a:lnTo>
                    <a:pt x="1088" y="36"/>
                  </a:lnTo>
                  <a:lnTo>
                    <a:pt x="1086" y="38"/>
                  </a:lnTo>
                  <a:lnTo>
                    <a:pt x="1084" y="41"/>
                  </a:lnTo>
                  <a:lnTo>
                    <a:pt x="1083" y="42"/>
                  </a:lnTo>
                  <a:lnTo>
                    <a:pt x="1082" y="44"/>
                  </a:lnTo>
                  <a:lnTo>
                    <a:pt x="1083" y="46"/>
                  </a:lnTo>
                  <a:lnTo>
                    <a:pt x="1084" y="49"/>
                  </a:lnTo>
                  <a:lnTo>
                    <a:pt x="1084" y="51"/>
                  </a:lnTo>
                  <a:lnTo>
                    <a:pt x="1086" y="54"/>
                  </a:lnTo>
                  <a:lnTo>
                    <a:pt x="1086" y="58"/>
                  </a:lnTo>
                  <a:lnTo>
                    <a:pt x="1086" y="60"/>
                  </a:lnTo>
                  <a:lnTo>
                    <a:pt x="1084" y="62"/>
                  </a:lnTo>
                  <a:lnTo>
                    <a:pt x="1082" y="65"/>
                  </a:lnTo>
                  <a:lnTo>
                    <a:pt x="1082" y="66"/>
                  </a:lnTo>
                  <a:lnTo>
                    <a:pt x="1082" y="68"/>
                  </a:lnTo>
                  <a:lnTo>
                    <a:pt x="1081" y="69"/>
                  </a:lnTo>
                  <a:lnTo>
                    <a:pt x="1079" y="69"/>
                  </a:lnTo>
                  <a:lnTo>
                    <a:pt x="1075" y="69"/>
                  </a:lnTo>
                  <a:lnTo>
                    <a:pt x="1073" y="69"/>
                  </a:lnTo>
                  <a:lnTo>
                    <a:pt x="1070" y="69"/>
                  </a:lnTo>
                  <a:lnTo>
                    <a:pt x="1067" y="69"/>
                  </a:lnTo>
                  <a:lnTo>
                    <a:pt x="1063" y="68"/>
                  </a:lnTo>
                  <a:lnTo>
                    <a:pt x="1059" y="67"/>
                  </a:lnTo>
                  <a:lnTo>
                    <a:pt x="1056" y="68"/>
                  </a:lnTo>
                  <a:lnTo>
                    <a:pt x="1054" y="69"/>
                  </a:lnTo>
                  <a:lnTo>
                    <a:pt x="1051" y="73"/>
                  </a:lnTo>
                  <a:lnTo>
                    <a:pt x="1048" y="78"/>
                  </a:lnTo>
                  <a:lnTo>
                    <a:pt x="1044" y="81"/>
                  </a:lnTo>
                  <a:lnTo>
                    <a:pt x="1042" y="83"/>
                  </a:lnTo>
                  <a:lnTo>
                    <a:pt x="1040" y="85"/>
                  </a:lnTo>
                  <a:lnTo>
                    <a:pt x="1035" y="91"/>
                  </a:lnTo>
                  <a:lnTo>
                    <a:pt x="1034" y="93"/>
                  </a:lnTo>
                  <a:lnTo>
                    <a:pt x="1033" y="96"/>
                  </a:lnTo>
                  <a:lnTo>
                    <a:pt x="1033" y="99"/>
                  </a:lnTo>
                  <a:lnTo>
                    <a:pt x="1034" y="104"/>
                  </a:lnTo>
                  <a:lnTo>
                    <a:pt x="1034" y="106"/>
                  </a:lnTo>
                  <a:lnTo>
                    <a:pt x="1034" y="108"/>
                  </a:lnTo>
                  <a:lnTo>
                    <a:pt x="1034" y="112"/>
                  </a:lnTo>
                  <a:lnTo>
                    <a:pt x="1035" y="117"/>
                  </a:lnTo>
                  <a:lnTo>
                    <a:pt x="1035" y="123"/>
                  </a:lnTo>
                  <a:lnTo>
                    <a:pt x="1034" y="125"/>
                  </a:lnTo>
                  <a:lnTo>
                    <a:pt x="1034" y="128"/>
                  </a:lnTo>
                  <a:lnTo>
                    <a:pt x="1033" y="130"/>
                  </a:lnTo>
                  <a:lnTo>
                    <a:pt x="1031" y="130"/>
                  </a:lnTo>
                  <a:lnTo>
                    <a:pt x="1028" y="131"/>
                  </a:lnTo>
                  <a:lnTo>
                    <a:pt x="1027" y="133"/>
                  </a:lnTo>
                  <a:lnTo>
                    <a:pt x="1027" y="136"/>
                  </a:lnTo>
                  <a:lnTo>
                    <a:pt x="1027" y="138"/>
                  </a:lnTo>
                  <a:lnTo>
                    <a:pt x="1027" y="140"/>
                  </a:lnTo>
                  <a:lnTo>
                    <a:pt x="1027" y="141"/>
                  </a:lnTo>
                  <a:lnTo>
                    <a:pt x="1026" y="142"/>
                  </a:lnTo>
                  <a:lnTo>
                    <a:pt x="1024" y="147"/>
                  </a:lnTo>
                  <a:lnTo>
                    <a:pt x="1023" y="149"/>
                  </a:lnTo>
                  <a:lnTo>
                    <a:pt x="1024" y="150"/>
                  </a:lnTo>
                  <a:lnTo>
                    <a:pt x="1025" y="152"/>
                  </a:lnTo>
                  <a:lnTo>
                    <a:pt x="1026" y="152"/>
                  </a:lnTo>
                  <a:lnTo>
                    <a:pt x="1030" y="153"/>
                  </a:lnTo>
                  <a:lnTo>
                    <a:pt x="1032" y="153"/>
                  </a:lnTo>
                  <a:lnTo>
                    <a:pt x="1033" y="155"/>
                  </a:lnTo>
                  <a:lnTo>
                    <a:pt x="1034" y="156"/>
                  </a:lnTo>
                  <a:lnTo>
                    <a:pt x="1034" y="157"/>
                  </a:lnTo>
                  <a:lnTo>
                    <a:pt x="1033" y="158"/>
                  </a:lnTo>
                  <a:lnTo>
                    <a:pt x="1031" y="160"/>
                  </a:lnTo>
                  <a:lnTo>
                    <a:pt x="1030" y="160"/>
                  </a:lnTo>
                  <a:lnTo>
                    <a:pt x="1027" y="161"/>
                  </a:lnTo>
                  <a:lnTo>
                    <a:pt x="1026" y="162"/>
                  </a:lnTo>
                  <a:lnTo>
                    <a:pt x="1025" y="163"/>
                  </a:lnTo>
                  <a:lnTo>
                    <a:pt x="1024" y="165"/>
                  </a:lnTo>
                  <a:lnTo>
                    <a:pt x="1024" y="166"/>
                  </a:lnTo>
                  <a:lnTo>
                    <a:pt x="1022" y="172"/>
                  </a:lnTo>
                  <a:lnTo>
                    <a:pt x="1022" y="173"/>
                  </a:lnTo>
                  <a:lnTo>
                    <a:pt x="1022" y="176"/>
                  </a:lnTo>
                  <a:lnTo>
                    <a:pt x="1022" y="178"/>
                  </a:lnTo>
                  <a:lnTo>
                    <a:pt x="1020" y="180"/>
                  </a:lnTo>
                  <a:lnTo>
                    <a:pt x="1019" y="187"/>
                  </a:lnTo>
                  <a:lnTo>
                    <a:pt x="1018" y="194"/>
                  </a:lnTo>
                  <a:lnTo>
                    <a:pt x="1018" y="196"/>
                  </a:lnTo>
                  <a:lnTo>
                    <a:pt x="1019" y="198"/>
                  </a:lnTo>
                  <a:lnTo>
                    <a:pt x="1019" y="201"/>
                  </a:lnTo>
                  <a:lnTo>
                    <a:pt x="1018" y="202"/>
                  </a:lnTo>
                  <a:lnTo>
                    <a:pt x="1017" y="202"/>
                  </a:lnTo>
                  <a:lnTo>
                    <a:pt x="1015" y="202"/>
                  </a:lnTo>
                  <a:lnTo>
                    <a:pt x="1012" y="203"/>
                  </a:lnTo>
                  <a:lnTo>
                    <a:pt x="1010" y="202"/>
                  </a:lnTo>
                  <a:lnTo>
                    <a:pt x="1008" y="202"/>
                  </a:lnTo>
                  <a:lnTo>
                    <a:pt x="1006" y="202"/>
                  </a:lnTo>
                  <a:lnTo>
                    <a:pt x="1001" y="201"/>
                  </a:lnTo>
                  <a:lnTo>
                    <a:pt x="1000" y="200"/>
                  </a:lnTo>
                  <a:lnTo>
                    <a:pt x="996" y="200"/>
                  </a:lnTo>
                  <a:lnTo>
                    <a:pt x="994" y="200"/>
                  </a:lnTo>
                  <a:lnTo>
                    <a:pt x="992" y="200"/>
                  </a:lnTo>
                  <a:lnTo>
                    <a:pt x="990" y="200"/>
                  </a:lnTo>
                  <a:lnTo>
                    <a:pt x="990" y="197"/>
                  </a:lnTo>
                  <a:lnTo>
                    <a:pt x="988" y="196"/>
                  </a:lnTo>
                  <a:lnTo>
                    <a:pt x="986" y="195"/>
                  </a:lnTo>
                  <a:lnTo>
                    <a:pt x="985" y="196"/>
                  </a:lnTo>
                  <a:lnTo>
                    <a:pt x="984" y="197"/>
                  </a:lnTo>
                  <a:lnTo>
                    <a:pt x="983" y="200"/>
                  </a:lnTo>
                  <a:lnTo>
                    <a:pt x="982" y="202"/>
                  </a:lnTo>
                  <a:lnTo>
                    <a:pt x="980" y="204"/>
                  </a:lnTo>
                  <a:lnTo>
                    <a:pt x="978" y="209"/>
                  </a:lnTo>
                  <a:lnTo>
                    <a:pt x="977" y="211"/>
                  </a:lnTo>
                  <a:lnTo>
                    <a:pt x="975" y="212"/>
                  </a:lnTo>
                  <a:lnTo>
                    <a:pt x="972" y="212"/>
                  </a:lnTo>
                  <a:lnTo>
                    <a:pt x="969" y="212"/>
                  </a:lnTo>
                  <a:lnTo>
                    <a:pt x="967" y="214"/>
                  </a:lnTo>
                  <a:lnTo>
                    <a:pt x="964" y="216"/>
                  </a:lnTo>
                  <a:lnTo>
                    <a:pt x="962" y="218"/>
                  </a:lnTo>
                  <a:lnTo>
                    <a:pt x="956" y="218"/>
                  </a:lnTo>
                  <a:lnTo>
                    <a:pt x="954" y="218"/>
                  </a:lnTo>
                  <a:lnTo>
                    <a:pt x="951" y="218"/>
                  </a:lnTo>
                  <a:lnTo>
                    <a:pt x="948" y="218"/>
                  </a:lnTo>
                  <a:lnTo>
                    <a:pt x="948" y="217"/>
                  </a:lnTo>
                  <a:lnTo>
                    <a:pt x="948" y="216"/>
                  </a:lnTo>
                  <a:lnTo>
                    <a:pt x="950" y="214"/>
                  </a:lnTo>
                  <a:lnTo>
                    <a:pt x="950" y="212"/>
                  </a:lnTo>
                  <a:lnTo>
                    <a:pt x="950" y="211"/>
                  </a:lnTo>
                  <a:lnTo>
                    <a:pt x="948" y="209"/>
                  </a:lnTo>
                  <a:lnTo>
                    <a:pt x="946" y="206"/>
                  </a:lnTo>
                  <a:lnTo>
                    <a:pt x="944" y="205"/>
                  </a:lnTo>
                  <a:lnTo>
                    <a:pt x="942" y="203"/>
                  </a:lnTo>
                  <a:lnTo>
                    <a:pt x="938" y="202"/>
                  </a:lnTo>
                  <a:lnTo>
                    <a:pt x="936" y="202"/>
                  </a:lnTo>
                  <a:lnTo>
                    <a:pt x="934" y="202"/>
                  </a:lnTo>
                  <a:lnTo>
                    <a:pt x="931" y="202"/>
                  </a:lnTo>
                  <a:lnTo>
                    <a:pt x="930" y="203"/>
                  </a:lnTo>
                  <a:lnTo>
                    <a:pt x="929" y="204"/>
                  </a:lnTo>
                  <a:lnTo>
                    <a:pt x="929" y="205"/>
                  </a:lnTo>
                  <a:lnTo>
                    <a:pt x="929" y="208"/>
                  </a:lnTo>
                  <a:lnTo>
                    <a:pt x="929" y="210"/>
                  </a:lnTo>
                  <a:lnTo>
                    <a:pt x="929" y="213"/>
                  </a:lnTo>
                  <a:lnTo>
                    <a:pt x="928" y="214"/>
                  </a:lnTo>
                  <a:lnTo>
                    <a:pt x="924" y="216"/>
                  </a:lnTo>
                  <a:lnTo>
                    <a:pt x="922" y="216"/>
                  </a:lnTo>
                  <a:lnTo>
                    <a:pt x="920" y="214"/>
                  </a:lnTo>
                  <a:lnTo>
                    <a:pt x="918" y="214"/>
                  </a:lnTo>
                  <a:lnTo>
                    <a:pt x="915" y="216"/>
                  </a:lnTo>
                  <a:lnTo>
                    <a:pt x="914" y="217"/>
                  </a:lnTo>
                  <a:lnTo>
                    <a:pt x="912" y="218"/>
                  </a:lnTo>
                  <a:lnTo>
                    <a:pt x="910" y="218"/>
                  </a:lnTo>
                  <a:lnTo>
                    <a:pt x="907" y="217"/>
                  </a:lnTo>
                  <a:lnTo>
                    <a:pt x="905" y="216"/>
                  </a:lnTo>
                  <a:lnTo>
                    <a:pt x="903" y="214"/>
                  </a:lnTo>
                  <a:lnTo>
                    <a:pt x="902" y="213"/>
                  </a:lnTo>
                  <a:lnTo>
                    <a:pt x="899" y="211"/>
                  </a:lnTo>
                  <a:lnTo>
                    <a:pt x="897" y="210"/>
                  </a:lnTo>
                  <a:lnTo>
                    <a:pt x="895" y="209"/>
                  </a:lnTo>
                  <a:lnTo>
                    <a:pt x="892" y="208"/>
                  </a:lnTo>
                  <a:lnTo>
                    <a:pt x="891" y="206"/>
                  </a:lnTo>
                  <a:lnTo>
                    <a:pt x="889" y="206"/>
                  </a:lnTo>
                  <a:lnTo>
                    <a:pt x="888" y="208"/>
                  </a:lnTo>
                  <a:lnTo>
                    <a:pt x="887" y="209"/>
                  </a:lnTo>
                  <a:lnTo>
                    <a:pt x="886" y="211"/>
                  </a:lnTo>
                  <a:lnTo>
                    <a:pt x="886" y="216"/>
                  </a:lnTo>
                  <a:lnTo>
                    <a:pt x="884" y="218"/>
                  </a:lnTo>
                  <a:lnTo>
                    <a:pt x="883" y="219"/>
                  </a:lnTo>
                  <a:lnTo>
                    <a:pt x="880" y="218"/>
                  </a:lnTo>
                  <a:lnTo>
                    <a:pt x="879" y="219"/>
                  </a:lnTo>
                  <a:lnTo>
                    <a:pt x="878" y="220"/>
                  </a:lnTo>
                  <a:lnTo>
                    <a:pt x="879" y="224"/>
                  </a:lnTo>
                  <a:lnTo>
                    <a:pt x="876" y="225"/>
                  </a:lnTo>
                  <a:lnTo>
                    <a:pt x="874" y="227"/>
                  </a:lnTo>
                  <a:lnTo>
                    <a:pt x="873" y="228"/>
                  </a:lnTo>
                  <a:lnTo>
                    <a:pt x="871" y="228"/>
                  </a:lnTo>
                  <a:lnTo>
                    <a:pt x="868" y="228"/>
                  </a:lnTo>
                  <a:lnTo>
                    <a:pt x="866" y="229"/>
                  </a:lnTo>
                  <a:lnTo>
                    <a:pt x="865" y="232"/>
                  </a:lnTo>
                  <a:lnTo>
                    <a:pt x="864" y="234"/>
                  </a:lnTo>
                  <a:lnTo>
                    <a:pt x="865" y="235"/>
                  </a:lnTo>
                  <a:lnTo>
                    <a:pt x="862" y="240"/>
                  </a:lnTo>
                  <a:lnTo>
                    <a:pt x="860" y="241"/>
                  </a:lnTo>
                  <a:lnTo>
                    <a:pt x="860" y="243"/>
                  </a:lnTo>
                  <a:lnTo>
                    <a:pt x="862" y="248"/>
                  </a:lnTo>
                  <a:lnTo>
                    <a:pt x="863" y="250"/>
                  </a:lnTo>
                  <a:lnTo>
                    <a:pt x="863" y="252"/>
                  </a:lnTo>
                  <a:lnTo>
                    <a:pt x="862" y="254"/>
                  </a:lnTo>
                  <a:lnTo>
                    <a:pt x="859" y="254"/>
                  </a:lnTo>
                  <a:lnTo>
                    <a:pt x="856" y="256"/>
                  </a:lnTo>
                  <a:lnTo>
                    <a:pt x="854" y="257"/>
                  </a:lnTo>
                  <a:lnTo>
                    <a:pt x="854" y="259"/>
                  </a:lnTo>
                  <a:lnTo>
                    <a:pt x="855" y="260"/>
                  </a:lnTo>
                  <a:lnTo>
                    <a:pt x="855" y="262"/>
                  </a:lnTo>
                  <a:lnTo>
                    <a:pt x="854" y="264"/>
                  </a:lnTo>
                  <a:lnTo>
                    <a:pt x="852" y="265"/>
                  </a:lnTo>
                  <a:lnTo>
                    <a:pt x="852" y="267"/>
                  </a:lnTo>
                  <a:lnTo>
                    <a:pt x="851" y="269"/>
                  </a:lnTo>
                  <a:lnTo>
                    <a:pt x="851" y="272"/>
                  </a:lnTo>
                  <a:lnTo>
                    <a:pt x="849" y="272"/>
                  </a:lnTo>
                  <a:lnTo>
                    <a:pt x="844" y="270"/>
                  </a:lnTo>
                  <a:lnTo>
                    <a:pt x="842" y="269"/>
                  </a:lnTo>
                  <a:lnTo>
                    <a:pt x="840" y="268"/>
                  </a:lnTo>
                  <a:lnTo>
                    <a:pt x="839" y="267"/>
                  </a:lnTo>
                  <a:lnTo>
                    <a:pt x="836" y="265"/>
                  </a:lnTo>
                  <a:lnTo>
                    <a:pt x="834" y="261"/>
                  </a:lnTo>
                  <a:lnTo>
                    <a:pt x="831" y="259"/>
                  </a:lnTo>
                  <a:lnTo>
                    <a:pt x="828" y="257"/>
                  </a:lnTo>
                  <a:lnTo>
                    <a:pt x="825" y="254"/>
                  </a:lnTo>
                  <a:lnTo>
                    <a:pt x="820" y="251"/>
                  </a:lnTo>
                  <a:lnTo>
                    <a:pt x="818" y="250"/>
                  </a:lnTo>
                  <a:lnTo>
                    <a:pt x="814" y="248"/>
                  </a:lnTo>
                  <a:lnTo>
                    <a:pt x="811" y="248"/>
                  </a:lnTo>
                  <a:lnTo>
                    <a:pt x="809" y="246"/>
                  </a:lnTo>
                  <a:lnTo>
                    <a:pt x="807" y="246"/>
                  </a:lnTo>
                  <a:lnTo>
                    <a:pt x="804" y="245"/>
                  </a:lnTo>
                  <a:lnTo>
                    <a:pt x="803" y="244"/>
                  </a:lnTo>
                  <a:lnTo>
                    <a:pt x="802" y="242"/>
                  </a:lnTo>
                  <a:lnTo>
                    <a:pt x="802" y="241"/>
                  </a:lnTo>
                  <a:lnTo>
                    <a:pt x="803" y="240"/>
                  </a:lnTo>
                  <a:lnTo>
                    <a:pt x="804" y="238"/>
                  </a:lnTo>
                  <a:lnTo>
                    <a:pt x="807" y="236"/>
                  </a:lnTo>
                  <a:lnTo>
                    <a:pt x="810" y="233"/>
                  </a:lnTo>
                  <a:lnTo>
                    <a:pt x="811" y="232"/>
                  </a:lnTo>
                  <a:lnTo>
                    <a:pt x="812" y="230"/>
                  </a:lnTo>
                  <a:lnTo>
                    <a:pt x="812" y="229"/>
                  </a:lnTo>
                  <a:lnTo>
                    <a:pt x="812" y="227"/>
                  </a:lnTo>
                  <a:lnTo>
                    <a:pt x="811" y="226"/>
                  </a:lnTo>
                  <a:lnTo>
                    <a:pt x="810" y="224"/>
                  </a:lnTo>
                  <a:lnTo>
                    <a:pt x="809" y="222"/>
                  </a:lnTo>
                  <a:lnTo>
                    <a:pt x="809" y="220"/>
                  </a:lnTo>
                  <a:lnTo>
                    <a:pt x="809" y="219"/>
                  </a:lnTo>
                  <a:lnTo>
                    <a:pt x="810" y="218"/>
                  </a:lnTo>
                  <a:lnTo>
                    <a:pt x="811" y="217"/>
                  </a:lnTo>
                  <a:lnTo>
                    <a:pt x="811" y="216"/>
                  </a:lnTo>
                  <a:lnTo>
                    <a:pt x="811" y="213"/>
                  </a:lnTo>
                  <a:lnTo>
                    <a:pt x="810" y="213"/>
                  </a:lnTo>
                  <a:lnTo>
                    <a:pt x="810" y="212"/>
                  </a:lnTo>
                  <a:lnTo>
                    <a:pt x="808" y="210"/>
                  </a:lnTo>
                  <a:lnTo>
                    <a:pt x="807" y="210"/>
                  </a:lnTo>
                  <a:lnTo>
                    <a:pt x="806" y="210"/>
                  </a:lnTo>
                  <a:lnTo>
                    <a:pt x="804" y="210"/>
                  </a:lnTo>
                  <a:lnTo>
                    <a:pt x="804" y="212"/>
                  </a:lnTo>
                  <a:lnTo>
                    <a:pt x="803" y="212"/>
                  </a:lnTo>
                  <a:lnTo>
                    <a:pt x="801" y="211"/>
                  </a:lnTo>
                  <a:lnTo>
                    <a:pt x="800" y="210"/>
                  </a:lnTo>
                  <a:lnTo>
                    <a:pt x="799" y="209"/>
                  </a:lnTo>
                  <a:lnTo>
                    <a:pt x="798" y="208"/>
                  </a:lnTo>
                  <a:lnTo>
                    <a:pt x="796" y="208"/>
                  </a:lnTo>
                  <a:lnTo>
                    <a:pt x="795" y="209"/>
                  </a:lnTo>
                  <a:lnTo>
                    <a:pt x="795" y="210"/>
                  </a:lnTo>
                  <a:lnTo>
                    <a:pt x="793" y="212"/>
                  </a:lnTo>
                  <a:lnTo>
                    <a:pt x="792" y="213"/>
                  </a:lnTo>
                  <a:lnTo>
                    <a:pt x="791" y="213"/>
                  </a:lnTo>
                  <a:lnTo>
                    <a:pt x="788" y="214"/>
                  </a:lnTo>
                  <a:lnTo>
                    <a:pt x="786" y="214"/>
                  </a:lnTo>
                  <a:lnTo>
                    <a:pt x="784" y="214"/>
                  </a:lnTo>
                  <a:lnTo>
                    <a:pt x="782" y="214"/>
                  </a:lnTo>
                  <a:lnTo>
                    <a:pt x="779" y="214"/>
                  </a:lnTo>
                  <a:lnTo>
                    <a:pt x="778" y="213"/>
                  </a:lnTo>
                  <a:lnTo>
                    <a:pt x="776" y="211"/>
                  </a:lnTo>
                  <a:lnTo>
                    <a:pt x="775" y="209"/>
                  </a:lnTo>
                  <a:lnTo>
                    <a:pt x="774" y="209"/>
                  </a:lnTo>
                  <a:lnTo>
                    <a:pt x="771" y="208"/>
                  </a:lnTo>
                  <a:lnTo>
                    <a:pt x="770" y="205"/>
                  </a:lnTo>
                  <a:lnTo>
                    <a:pt x="768" y="204"/>
                  </a:lnTo>
                  <a:lnTo>
                    <a:pt x="767" y="203"/>
                  </a:lnTo>
                  <a:lnTo>
                    <a:pt x="767" y="201"/>
                  </a:lnTo>
                  <a:lnTo>
                    <a:pt x="767" y="198"/>
                  </a:lnTo>
                  <a:lnTo>
                    <a:pt x="767" y="196"/>
                  </a:lnTo>
                  <a:lnTo>
                    <a:pt x="768" y="194"/>
                  </a:lnTo>
                  <a:lnTo>
                    <a:pt x="769" y="192"/>
                  </a:lnTo>
                  <a:lnTo>
                    <a:pt x="769" y="189"/>
                  </a:lnTo>
                  <a:lnTo>
                    <a:pt x="770" y="187"/>
                  </a:lnTo>
                  <a:lnTo>
                    <a:pt x="771" y="184"/>
                  </a:lnTo>
                  <a:lnTo>
                    <a:pt x="770" y="180"/>
                  </a:lnTo>
                  <a:lnTo>
                    <a:pt x="769" y="178"/>
                  </a:lnTo>
                  <a:lnTo>
                    <a:pt x="767" y="177"/>
                  </a:lnTo>
                  <a:lnTo>
                    <a:pt x="766" y="176"/>
                  </a:lnTo>
                  <a:lnTo>
                    <a:pt x="763" y="174"/>
                  </a:lnTo>
                  <a:lnTo>
                    <a:pt x="762" y="173"/>
                  </a:lnTo>
                  <a:lnTo>
                    <a:pt x="759" y="171"/>
                  </a:lnTo>
                  <a:lnTo>
                    <a:pt x="758" y="171"/>
                  </a:lnTo>
                  <a:lnTo>
                    <a:pt x="755" y="170"/>
                  </a:lnTo>
                  <a:lnTo>
                    <a:pt x="753" y="170"/>
                  </a:lnTo>
                  <a:lnTo>
                    <a:pt x="752" y="170"/>
                  </a:lnTo>
                  <a:lnTo>
                    <a:pt x="750" y="170"/>
                  </a:lnTo>
                  <a:lnTo>
                    <a:pt x="747" y="170"/>
                  </a:lnTo>
                  <a:lnTo>
                    <a:pt x="745" y="169"/>
                  </a:lnTo>
                  <a:lnTo>
                    <a:pt x="744" y="168"/>
                  </a:lnTo>
                  <a:lnTo>
                    <a:pt x="740" y="165"/>
                  </a:lnTo>
                  <a:lnTo>
                    <a:pt x="739" y="165"/>
                  </a:lnTo>
                  <a:lnTo>
                    <a:pt x="737" y="166"/>
                  </a:lnTo>
                  <a:lnTo>
                    <a:pt x="735" y="166"/>
                  </a:lnTo>
                  <a:lnTo>
                    <a:pt x="732" y="168"/>
                  </a:lnTo>
                  <a:lnTo>
                    <a:pt x="730" y="169"/>
                  </a:lnTo>
                  <a:lnTo>
                    <a:pt x="728" y="170"/>
                  </a:lnTo>
                  <a:lnTo>
                    <a:pt x="727" y="171"/>
                  </a:lnTo>
                  <a:lnTo>
                    <a:pt x="724" y="171"/>
                  </a:lnTo>
                  <a:lnTo>
                    <a:pt x="722" y="170"/>
                  </a:lnTo>
                  <a:lnTo>
                    <a:pt x="720" y="170"/>
                  </a:lnTo>
                  <a:lnTo>
                    <a:pt x="716" y="170"/>
                  </a:lnTo>
                  <a:lnTo>
                    <a:pt x="713" y="169"/>
                  </a:lnTo>
                  <a:lnTo>
                    <a:pt x="711" y="166"/>
                  </a:lnTo>
                  <a:lnTo>
                    <a:pt x="708" y="164"/>
                  </a:lnTo>
                  <a:lnTo>
                    <a:pt x="706" y="162"/>
                  </a:lnTo>
                  <a:lnTo>
                    <a:pt x="704" y="161"/>
                  </a:lnTo>
                  <a:lnTo>
                    <a:pt x="700" y="158"/>
                  </a:lnTo>
                  <a:lnTo>
                    <a:pt x="699" y="156"/>
                  </a:lnTo>
                  <a:lnTo>
                    <a:pt x="696" y="154"/>
                  </a:lnTo>
                  <a:lnTo>
                    <a:pt x="694" y="153"/>
                  </a:lnTo>
                  <a:lnTo>
                    <a:pt x="691" y="153"/>
                  </a:lnTo>
                  <a:lnTo>
                    <a:pt x="689" y="153"/>
                  </a:lnTo>
                  <a:lnTo>
                    <a:pt x="686" y="153"/>
                  </a:lnTo>
                  <a:lnTo>
                    <a:pt x="683" y="153"/>
                  </a:lnTo>
                  <a:lnTo>
                    <a:pt x="680" y="153"/>
                  </a:lnTo>
                  <a:lnTo>
                    <a:pt x="679" y="152"/>
                  </a:lnTo>
                  <a:lnTo>
                    <a:pt x="676" y="150"/>
                  </a:lnTo>
                  <a:lnTo>
                    <a:pt x="674" y="150"/>
                  </a:lnTo>
                  <a:lnTo>
                    <a:pt x="672" y="149"/>
                  </a:lnTo>
                  <a:lnTo>
                    <a:pt x="668" y="149"/>
                  </a:lnTo>
                  <a:lnTo>
                    <a:pt x="666" y="148"/>
                  </a:lnTo>
                  <a:lnTo>
                    <a:pt x="664" y="148"/>
                  </a:lnTo>
                  <a:lnTo>
                    <a:pt x="662" y="148"/>
                  </a:lnTo>
                  <a:lnTo>
                    <a:pt x="659" y="149"/>
                  </a:lnTo>
                  <a:lnTo>
                    <a:pt x="656" y="152"/>
                  </a:lnTo>
                  <a:lnTo>
                    <a:pt x="655" y="154"/>
                  </a:lnTo>
                  <a:lnTo>
                    <a:pt x="655" y="156"/>
                  </a:lnTo>
                  <a:lnTo>
                    <a:pt x="654" y="158"/>
                  </a:lnTo>
                  <a:lnTo>
                    <a:pt x="654" y="161"/>
                  </a:lnTo>
                  <a:lnTo>
                    <a:pt x="655" y="163"/>
                  </a:lnTo>
                  <a:lnTo>
                    <a:pt x="655" y="165"/>
                  </a:lnTo>
                  <a:lnTo>
                    <a:pt x="655" y="168"/>
                  </a:lnTo>
                  <a:lnTo>
                    <a:pt x="656" y="170"/>
                  </a:lnTo>
                  <a:lnTo>
                    <a:pt x="655" y="173"/>
                  </a:lnTo>
                  <a:lnTo>
                    <a:pt x="652" y="176"/>
                  </a:lnTo>
                  <a:lnTo>
                    <a:pt x="650" y="178"/>
                  </a:lnTo>
                  <a:lnTo>
                    <a:pt x="649" y="179"/>
                  </a:lnTo>
                  <a:lnTo>
                    <a:pt x="646" y="184"/>
                  </a:lnTo>
                  <a:lnTo>
                    <a:pt x="643" y="185"/>
                  </a:lnTo>
                  <a:lnTo>
                    <a:pt x="642" y="186"/>
                  </a:lnTo>
                  <a:lnTo>
                    <a:pt x="640" y="187"/>
                  </a:lnTo>
                  <a:lnTo>
                    <a:pt x="640" y="189"/>
                  </a:lnTo>
                  <a:lnTo>
                    <a:pt x="640" y="192"/>
                  </a:lnTo>
                  <a:lnTo>
                    <a:pt x="640" y="193"/>
                  </a:lnTo>
                  <a:lnTo>
                    <a:pt x="640" y="195"/>
                  </a:lnTo>
                  <a:lnTo>
                    <a:pt x="641" y="197"/>
                  </a:lnTo>
                  <a:lnTo>
                    <a:pt x="641" y="200"/>
                  </a:lnTo>
                  <a:lnTo>
                    <a:pt x="642" y="202"/>
                  </a:lnTo>
                  <a:lnTo>
                    <a:pt x="642" y="206"/>
                  </a:lnTo>
                  <a:lnTo>
                    <a:pt x="641" y="210"/>
                  </a:lnTo>
                  <a:lnTo>
                    <a:pt x="640" y="212"/>
                  </a:lnTo>
                  <a:lnTo>
                    <a:pt x="639" y="214"/>
                  </a:lnTo>
                  <a:lnTo>
                    <a:pt x="636" y="214"/>
                  </a:lnTo>
                  <a:lnTo>
                    <a:pt x="633" y="214"/>
                  </a:lnTo>
                  <a:lnTo>
                    <a:pt x="630" y="214"/>
                  </a:lnTo>
                  <a:lnTo>
                    <a:pt x="627" y="214"/>
                  </a:lnTo>
                  <a:lnTo>
                    <a:pt x="625" y="213"/>
                  </a:lnTo>
                  <a:lnTo>
                    <a:pt x="623" y="213"/>
                  </a:lnTo>
                  <a:lnTo>
                    <a:pt x="620" y="213"/>
                  </a:lnTo>
                  <a:lnTo>
                    <a:pt x="619" y="214"/>
                  </a:lnTo>
                  <a:lnTo>
                    <a:pt x="616" y="216"/>
                  </a:lnTo>
                  <a:lnTo>
                    <a:pt x="615" y="217"/>
                  </a:lnTo>
                  <a:lnTo>
                    <a:pt x="614" y="219"/>
                  </a:lnTo>
                  <a:lnTo>
                    <a:pt x="611" y="220"/>
                  </a:lnTo>
                  <a:lnTo>
                    <a:pt x="610" y="221"/>
                  </a:lnTo>
                  <a:lnTo>
                    <a:pt x="607" y="222"/>
                  </a:lnTo>
                  <a:lnTo>
                    <a:pt x="606" y="224"/>
                  </a:lnTo>
                  <a:lnTo>
                    <a:pt x="603" y="226"/>
                  </a:lnTo>
                  <a:lnTo>
                    <a:pt x="602" y="226"/>
                  </a:lnTo>
                  <a:lnTo>
                    <a:pt x="600" y="226"/>
                  </a:lnTo>
                  <a:lnTo>
                    <a:pt x="596" y="226"/>
                  </a:lnTo>
                  <a:lnTo>
                    <a:pt x="595" y="225"/>
                  </a:lnTo>
                  <a:lnTo>
                    <a:pt x="591" y="224"/>
                  </a:lnTo>
                  <a:lnTo>
                    <a:pt x="588" y="222"/>
                  </a:lnTo>
                  <a:lnTo>
                    <a:pt x="585" y="222"/>
                  </a:lnTo>
                  <a:lnTo>
                    <a:pt x="583" y="222"/>
                  </a:lnTo>
                  <a:lnTo>
                    <a:pt x="577" y="222"/>
                  </a:lnTo>
                  <a:lnTo>
                    <a:pt x="575" y="221"/>
                  </a:lnTo>
                  <a:lnTo>
                    <a:pt x="571" y="221"/>
                  </a:lnTo>
                  <a:lnTo>
                    <a:pt x="569" y="221"/>
                  </a:lnTo>
                  <a:lnTo>
                    <a:pt x="568" y="220"/>
                  </a:lnTo>
                  <a:lnTo>
                    <a:pt x="566" y="219"/>
                  </a:lnTo>
                  <a:lnTo>
                    <a:pt x="562" y="219"/>
                  </a:lnTo>
                  <a:lnTo>
                    <a:pt x="561" y="220"/>
                  </a:lnTo>
                  <a:lnTo>
                    <a:pt x="560" y="221"/>
                  </a:lnTo>
                  <a:lnTo>
                    <a:pt x="561" y="222"/>
                  </a:lnTo>
                  <a:lnTo>
                    <a:pt x="561" y="224"/>
                  </a:lnTo>
                  <a:lnTo>
                    <a:pt x="562" y="225"/>
                  </a:lnTo>
                  <a:lnTo>
                    <a:pt x="564" y="225"/>
                  </a:lnTo>
                  <a:lnTo>
                    <a:pt x="564" y="226"/>
                  </a:lnTo>
                  <a:lnTo>
                    <a:pt x="563" y="227"/>
                  </a:lnTo>
                  <a:lnTo>
                    <a:pt x="562" y="228"/>
                  </a:lnTo>
                  <a:lnTo>
                    <a:pt x="560" y="229"/>
                  </a:lnTo>
                  <a:lnTo>
                    <a:pt x="556" y="229"/>
                  </a:lnTo>
                  <a:lnTo>
                    <a:pt x="553" y="230"/>
                  </a:lnTo>
                  <a:lnTo>
                    <a:pt x="551" y="230"/>
                  </a:lnTo>
                  <a:lnTo>
                    <a:pt x="548" y="230"/>
                  </a:lnTo>
                  <a:lnTo>
                    <a:pt x="547" y="230"/>
                  </a:lnTo>
                  <a:lnTo>
                    <a:pt x="545" y="229"/>
                  </a:lnTo>
                  <a:lnTo>
                    <a:pt x="542" y="229"/>
                  </a:lnTo>
                  <a:lnTo>
                    <a:pt x="539" y="228"/>
                  </a:lnTo>
                  <a:lnTo>
                    <a:pt x="536" y="228"/>
                  </a:lnTo>
                  <a:lnTo>
                    <a:pt x="534" y="229"/>
                  </a:lnTo>
                  <a:lnTo>
                    <a:pt x="531" y="230"/>
                  </a:lnTo>
                  <a:lnTo>
                    <a:pt x="530" y="232"/>
                  </a:lnTo>
                  <a:lnTo>
                    <a:pt x="529" y="233"/>
                  </a:lnTo>
                  <a:lnTo>
                    <a:pt x="528" y="235"/>
                  </a:lnTo>
                  <a:lnTo>
                    <a:pt x="526" y="237"/>
                  </a:lnTo>
                  <a:lnTo>
                    <a:pt x="522" y="240"/>
                  </a:lnTo>
                  <a:lnTo>
                    <a:pt x="519" y="242"/>
                  </a:lnTo>
                  <a:lnTo>
                    <a:pt x="516" y="243"/>
                  </a:lnTo>
                  <a:lnTo>
                    <a:pt x="514" y="244"/>
                  </a:lnTo>
                  <a:lnTo>
                    <a:pt x="512" y="244"/>
                  </a:lnTo>
                  <a:lnTo>
                    <a:pt x="511" y="243"/>
                  </a:lnTo>
                  <a:lnTo>
                    <a:pt x="508" y="243"/>
                  </a:lnTo>
                  <a:lnTo>
                    <a:pt x="505" y="244"/>
                  </a:lnTo>
                  <a:lnTo>
                    <a:pt x="503" y="244"/>
                  </a:lnTo>
                  <a:lnTo>
                    <a:pt x="502" y="245"/>
                  </a:lnTo>
                  <a:lnTo>
                    <a:pt x="500" y="246"/>
                  </a:lnTo>
                  <a:lnTo>
                    <a:pt x="500" y="248"/>
                  </a:lnTo>
                  <a:lnTo>
                    <a:pt x="500" y="250"/>
                  </a:lnTo>
                  <a:lnTo>
                    <a:pt x="502" y="251"/>
                  </a:lnTo>
                  <a:lnTo>
                    <a:pt x="503" y="252"/>
                  </a:lnTo>
                  <a:lnTo>
                    <a:pt x="503" y="254"/>
                  </a:lnTo>
                  <a:lnTo>
                    <a:pt x="502" y="256"/>
                  </a:lnTo>
                  <a:lnTo>
                    <a:pt x="500" y="257"/>
                  </a:lnTo>
                  <a:lnTo>
                    <a:pt x="498" y="258"/>
                  </a:lnTo>
                  <a:lnTo>
                    <a:pt x="496" y="259"/>
                  </a:lnTo>
                  <a:lnTo>
                    <a:pt x="495" y="260"/>
                  </a:lnTo>
                  <a:lnTo>
                    <a:pt x="492" y="261"/>
                  </a:lnTo>
                  <a:lnTo>
                    <a:pt x="490" y="262"/>
                  </a:lnTo>
                  <a:lnTo>
                    <a:pt x="490" y="264"/>
                  </a:lnTo>
                  <a:lnTo>
                    <a:pt x="489" y="266"/>
                  </a:lnTo>
                  <a:lnTo>
                    <a:pt x="488" y="267"/>
                  </a:lnTo>
                  <a:lnTo>
                    <a:pt x="488" y="268"/>
                  </a:lnTo>
                  <a:lnTo>
                    <a:pt x="488" y="270"/>
                  </a:lnTo>
                  <a:lnTo>
                    <a:pt x="486" y="272"/>
                  </a:lnTo>
                  <a:lnTo>
                    <a:pt x="483" y="272"/>
                  </a:lnTo>
                  <a:lnTo>
                    <a:pt x="482" y="270"/>
                  </a:lnTo>
                  <a:lnTo>
                    <a:pt x="481" y="269"/>
                  </a:lnTo>
                  <a:lnTo>
                    <a:pt x="481" y="268"/>
                  </a:lnTo>
                  <a:lnTo>
                    <a:pt x="481" y="266"/>
                  </a:lnTo>
                  <a:lnTo>
                    <a:pt x="481" y="262"/>
                  </a:lnTo>
                  <a:lnTo>
                    <a:pt x="481" y="259"/>
                  </a:lnTo>
                  <a:lnTo>
                    <a:pt x="481" y="257"/>
                  </a:lnTo>
                  <a:lnTo>
                    <a:pt x="480" y="256"/>
                  </a:lnTo>
                  <a:lnTo>
                    <a:pt x="479" y="254"/>
                  </a:lnTo>
                  <a:lnTo>
                    <a:pt x="476" y="254"/>
                  </a:lnTo>
                  <a:lnTo>
                    <a:pt x="474" y="256"/>
                  </a:lnTo>
                  <a:lnTo>
                    <a:pt x="473" y="260"/>
                  </a:lnTo>
                  <a:lnTo>
                    <a:pt x="472" y="260"/>
                  </a:lnTo>
                  <a:lnTo>
                    <a:pt x="470" y="259"/>
                  </a:lnTo>
                  <a:lnTo>
                    <a:pt x="466" y="259"/>
                  </a:lnTo>
                  <a:lnTo>
                    <a:pt x="464" y="260"/>
                  </a:lnTo>
                  <a:lnTo>
                    <a:pt x="462" y="261"/>
                  </a:lnTo>
                  <a:lnTo>
                    <a:pt x="460" y="262"/>
                  </a:lnTo>
                  <a:lnTo>
                    <a:pt x="456" y="266"/>
                  </a:lnTo>
                  <a:lnTo>
                    <a:pt x="454" y="268"/>
                  </a:lnTo>
                  <a:lnTo>
                    <a:pt x="452" y="272"/>
                  </a:lnTo>
                  <a:lnTo>
                    <a:pt x="450" y="272"/>
                  </a:lnTo>
                  <a:lnTo>
                    <a:pt x="448" y="270"/>
                  </a:lnTo>
                  <a:lnTo>
                    <a:pt x="443" y="269"/>
                  </a:lnTo>
                  <a:lnTo>
                    <a:pt x="441" y="269"/>
                  </a:lnTo>
                  <a:lnTo>
                    <a:pt x="439" y="268"/>
                  </a:lnTo>
                  <a:lnTo>
                    <a:pt x="435" y="268"/>
                  </a:lnTo>
                  <a:lnTo>
                    <a:pt x="432" y="268"/>
                  </a:lnTo>
                  <a:lnTo>
                    <a:pt x="431" y="268"/>
                  </a:lnTo>
                  <a:lnTo>
                    <a:pt x="427" y="264"/>
                  </a:lnTo>
                  <a:lnTo>
                    <a:pt x="426" y="260"/>
                  </a:lnTo>
                  <a:lnTo>
                    <a:pt x="425" y="257"/>
                  </a:lnTo>
                  <a:lnTo>
                    <a:pt x="425" y="253"/>
                  </a:lnTo>
                  <a:lnTo>
                    <a:pt x="425" y="252"/>
                  </a:lnTo>
                  <a:lnTo>
                    <a:pt x="425" y="250"/>
                  </a:lnTo>
                  <a:lnTo>
                    <a:pt x="422" y="246"/>
                  </a:lnTo>
                  <a:lnTo>
                    <a:pt x="420" y="246"/>
                  </a:lnTo>
                  <a:lnTo>
                    <a:pt x="418" y="248"/>
                  </a:lnTo>
                  <a:lnTo>
                    <a:pt x="415" y="248"/>
                  </a:lnTo>
                  <a:lnTo>
                    <a:pt x="411" y="248"/>
                  </a:lnTo>
                  <a:lnTo>
                    <a:pt x="410" y="248"/>
                  </a:lnTo>
                  <a:lnTo>
                    <a:pt x="409" y="246"/>
                  </a:lnTo>
                  <a:lnTo>
                    <a:pt x="408" y="244"/>
                  </a:lnTo>
                  <a:lnTo>
                    <a:pt x="408" y="243"/>
                  </a:lnTo>
                  <a:lnTo>
                    <a:pt x="409" y="241"/>
                  </a:lnTo>
                  <a:lnTo>
                    <a:pt x="410" y="238"/>
                  </a:lnTo>
                  <a:lnTo>
                    <a:pt x="411" y="235"/>
                  </a:lnTo>
                  <a:lnTo>
                    <a:pt x="411" y="234"/>
                  </a:lnTo>
                  <a:lnTo>
                    <a:pt x="411" y="232"/>
                  </a:lnTo>
                  <a:lnTo>
                    <a:pt x="411" y="230"/>
                  </a:lnTo>
                  <a:lnTo>
                    <a:pt x="410" y="228"/>
                  </a:lnTo>
                  <a:lnTo>
                    <a:pt x="409" y="227"/>
                  </a:lnTo>
                  <a:lnTo>
                    <a:pt x="408" y="226"/>
                  </a:lnTo>
                  <a:lnTo>
                    <a:pt x="406" y="226"/>
                  </a:lnTo>
                  <a:lnTo>
                    <a:pt x="403" y="226"/>
                  </a:lnTo>
                  <a:lnTo>
                    <a:pt x="402" y="226"/>
                  </a:lnTo>
                  <a:lnTo>
                    <a:pt x="401" y="226"/>
                  </a:lnTo>
                  <a:lnTo>
                    <a:pt x="399" y="226"/>
                  </a:lnTo>
                  <a:lnTo>
                    <a:pt x="398" y="227"/>
                  </a:lnTo>
                  <a:lnTo>
                    <a:pt x="396" y="229"/>
                  </a:lnTo>
                  <a:lnTo>
                    <a:pt x="396" y="230"/>
                  </a:lnTo>
                  <a:lnTo>
                    <a:pt x="396" y="232"/>
                  </a:lnTo>
                  <a:lnTo>
                    <a:pt x="395" y="233"/>
                  </a:lnTo>
                  <a:lnTo>
                    <a:pt x="393" y="234"/>
                  </a:lnTo>
                  <a:lnTo>
                    <a:pt x="392" y="233"/>
                  </a:lnTo>
                  <a:lnTo>
                    <a:pt x="390" y="237"/>
                  </a:lnTo>
                  <a:lnTo>
                    <a:pt x="388" y="238"/>
                  </a:lnTo>
                  <a:lnTo>
                    <a:pt x="387" y="240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2" y="241"/>
                  </a:lnTo>
                  <a:lnTo>
                    <a:pt x="380" y="240"/>
                  </a:lnTo>
                  <a:lnTo>
                    <a:pt x="379" y="240"/>
                  </a:lnTo>
                  <a:lnTo>
                    <a:pt x="378" y="240"/>
                  </a:lnTo>
                  <a:lnTo>
                    <a:pt x="376" y="240"/>
                  </a:lnTo>
                  <a:lnTo>
                    <a:pt x="374" y="241"/>
                  </a:lnTo>
                  <a:lnTo>
                    <a:pt x="372" y="242"/>
                  </a:lnTo>
                  <a:lnTo>
                    <a:pt x="371" y="244"/>
                  </a:lnTo>
                  <a:lnTo>
                    <a:pt x="370" y="245"/>
                  </a:lnTo>
                  <a:lnTo>
                    <a:pt x="368" y="249"/>
                  </a:lnTo>
                  <a:lnTo>
                    <a:pt x="366" y="251"/>
                  </a:lnTo>
                  <a:lnTo>
                    <a:pt x="366" y="256"/>
                  </a:lnTo>
                  <a:lnTo>
                    <a:pt x="367" y="257"/>
                  </a:lnTo>
                  <a:lnTo>
                    <a:pt x="367" y="259"/>
                  </a:lnTo>
                  <a:lnTo>
                    <a:pt x="366" y="261"/>
                  </a:lnTo>
                  <a:lnTo>
                    <a:pt x="363" y="261"/>
                  </a:lnTo>
                  <a:lnTo>
                    <a:pt x="362" y="260"/>
                  </a:lnTo>
                  <a:lnTo>
                    <a:pt x="361" y="259"/>
                  </a:lnTo>
                  <a:lnTo>
                    <a:pt x="360" y="259"/>
                  </a:lnTo>
                  <a:lnTo>
                    <a:pt x="354" y="260"/>
                  </a:lnTo>
                  <a:lnTo>
                    <a:pt x="352" y="260"/>
                  </a:lnTo>
                  <a:lnTo>
                    <a:pt x="350" y="260"/>
                  </a:lnTo>
                  <a:lnTo>
                    <a:pt x="348" y="259"/>
                  </a:lnTo>
                  <a:lnTo>
                    <a:pt x="346" y="258"/>
                  </a:lnTo>
                  <a:lnTo>
                    <a:pt x="346" y="257"/>
                  </a:lnTo>
                  <a:lnTo>
                    <a:pt x="346" y="256"/>
                  </a:lnTo>
                  <a:lnTo>
                    <a:pt x="345" y="253"/>
                  </a:lnTo>
                  <a:lnTo>
                    <a:pt x="344" y="252"/>
                  </a:lnTo>
                  <a:lnTo>
                    <a:pt x="343" y="252"/>
                  </a:lnTo>
                  <a:lnTo>
                    <a:pt x="342" y="253"/>
                  </a:lnTo>
                  <a:lnTo>
                    <a:pt x="340" y="254"/>
                  </a:lnTo>
                  <a:lnTo>
                    <a:pt x="339" y="257"/>
                  </a:lnTo>
                  <a:lnTo>
                    <a:pt x="339" y="258"/>
                  </a:lnTo>
                  <a:lnTo>
                    <a:pt x="338" y="259"/>
                  </a:lnTo>
                  <a:lnTo>
                    <a:pt x="338" y="260"/>
                  </a:lnTo>
                  <a:lnTo>
                    <a:pt x="337" y="260"/>
                  </a:lnTo>
                  <a:lnTo>
                    <a:pt x="336" y="261"/>
                  </a:lnTo>
                  <a:lnTo>
                    <a:pt x="335" y="262"/>
                  </a:lnTo>
                  <a:lnTo>
                    <a:pt x="334" y="265"/>
                  </a:lnTo>
                  <a:lnTo>
                    <a:pt x="334" y="266"/>
                  </a:lnTo>
                  <a:lnTo>
                    <a:pt x="330" y="268"/>
                  </a:lnTo>
                  <a:lnTo>
                    <a:pt x="328" y="269"/>
                  </a:lnTo>
                  <a:lnTo>
                    <a:pt x="326" y="270"/>
                  </a:lnTo>
                  <a:lnTo>
                    <a:pt x="323" y="273"/>
                  </a:lnTo>
                  <a:lnTo>
                    <a:pt x="323" y="275"/>
                  </a:lnTo>
                  <a:lnTo>
                    <a:pt x="324" y="278"/>
                  </a:lnTo>
                  <a:lnTo>
                    <a:pt x="323" y="280"/>
                  </a:lnTo>
                  <a:lnTo>
                    <a:pt x="321" y="281"/>
                  </a:lnTo>
                  <a:lnTo>
                    <a:pt x="321" y="282"/>
                  </a:lnTo>
                  <a:lnTo>
                    <a:pt x="321" y="284"/>
                  </a:lnTo>
                  <a:lnTo>
                    <a:pt x="321" y="286"/>
                  </a:lnTo>
                  <a:lnTo>
                    <a:pt x="321" y="288"/>
                  </a:lnTo>
                  <a:lnTo>
                    <a:pt x="321" y="289"/>
                  </a:lnTo>
                  <a:lnTo>
                    <a:pt x="321" y="291"/>
                  </a:lnTo>
                  <a:lnTo>
                    <a:pt x="320" y="291"/>
                  </a:lnTo>
                  <a:lnTo>
                    <a:pt x="318" y="291"/>
                  </a:lnTo>
                  <a:lnTo>
                    <a:pt x="316" y="289"/>
                  </a:lnTo>
                  <a:lnTo>
                    <a:pt x="315" y="289"/>
                  </a:lnTo>
                  <a:lnTo>
                    <a:pt x="314" y="288"/>
                  </a:lnTo>
                  <a:lnTo>
                    <a:pt x="314" y="286"/>
                  </a:lnTo>
                  <a:lnTo>
                    <a:pt x="314" y="285"/>
                  </a:lnTo>
                  <a:lnTo>
                    <a:pt x="315" y="283"/>
                  </a:lnTo>
                  <a:lnTo>
                    <a:pt x="314" y="281"/>
                  </a:lnTo>
                  <a:lnTo>
                    <a:pt x="313" y="281"/>
                  </a:lnTo>
                  <a:lnTo>
                    <a:pt x="311" y="278"/>
                  </a:lnTo>
                  <a:lnTo>
                    <a:pt x="310" y="278"/>
                  </a:lnTo>
                  <a:lnTo>
                    <a:pt x="307" y="278"/>
                  </a:lnTo>
                  <a:lnTo>
                    <a:pt x="305" y="277"/>
                  </a:lnTo>
                  <a:lnTo>
                    <a:pt x="303" y="275"/>
                  </a:lnTo>
                  <a:lnTo>
                    <a:pt x="302" y="273"/>
                  </a:lnTo>
                  <a:lnTo>
                    <a:pt x="299" y="269"/>
                  </a:lnTo>
                  <a:lnTo>
                    <a:pt x="297" y="267"/>
                  </a:lnTo>
                  <a:lnTo>
                    <a:pt x="295" y="265"/>
                  </a:lnTo>
                  <a:lnTo>
                    <a:pt x="294" y="264"/>
                  </a:lnTo>
                  <a:lnTo>
                    <a:pt x="292" y="264"/>
                  </a:lnTo>
                  <a:lnTo>
                    <a:pt x="290" y="262"/>
                  </a:lnTo>
                  <a:lnTo>
                    <a:pt x="289" y="261"/>
                  </a:lnTo>
                  <a:lnTo>
                    <a:pt x="287" y="261"/>
                  </a:lnTo>
                  <a:lnTo>
                    <a:pt x="284" y="260"/>
                  </a:lnTo>
                  <a:lnTo>
                    <a:pt x="282" y="259"/>
                  </a:lnTo>
                  <a:lnTo>
                    <a:pt x="280" y="257"/>
                  </a:lnTo>
                  <a:lnTo>
                    <a:pt x="280" y="254"/>
                  </a:lnTo>
                  <a:lnTo>
                    <a:pt x="279" y="253"/>
                  </a:lnTo>
                  <a:lnTo>
                    <a:pt x="278" y="251"/>
                  </a:lnTo>
                  <a:lnTo>
                    <a:pt x="276" y="250"/>
                  </a:lnTo>
                  <a:lnTo>
                    <a:pt x="275" y="249"/>
                  </a:lnTo>
                  <a:lnTo>
                    <a:pt x="274" y="248"/>
                  </a:lnTo>
                  <a:lnTo>
                    <a:pt x="272" y="246"/>
                  </a:lnTo>
                  <a:lnTo>
                    <a:pt x="271" y="245"/>
                  </a:lnTo>
                  <a:lnTo>
                    <a:pt x="267" y="244"/>
                  </a:lnTo>
                  <a:lnTo>
                    <a:pt x="265" y="243"/>
                  </a:lnTo>
                  <a:lnTo>
                    <a:pt x="264" y="242"/>
                  </a:lnTo>
                  <a:lnTo>
                    <a:pt x="264" y="240"/>
                  </a:lnTo>
                  <a:lnTo>
                    <a:pt x="265" y="238"/>
                  </a:lnTo>
                  <a:lnTo>
                    <a:pt x="267" y="238"/>
                  </a:lnTo>
                  <a:lnTo>
                    <a:pt x="270" y="238"/>
                  </a:lnTo>
                  <a:lnTo>
                    <a:pt x="272" y="236"/>
                  </a:lnTo>
                  <a:lnTo>
                    <a:pt x="273" y="232"/>
                  </a:lnTo>
                  <a:lnTo>
                    <a:pt x="272" y="230"/>
                  </a:lnTo>
                  <a:lnTo>
                    <a:pt x="271" y="229"/>
                  </a:lnTo>
                  <a:lnTo>
                    <a:pt x="268" y="228"/>
                  </a:lnTo>
                  <a:lnTo>
                    <a:pt x="267" y="226"/>
                  </a:lnTo>
                  <a:lnTo>
                    <a:pt x="266" y="225"/>
                  </a:lnTo>
                  <a:lnTo>
                    <a:pt x="266" y="222"/>
                  </a:lnTo>
                  <a:lnTo>
                    <a:pt x="266" y="220"/>
                  </a:lnTo>
                  <a:lnTo>
                    <a:pt x="266" y="218"/>
                  </a:lnTo>
                  <a:lnTo>
                    <a:pt x="266" y="216"/>
                  </a:lnTo>
                  <a:lnTo>
                    <a:pt x="266" y="212"/>
                  </a:lnTo>
                  <a:lnTo>
                    <a:pt x="265" y="211"/>
                  </a:lnTo>
                  <a:lnTo>
                    <a:pt x="264" y="210"/>
                  </a:lnTo>
                  <a:lnTo>
                    <a:pt x="262" y="211"/>
                  </a:lnTo>
                  <a:lnTo>
                    <a:pt x="259" y="211"/>
                  </a:lnTo>
                  <a:lnTo>
                    <a:pt x="257" y="212"/>
                  </a:lnTo>
                  <a:lnTo>
                    <a:pt x="256" y="213"/>
                  </a:lnTo>
                  <a:lnTo>
                    <a:pt x="256" y="216"/>
                  </a:lnTo>
                  <a:lnTo>
                    <a:pt x="257" y="218"/>
                  </a:lnTo>
                  <a:lnTo>
                    <a:pt x="257" y="219"/>
                  </a:lnTo>
                  <a:lnTo>
                    <a:pt x="256" y="221"/>
                  </a:lnTo>
                  <a:lnTo>
                    <a:pt x="256" y="222"/>
                  </a:lnTo>
                  <a:lnTo>
                    <a:pt x="254" y="222"/>
                  </a:lnTo>
                  <a:lnTo>
                    <a:pt x="251" y="221"/>
                  </a:lnTo>
                  <a:lnTo>
                    <a:pt x="250" y="221"/>
                  </a:lnTo>
                  <a:lnTo>
                    <a:pt x="249" y="219"/>
                  </a:lnTo>
                  <a:lnTo>
                    <a:pt x="248" y="218"/>
                  </a:lnTo>
                  <a:lnTo>
                    <a:pt x="247" y="218"/>
                  </a:lnTo>
                  <a:lnTo>
                    <a:pt x="246" y="218"/>
                  </a:lnTo>
                  <a:lnTo>
                    <a:pt x="244" y="219"/>
                  </a:lnTo>
                  <a:lnTo>
                    <a:pt x="243" y="219"/>
                  </a:lnTo>
                  <a:lnTo>
                    <a:pt x="242" y="220"/>
                  </a:lnTo>
                  <a:lnTo>
                    <a:pt x="240" y="219"/>
                  </a:lnTo>
                  <a:lnTo>
                    <a:pt x="240" y="218"/>
                  </a:lnTo>
                  <a:lnTo>
                    <a:pt x="239" y="218"/>
                  </a:lnTo>
                  <a:lnTo>
                    <a:pt x="236" y="219"/>
                  </a:lnTo>
                  <a:lnTo>
                    <a:pt x="235" y="219"/>
                  </a:lnTo>
                  <a:lnTo>
                    <a:pt x="233" y="219"/>
                  </a:lnTo>
                  <a:lnTo>
                    <a:pt x="231" y="221"/>
                  </a:lnTo>
                  <a:lnTo>
                    <a:pt x="231" y="224"/>
                  </a:lnTo>
                  <a:lnTo>
                    <a:pt x="231" y="225"/>
                  </a:lnTo>
                  <a:lnTo>
                    <a:pt x="234" y="229"/>
                  </a:lnTo>
                  <a:lnTo>
                    <a:pt x="235" y="230"/>
                  </a:lnTo>
                  <a:lnTo>
                    <a:pt x="234" y="233"/>
                  </a:lnTo>
                  <a:lnTo>
                    <a:pt x="234" y="234"/>
                  </a:lnTo>
                  <a:lnTo>
                    <a:pt x="233" y="235"/>
                  </a:lnTo>
                  <a:lnTo>
                    <a:pt x="232" y="236"/>
                  </a:lnTo>
                  <a:lnTo>
                    <a:pt x="230" y="236"/>
                  </a:lnTo>
                  <a:lnTo>
                    <a:pt x="228" y="236"/>
                  </a:lnTo>
                  <a:lnTo>
                    <a:pt x="227" y="235"/>
                  </a:lnTo>
                  <a:lnTo>
                    <a:pt x="227" y="234"/>
                  </a:lnTo>
                  <a:lnTo>
                    <a:pt x="226" y="233"/>
                  </a:lnTo>
                  <a:lnTo>
                    <a:pt x="226" y="230"/>
                  </a:lnTo>
                  <a:lnTo>
                    <a:pt x="226" y="228"/>
                  </a:lnTo>
                  <a:lnTo>
                    <a:pt x="227" y="225"/>
                  </a:lnTo>
                  <a:lnTo>
                    <a:pt x="226" y="224"/>
                  </a:lnTo>
                  <a:lnTo>
                    <a:pt x="224" y="224"/>
                  </a:lnTo>
                  <a:lnTo>
                    <a:pt x="222" y="224"/>
                  </a:lnTo>
                  <a:lnTo>
                    <a:pt x="220" y="226"/>
                  </a:lnTo>
                  <a:lnTo>
                    <a:pt x="220" y="227"/>
                  </a:lnTo>
                  <a:lnTo>
                    <a:pt x="220" y="229"/>
                  </a:lnTo>
                  <a:lnTo>
                    <a:pt x="220" y="230"/>
                  </a:lnTo>
                  <a:lnTo>
                    <a:pt x="220" y="233"/>
                  </a:lnTo>
                  <a:lnTo>
                    <a:pt x="219" y="234"/>
                  </a:lnTo>
                  <a:lnTo>
                    <a:pt x="218" y="235"/>
                  </a:lnTo>
                  <a:lnTo>
                    <a:pt x="216" y="235"/>
                  </a:lnTo>
                  <a:lnTo>
                    <a:pt x="214" y="233"/>
                  </a:lnTo>
                  <a:lnTo>
                    <a:pt x="214" y="230"/>
                  </a:lnTo>
                  <a:lnTo>
                    <a:pt x="212" y="228"/>
                  </a:lnTo>
                  <a:lnTo>
                    <a:pt x="211" y="225"/>
                  </a:lnTo>
                  <a:lnTo>
                    <a:pt x="210" y="221"/>
                  </a:lnTo>
                  <a:lnTo>
                    <a:pt x="210" y="220"/>
                  </a:lnTo>
                  <a:lnTo>
                    <a:pt x="208" y="216"/>
                  </a:lnTo>
                  <a:lnTo>
                    <a:pt x="206" y="214"/>
                  </a:lnTo>
                  <a:lnTo>
                    <a:pt x="204" y="212"/>
                  </a:lnTo>
                  <a:lnTo>
                    <a:pt x="203" y="210"/>
                  </a:lnTo>
                  <a:lnTo>
                    <a:pt x="200" y="204"/>
                  </a:lnTo>
                  <a:lnTo>
                    <a:pt x="198" y="202"/>
                  </a:lnTo>
                  <a:lnTo>
                    <a:pt x="196" y="201"/>
                  </a:lnTo>
                  <a:lnTo>
                    <a:pt x="195" y="200"/>
                  </a:lnTo>
                  <a:lnTo>
                    <a:pt x="195" y="198"/>
                  </a:lnTo>
                  <a:lnTo>
                    <a:pt x="193" y="197"/>
                  </a:lnTo>
                  <a:lnTo>
                    <a:pt x="191" y="196"/>
                  </a:lnTo>
                  <a:lnTo>
                    <a:pt x="190" y="195"/>
                  </a:lnTo>
                  <a:lnTo>
                    <a:pt x="187" y="193"/>
                  </a:lnTo>
                  <a:lnTo>
                    <a:pt x="186" y="192"/>
                  </a:lnTo>
                  <a:lnTo>
                    <a:pt x="185" y="189"/>
                  </a:lnTo>
                  <a:lnTo>
                    <a:pt x="184" y="188"/>
                  </a:lnTo>
                  <a:lnTo>
                    <a:pt x="182" y="188"/>
                  </a:lnTo>
                  <a:lnTo>
                    <a:pt x="180" y="189"/>
                  </a:lnTo>
                  <a:lnTo>
                    <a:pt x="179" y="190"/>
                  </a:lnTo>
                  <a:lnTo>
                    <a:pt x="178" y="192"/>
                  </a:lnTo>
                  <a:lnTo>
                    <a:pt x="177" y="193"/>
                  </a:lnTo>
                  <a:lnTo>
                    <a:pt x="176" y="195"/>
                  </a:lnTo>
                  <a:lnTo>
                    <a:pt x="175" y="196"/>
                  </a:lnTo>
                  <a:lnTo>
                    <a:pt x="172" y="200"/>
                  </a:lnTo>
                  <a:lnTo>
                    <a:pt x="171" y="202"/>
                  </a:lnTo>
                  <a:lnTo>
                    <a:pt x="169" y="204"/>
                  </a:lnTo>
                  <a:lnTo>
                    <a:pt x="167" y="205"/>
                  </a:lnTo>
                  <a:lnTo>
                    <a:pt x="164" y="209"/>
                  </a:lnTo>
                  <a:lnTo>
                    <a:pt x="163" y="210"/>
                  </a:lnTo>
                  <a:lnTo>
                    <a:pt x="160" y="212"/>
                  </a:lnTo>
                  <a:lnTo>
                    <a:pt x="158" y="213"/>
                  </a:lnTo>
                  <a:lnTo>
                    <a:pt x="155" y="214"/>
                  </a:lnTo>
                  <a:lnTo>
                    <a:pt x="153" y="214"/>
                  </a:lnTo>
                  <a:lnTo>
                    <a:pt x="151" y="216"/>
                  </a:lnTo>
                  <a:lnTo>
                    <a:pt x="147" y="216"/>
                  </a:lnTo>
                  <a:lnTo>
                    <a:pt x="145" y="217"/>
                  </a:lnTo>
                  <a:lnTo>
                    <a:pt x="142" y="218"/>
                  </a:lnTo>
                  <a:lnTo>
                    <a:pt x="139" y="218"/>
                  </a:lnTo>
                  <a:lnTo>
                    <a:pt x="136" y="219"/>
                  </a:lnTo>
                  <a:lnTo>
                    <a:pt x="134" y="220"/>
                  </a:lnTo>
                  <a:lnTo>
                    <a:pt x="130" y="221"/>
                  </a:lnTo>
                  <a:lnTo>
                    <a:pt x="128" y="222"/>
                  </a:lnTo>
                  <a:lnTo>
                    <a:pt x="126" y="224"/>
                  </a:lnTo>
                  <a:lnTo>
                    <a:pt x="122" y="224"/>
                  </a:lnTo>
                  <a:lnTo>
                    <a:pt x="120" y="225"/>
                  </a:lnTo>
                  <a:lnTo>
                    <a:pt x="116" y="226"/>
                  </a:lnTo>
                  <a:lnTo>
                    <a:pt x="113" y="226"/>
                  </a:lnTo>
                  <a:lnTo>
                    <a:pt x="107" y="227"/>
                  </a:lnTo>
                  <a:lnTo>
                    <a:pt x="106" y="226"/>
                  </a:lnTo>
                  <a:lnTo>
                    <a:pt x="103" y="226"/>
                  </a:lnTo>
                  <a:lnTo>
                    <a:pt x="98" y="226"/>
                  </a:lnTo>
                  <a:lnTo>
                    <a:pt x="95" y="226"/>
                  </a:lnTo>
                  <a:lnTo>
                    <a:pt x="91" y="225"/>
                  </a:lnTo>
                  <a:lnTo>
                    <a:pt x="83" y="225"/>
                  </a:lnTo>
                  <a:lnTo>
                    <a:pt x="81" y="225"/>
                  </a:lnTo>
                  <a:lnTo>
                    <a:pt x="78" y="225"/>
                  </a:lnTo>
                  <a:lnTo>
                    <a:pt x="74" y="224"/>
                  </a:lnTo>
                  <a:lnTo>
                    <a:pt x="71" y="224"/>
                  </a:lnTo>
                  <a:lnTo>
                    <a:pt x="67" y="222"/>
                  </a:lnTo>
                  <a:lnTo>
                    <a:pt x="65" y="222"/>
                  </a:lnTo>
                  <a:lnTo>
                    <a:pt x="62" y="222"/>
                  </a:lnTo>
                  <a:lnTo>
                    <a:pt x="58" y="222"/>
                  </a:lnTo>
                  <a:lnTo>
                    <a:pt x="55" y="222"/>
                  </a:lnTo>
                  <a:lnTo>
                    <a:pt x="51" y="222"/>
                  </a:lnTo>
                  <a:lnTo>
                    <a:pt x="46" y="222"/>
                  </a:lnTo>
                  <a:lnTo>
                    <a:pt x="44" y="224"/>
                  </a:lnTo>
                  <a:lnTo>
                    <a:pt x="41" y="224"/>
                  </a:lnTo>
                  <a:lnTo>
                    <a:pt x="35" y="224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48" name="ASM"/>
            <p:cNvSpPr>
              <a:spLocks/>
            </p:cNvSpPr>
            <p:nvPr/>
          </p:nvSpPr>
          <p:spPr bwMode="auto">
            <a:xfrm>
              <a:off x="7711417" y="2897293"/>
              <a:ext cx="696917" cy="409553"/>
            </a:xfrm>
            <a:custGeom>
              <a:avLst/>
              <a:gdLst>
                <a:gd name="T0" fmla="*/ 722 w 1735"/>
                <a:gd name="T1" fmla="*/ 1031 h 1061"/>
                <a:gd name="T2" fmla="*/ 791 w 1735"/>
                <a:gd name="T3" fmla="*/ 1036 h 1061"/>
                <a:gd name="T4" fmla="*/ 855 w 1735"/>
                <a:gd name="T5" fmla="*/ 968 h 1061"/>
                <a:gd name="T6" fmla="*/ 921 w 1735"/>
                <a:gd name="T7" fmla="*/ 996 h 1061"/>
                <a:gd name="T8" fmla="*/ 952 w 1735"/>
                <a:gd name="T9" fmla="*/ 877 h 1061"/>
                <a:gd name="T10" fmla="*/ 1021 w 1735"/>
                <a:gd name="T11" fmla="*/ 747 h 1061"/>
                <a:gd name="T12" fmla="*/ 1014 w 1735"/>
                <a:gd name="T13" fmla="*/ 654 h 1061"/>
                <a:gd name="T14" fmla="*/ 1103 w 1735"/>
                <a:gd name="T15" fmla="*/ 571 h 1061"/>
                <a:gd name="T16" fmla="*/ 1172 w 1735"/>
                <a:gd name="T17" fmla="*/ 568 h 1061"/>
                <a:gd name="T18" fmla="*/ 1210 w 1735"/>
                <a:gd name="T19" fmla="*/ 453 h 1061"/>
                <a:gd name="T20" fmla="*/ 1262 w 1735"/>
                <a:gd name="T21" fmla="*/ 392 h 1061"/>
                <a:gd name="T22" fmla="*/ 1324 w 1735"/>
                <a:gd name="T23" fmla="*/ 357 h 1061"/>
                <a:gd name="T24" fmla="*/ 1430 w 1735"/>
                <a:gd name="T25" fmla="*/ 284 h 1061"/>
                <a:gd name="T26" fmla="*/ 1514 w 1735"/>
                <a:gd name="T27" fmla="*/ 256 h 1061"/>
                <a:gd name="T28" fmla="*/ 1585 w 1735"/>
                <a:gd name="T29" fmla="*/ 221 h 1061"/>
                <a:gd name="T30" fmla="*/ 1646 w 1735"/>
                <a:gd name="T31" fmla="*/ 196 h 1061"/>
                <a:gd name="T32" fmla="*/ 1726 w 1735"/>
                <a:gd name="T33" fmla="*/ 175 h 1061"/>
                <a:gd name="T34" fmla="*/ 1694 w 1735"/>
                <a:gd name="T35" fmla="*/ 150 h 1061"/>
                <a:gd name="T36" fmla="*/ 1666 w 1735"/>
                <a:gd name="T37" fmla="*/ 72 h 1061"/>
                <a:gd name="T38" fmla="*/ 1725 w 1735"/>
                <a:gd name="T39" fmla="*/ 2 h 1061"/>
                <a:gd name="T40" fmla="*/ 1576 w 1735"/>
                <a:gd name="T41" fmla="*/ 34 h 1061"/>
                <a:gd name="T42" fmla="*/ 1446 w 1735"/>
                <a:gd name="T43" fmla="*/ 56 h 1061"/>
                <a:gd name="T44" fmla="*/ 1311 w 1735"/>
                <a:gd name="T45" fmla="*/ 112 h 1061"/>
                <a:gd name="T46" fmla="*/ 1252 w 1735"/>
                <a:gd name="T47" fmla="*/ 87 h 1061"/>
                <a:gd name="T48" fmla="*/ 1225 w 1735"/>
                <a:gd name="T49" fmla="*/ 136 h 1061"/>
                <a:gd name="T50" fmla="*/ 1145 w 1735"/>
                <a:gd name="T51" fmla="*/ 208 h 1061"/>
                <a:gd name="T52" fmla="*/ 1100 w 1735"/>
                <a:gd name="T53" fmla="*/ 268 h 1061"/>
                <a:gd name="T54" fmla="*/ 984 w 1735"/>
                <a:gd name="T55" fmla="*/ 280 h 1061"/>
                <a:gd name="T56" fmla="*/ 868 w 1735"/>
                <a:gd name="T57" fmla="*/ 264 h 1061"/>
                <a:gd name="T58" fmla="*/ 793 w 1735"/>
                <a:gd name="T59" fmla="*/ 276 h 1061"/>
                <a:gd name="T60" fmla="*/ 689 w 1735"/>
                <a:gd name="T61" fmla="*/ 299 h 1061"/>
                <a:gd name="T62" fmla="*/ 614 w 1735"/>
                <a:gd name="T63" fmla="*/ 302 h 1061"/>
                <a:gd name="T64" fmla="*/ 528 w 1735"/>
                <a:gd name="T65" fmla="*/ 319 h 1061"/>
                <a:gd name="T66" fmla="*/ 456 w 1735"/>
                <a:gd name="T67" fmla="*/ 318 h 1061"/>
                <a:gd name="T68" fmla="*/ 377 w 1735"/>
                <a:gd name="T69" fmla="*/ 319 h 1061"/>
                <a:gd name="T70" fmla="*/ 292 w 1735"/>
                <a:gd name="T71" fmla="*/ 331 h 1061"/>
                <a:gd name="T72" fmla="*/ 229 w 1735"/>
                <a:gd name="T73" fmla="*/ 316 h 1061"/>
                <a:gd name="T74" fmla="*/ 135 w 1735"/>
                <a:gd name="T75" fmla="*/ 315 h 1061"/>
                <a:gd name="T76" fmla="*/ 39 w 1735"/>
                <a:gd name="T77" fmla="*/ 347 h 1061"/>
                <a:gd name="T78" fmla="*/ 36 w 1735"/>
                <a:gd name="T79" fmla="*/ 436 h 1061"/>
                <a:gd name="T80" fmla="*/ 2 w 1735"/>
                <a:gd name="T81" fmla="*/ 493 h 1061"/>
                <a:gd name="T82" fmla="*/ 39 w 1735"/>
                <a:gd name="T83" fmla="*/ 556 h 1061"/>
                <a:gd name="T84" fmla="*/ 38 w 1735"/>
                <a:gd name="T85" fmla="*/ 645 h 1061"/>
                <a:gd name="T86" fmla="*/ 65 w 1735"/>
                <a:gd name="T87" fmla="*/ 643 h 1061"/>
                <a:gd name="T88" fmla="*/ 101 w 1735"/>
                <a:gd name="T89" fmla="*/ 568 h 1061"/>
                <a:gd name="T90" fmla="*/ 228 w 1735"/>
                <a:gd name="T91" fmla="*/ 562 h 1061"/>
                <a:gd name="T92" fmla="*/ 271 w 1735"/>
                <a:gd name="T93" fmla="*/ 563 h 1061"/>
                <a:gd name="T94" fmla="*/ 333 w 1735"/>
                <a:gd name="T95" fmla="*/ 568 h 1061"/>
                <a:gd name="T96" fmla="*/ 373 w 1735"/>
                <a:gd name="T97" fmla="*/ 584 h 1061"/>
                <a:gd name="T98" fmla="*/ 406 w 1735"/>
                <a:gd name="T99" fmla="*/ 606 h 1061"/>
                <a:gd name="T100" fmla="*/ 462 w 1735"/>
                <a:gd name="T101" fmla="*/ 587 h 1061"/>
                <a:gd name="T102" fmla="*/ 495 w 1735"/>
                <a:gd name="T103" fmla="*/ 559 h 1061"/>
                <a:gd name="T104" fmla="*/ 533 w 1735"/>
                <a:gd name="T105" fmla="*/ 568 h 1061"/>
                <a:gd name="T106" fmla="*/ 569 w 1735"/>
                <a:gd name="T107" fmla="*/ 525 h 1061"/>
                <a:gd name="T108" fmla="*/ 625 w 1735"/>
                <a:gd name="T109" fmla="*/ 531 h 1061"/>
                <a:gd name="T110" fmla="*/ 682 w 1735"/>
                <a:gd name="T111" fmla="*/ 550 h 1061"/>
                <a:gd name="T112" fmla="*/ 672 w 1735"/>
                <a:gd name="T113" fmla="*/ 613 h 1061"/>
                <a:gd name="T114" fmla="*/ 726 w 1735"/>
                <a:gd name="T115" fmla="*/ 612 h 1061"/>
                <a:gd name="T116" fmla="*/ 808 w 1735"/>
                <a:gd name="T117" fmla="*/ 655 h 1061"/>
                <a:gd name="T118" fmla="*/ 839 w 1735"/>
                <a:gd name="T119" fmla="*/ 724 h 1061"/>
                <a:gd name="T120" fmla="*/ 798 w 1735"/>
                <a:gd name="T121" fmla="*/ 786 h 1061"/>
                <a:gd name="T122" fmla="*/ 752 w 1735"/>
                <a:gd name="T123" fmla="*/ 819 h 1061"/>
                <a:gd name="T124" fmla="*/ 698 w 1735"/>
                <a:gd name="T125" fmla="*/ 858 h 1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35" h="1061">
                  <a:moveTo>
                    <a:pt x="703" y="957"/>
                  </a:moveTo>
                  <a:lnTo>
                    <a:pt x="702" y="959"/>
                  </a:lnTo>
                  <a:lnTo>
                    <a:pt x="701" y="966"/>
                  </a:lnTo>
                  <a:lnTo>
                    <a:pt x="704" y="970"/>
                  </a:lnTo>
                  <a:lnTo>
                    <a:pt x="704" y="972"/>
                  </a:lnTo>
                  <a:lnTo>
                    <a:pt x="704" y="978"/>
                  </a:lnTo>
                  <a:lnTo>
                    <a:pt x="706" y="982"/>
                  </a:lnTo>
                  <a:lnTo>
                    <a:pt x="708" y="984"/>
                  </a:lnTo>
                  <a:lnTo>
                    <a:pt x="709" y="986"/>
                  </a:lnTo>
                  <a:lnTo>
                    <a:pt x="710" y="988"/>
                  </a:lnTo>
                  <a:lnTo>
                    <a:pt x="711" y="990"/>
                  </a:lnTo>
                  <a:lnTo>
                    <a:pt x="711" y="994"/>
                  </a:lnTo>
                  <a:lnTo>
                    <a:pt x="710" y="998"/>
                  </a:lnTo>
                  <a:lnTo>
                    <a:pt x="710" y="1002"/>
                  </a:lnTo>
                  <a:lnTo>
                    <a:pt x="709" y="1005"/>
                  </a:lnTo>
                  <a:lnTo>
                    <a:pt x="706" y="1008"/>
                  </a:lnTo>
                  <a:lnTo>
                    <a:pt x="705" y="1011"/>
                  </a:lnTo>
                  <a:lnTo>
                    <a:pt x="704" y="1014"/>
                  </a:lnTo>
                  <a:lnTo>
                    <a:pt x="703" y="1018"/>
                  </a:lnTo>
                  <a:lnTo>
                    <a:pt x="702" y="1021"/>
                  </a:lnTo>
                  <a:lnTo>
                    <a:pt x="702" y="1024"/>
                  </a:lnTo>
                  <a:lnTo>
                    <a:pt x="702" y="1027"/>
                  </a:lnTo>
                  <a:lnTo>
                    <a:pt x="702" y="1028"/>
                  </a:lnTo>
                  <a:lnTo>
                    <a:pt x="703" y="1030"/>
                  </a:lnTo>
                  <a:lnTo>
                    <a:pt x="704" y="1032"/>
                  </a:lnTo>
                  <a:lnTo>
                    <a:pt x="708" y="1034"/>
                  </a:lnTo>
                  <a:lnTo>
                    <a:pt x="711" y="1034"/>
                  </a:lnTo>
                  <a:lnTo>
                    <a:pt x="716" y="1034"/>
                  </a:lnTo>
                  <a:lnTo>
                    <a:pt x="720" y="1032"/>
                  </a:lnTo>
                  <a:lnTo>
                    <a:pt x="722" y="1031"/>
                  </a:lnTo>
                  <a:lnTo>
                    <a:pt x="727" y="1032"/>
                  </a:lnTo>
                  <a:lnTo>
                    <a:pt x="733" y="1031"/>
                  </a:lnTo>
                  <a:lnTo>
                    <a:pt x="736" y="1030"/>
                  </a:lnTo>
                  <a:lnTo>
                    <a:pt x="738" y="1030"/>
                  </a:lnTo>
                  <a:lnTo>
                    <a:pt x="742" y="1028"/>
                  </a:lnTo>
                  <a:lnTo>
                    <a:pt x="745" y="1028"/>
                  </a:lnTo>
                  <a:lnTo>
                    <a:pt x="749" y="1028"/>
                  </a:lnTo>
                  <a:lnTo>
                    <a:pt x="752" y="1028"/>
                  </a:lnTo>
                  <a:lnTo>
                    <a:pt x="756" y="1029"/>
                  </a:lnTo>
                  <a:lnTo>
                    <a:pt x="758" y="1034"/>
                  </a:lnTo>
                  <a:lnTo>
                    <a:pt x="758" y="1037"/>
                  </a:lnTo>
                  <a:lnTo>
                    <a:pt x="758" y="1040"/>
                  </a:lnTo>
                  <a:lnTo>
                    <a:pt x="759" y="1045"/>
                  </a:lnTo>
                  <a:lnTo>
                    <a:pt x="759" y="1050"/>
                  </a:lnTo>
                  <a:lnTo>
                    <a:pt x="760" y="1053"/>
                  </a:lnTo>
                  <a:lnTo>
                    <a:pt x="761" y="1058"/>
                  </a:lnTo>
                  <a:lnTo>
                    <a:pt x="762" y="1059"/>
                  </a:lnTo>
                  <a:lnTo>
                    <a:pt x="764" y="1060"/>
                  </a:lnTo>
                  <a:lnTo>
                    <a:pt x="767" y="1061"/>
                  </a:lnTo>
                  <a:lnTo>
                    <a:pt x="770" y="1061"/>
                  </a:lnTo>
                  <a:lnTo>
                    <a:pt x="774" y="1060"/>
                  </a:lnTo>
                  <a:lnTo>
                    <a:pt x="777" y="1058"/>
                  </a:lnTo>
                  <a:lnTo>
                    <a:pt x="781" y="1056"/>
                  </a:lnTo>
                  <a:lnTo>
                    <a:pt x="784" y="1055"/>
                  </a:lnTo>
                  <a:lnTo>
                    <a:pt x="786" y="1053"/>
                  </a:lnTo>
                  <a:lnTo>
                    <a:pt x="789" y="1051"/>
                  </a:lnTo>
                  <a:lnTo>
                    <a:pt x="791" y="1043"/>
                  </a:lnTo>
                  <a:lnTo>
                    <a:pt x="791" y="1042"/>
                  </a:lnTo>
                  <a:lnTo>
                    <a:pt x="791" y="1038"/>
                  </a:lnTo>
                  <a:lnTo>
                    <a:pt x="791" y="1036"/>
                  </a:lnTo>
                  <a:lnTo>
                    <a:pt x="793" y="1034"/>
                  </a:lnTo>
                  <a:lnTo>
                    <a:pt x="794" y="1031"/>
                  </a:lnTo>
                  <a:lnTo>
                    <a:pt x="798" y="1031"/>
                  </a:lnTo>
                  <a:lnTo>
                    <a:pt x="800" y="1030"/>
                  </a:lnTo>
                  <a:lnTo>
                    <a:pt x="802" y="1030"/>
                  </a:lnTo>
                  <a:lnTo>
                    <a:pt x="806" y="1028"/>
                  </a:lnTo>
                  <a:lnTo>
                    <a:pt x="808" y="1024"/>
                  </a:lnTo>
                  <a:lnTo>
                    <a:pt x="809" y="1021"/>
                  </a:lnTo>
                  <a:lnTo>
                    <a:pt x="810" y="1016"/>
                  </a:lnTo>
                  <a:lnTo>
                    <a:pt x="812" y="1013"/>
                  </a:lnTo>
                  <a:lnTo>
                    <a:pt x="812" y="1010"/>
                  </a:lnTo>
                  <a:lnTo>
                    <a:pt x="815" y="1007"/>
                  </a:lnTo>
                  <a:lnTo>
                    <a:pt x="821" y="1006"/>
                  </a:lnTo>
                  <a:lnTo>
                    <a:pt x="824" y="1006"/>
                  </a:lnTo>
                  <a:lnTo>
                    <a:pt x="828" y="1004"/>
                  </a:lnTo>
                  <a:lnTo>
                    <a:pt x="829" y="999"/>
                  </a:lnTo>
                  <a:lnTo>
                    <a:pt x="830" y="997"/>
                  </a:lnTo>
                  <a:lnTo>
                    <a:pt x="831" y="992"/>
                  </a:lnTo>
                  <a:lnTo>
                    <a:pt x="832" y="990"/>
                  </a:lnTo>
                  <a:lnTo>
                    <a:pt x="834" y="986"/>
                  </a:lnTo>
                  <a:lnTo>
                    <a:pt x="836" y="980"/>
                  </a:lnTo>
                  <a:lnTo>
                    <a:pt x="837" y="972"/>
                  </a:lnTo>
                  <a:lnTo>
                    <a:pt x="837" y="968"/>
                  </a:lnTo>
                  <a:lnTo>
                    <a:pt x="840" y="966"/>
                  </a:lnTo>
                  <a:lnTo>
                    <a:pt x="840" y="964"/>
                  </a:lnTo>
                  <a:lnTo>
                    <a:pt x="842" y="963"/>
                  </a:lnTo>
                  <a:lnTo>
                    <a:pt x="845" y="963"/>
                  </a:lnTo>
                  <a:lnTo>
                    <a:pt x="848" y="963"/>
                  </a:lnTo>
                  <a:lnTo>
                    <a:pt x="849" y="963"/>
                  </a:lnTo>
                  <a:lnTo>
                    <a:pt x="855" y="968"/>
                  </a:lnTo>
                  <a:lnTo>
                    <a:pt x="857" y="972"/>
                  </a:lnTo>
                  <a:lnTo>
                    <a:pt x="860" y="976"/>
                  </a:lnTo>
                  <a:lnTo>
                    <a:pt x="861" y="979"/>
                  </a:lnTo>
                  <a:lnTo>
                    <a:pt x="863" y="982"/>
                  </a:lnTo>
                  <a:lnTo>
                    <a:pt x="862" y="986"/>
                  </a:lnTo>
                  <a:lnTo>
                    <a:pt x="863" y="988"/>
                  </a:lnTo>
                  <a:lnTo>
                    <a:pt x="864" y="992"/>
                  </a:lnTo>
                  <a:lnTo>
                    <a:pt x="865" y="994"/>
                  </a:lnTo>
                  <a:lnTo>
                    <a:pt x="865" y="995"/>
                  </a:lnTo>
                  <a:lnTo>
                    <a:pt x="869" y="996"/>
                  </a:lnTo>
                  <a:lnTo>
                    <a:pt x="872" y="995"/>
                  </a:lnTo>
                  <a:lnTo>
                    <a:pt x="874" y="992"/>
                  </a:lnTo>
                  <a:lnTo>
                    <a:pt x="877" y="990"/>
                  </a:lnTo>
                  <a:lnTo>
                    <a:pt x="879" y="989"/>
                  </a:lnTo>
                  <a:lnTo>
                    <a:pt x="881" y="988"/>
                  </a:lnTo>
                  <a:lnTo>
                    <a:pt x="885" y="987"/>
                  </a:lnTo>
                  <a:lnTo>
                    <a:pt x="890" y="984"/>
                  </a:lnTo>
                  <a:lnTo>
                    <a:pt x="893" y="984"/>
                  </a:lnTo>
                  <a:lnTo>
                    <a:pt x="896" y="984"/>
                  </a:lnTo>
                  <a:lnTo>
                    <a:pt x="901" y="987"/>
                  </a:lnTo>
                  <a:lnTo>
                    <a:pt x="902" y="988"/>
                  </a:lnTo>
                  <a:lnTo>
                    <a:pt x="906" y="989"/>
                  </a:lnTo>
                  <a:lnTo>
                    <a:pt x="911" y="990"/>
                  </a:lnTo>
                  <a:lnTo>
                    <a:pt x="912" y="991"/>
                  </a:lnTo>
                  <a:lnTo>
                    <a:pt x="913" y="992"/>
                  </a:lnTo>
                  <a:lnTo>
                    <a:pt x="914" y="994"/>
                  </a:lnTo>
                  <a:lnTo>
                    <a:pt x="916" y="996"/>
                  </a:lnTo>
                  <a:lnTo>
                    <a:pt x="917" y="999"/>
                  </a:lnTo>
                  <a:lnTo>
                    <a:pt x="920" y="997"/>
                  </a:lnTo>
                  <a:lnTo>
                    <a:pt x="921" y="996"/>
                  </a:lnTo>
                  <a:lnTo>
                    <a:pt x="922" y="994"/>
                  </a:lnTo>
                  <a:lnTo>
                    <a:pt x="925" y="989"/>
                  </a:lnTo>
                  <a:lnTo>
                    <a:pt x="929" y="981"/>
                  </a:lnTo>
                  <a:lnTo>
                    <a:pt x="928" y="976"/>
                  </a:lnTo>
                  <a:lnTo>
                    <a:pt x="927" y="974"/>
                  </a:lnTo>
                  <a:lnTo>
                    <a:pt x="925" y="972"/>
                  </a:lnTo>
                  <a:lnTo>
                    <a:pt x="922" y="970"/>
                  </a:lnTo>
                  <a:lnTo>
                    <a:pt x="921" y="966"/>
                  </a:lnTo>
                  <a:lnTo>
                    <a:pt x="920" y="963"/>
                  </a:lnTo>
                  <a:lnTo>
                    <a:pt x="921" y="958"/>
                  </a:lnTo>
                  <a:lnTo>
                    <a:pt x="922" y="955"/>
                  </a:lnTo>
                  <a:lnTo>
                    <a:pt x="927" y="951"/>
                  </a:lnTo>
                  <a:lnTo>
                    <a:pt x="930" y="948"/>
                  </a:lnTo>
                  <a:lnTo>
                    <a:pt x="934" y="946"/>
                  </a:lnTo>
                  <a:lnTo>
                    <a:pt x="936" y="936"/>
                  </a:lnTo>
                  <a:lnTo>
                    <a:pt x="936" y="932"/>
                  </a:lnTo>
                  <a:lnTo>
                    <a:pt x="934" y="924"/>
                  </a:lnTo>
                  <a:lnTo>
                    <a:pt x="932" y="919"/>
                  </a:lnTo>
                  <a:lnTo>
                    <a:pt x="932" y="916"/>
                  </a:lnTo>
                  <a:lnTo>
                    <a:pt x="933" y="910"/>
                  </a:lnTo>
                  <a:lnTo>
                    <a:pt x="933" y="906"/>
                  </a:lnTo>
                  <a:lnTo>
                    <a:pt x="936" y="899"/>
                  </a:lnTo>
                  <a:lnTo>
                    <a:pt x="938" y="898"/>
                  </a:lnTo>
                  <a:lnTo>
                    <a:pt x="940" y="895"/>
                  </a:lnTo>
                  <a:lnTo>
                    <a:pt x="943" y="893"/>
                  </a:lnTo>
                  <a:lnTo>
                    <a:pt x="944" y="891"/>
                  </a:lnTo>
                  <a:lnTo>
                    <a:pt x="945" y="887"/>
                  </a:lnTo>
                  <a:lnTo>
                    <a:pt x="946" y="884"/>
                  </a:lnTo>
                  <a:lnTo>
                    <a:pt x="951" y="878"/>
                  </a:lnTo>
                  <a:lnTo>
                    <a:pt x="952" y="877"/>
                  </a:lnTo>
                  <a:lnTo>
                    <a:pt x="954" y="874"/>
                  </a:lnTo>
                  <a:lnTo>
                    <a:pt x="958" y="867"/>
                  </a:lnTo>
                  <a:lnTo>
                    <a:pt x="961" y="855"/>
                  </a:lnTo>
                  <a:lnTo>
                    <a:pt x="964" y="852"/>
                  </a:lnTo>
                  <a:lnTo>
                    <a:pt x="965" y="847"/>
                  </a:lnTo>
                  <a:lnTo>
                    <a:pt x="966" y="844"/>
                  </a:lnTo>
                  <a:lnTo>
                    <a:pt x="967" y="842"/>
                  </a:lnTo>
                  <a:lnTo>
                    <a:pt x="968" y="838"/>
                  </a:lnTo>
                  <a:lnTo>
                    <a:pt x="968" y="836"/>
                  </a:lnTo>
                  <a:lnTo>
                    <a:pt x="974" y="822"/>
                  </a:lnTo>
                  <a:lnTo>
                    <a:pt x="976" y="815"/>
                  </a:lnTo>
                  <a:lnTo>
                    <a:pt x="977" y="813"/>
                  </a:lnTo>
                  <a:lnTo>
                    <a:pt x="980" y="811"/>
                  </a:lnTo>
                  <a:lnTo>
                    <a:pt x="982" y="808"/>
                  </a:lnTo>
                  <a:lnTo>
                    <a:pt x="984" y="807"/>
                  </a:lnTo>
                  <a:lnTo>
                    <a:pt x="988" y="806"/>
                  </a:lnTo>
                  <a:lnTo>
                    <a:pt x="992" y="805"/>
                  </a:lnTo>
                  <a:lnTo>
                    <a:pt x="997" y="803"/>
                  </a:lnTo>
                  <a:lnTo>
                    <a:pt x="1000" y="800"/>
                  </a:lnTo>
                  <a:lnTo>
                    <a:pt x="1005" y="798"/>
                  </a:lnTo>
                  <a:lnTo>
                    <a:pt x="1007" y="796"/>
                  </a:lnTo>
                  <a:lnTo>
                    <a:pt x="1009" y="790"/>
                  </a:lnTo>
                  <a:lnTo>
                    <a:pt x="1008" y="773"/>
                  </a:lnTo>
                  <a:lnTo>
                    <a:pt x="1008" y="772"/>
                  </a:lnTo>
                  <a:lnTo>
                    <a:pt x="1009" y="766"/>
                  </a:lnTo>
                  <a:lnTo>
                    <a:pt x="1009" y="763"/>
                  </a:lnTo>
                  <a:lnTo>
                    <a:pt x="1012" y="757"/>
                  </a:lnTo>
                  <a:lnTo>
                    <a:pt x="1014" y="754"/>
                  </a:lnTo>
                  <a:lnTo>
                    <a:pt x="1018" y="749"/>
                  </a:lnTo>
                  <a:lnTo>
                    <a:pt x="1021" y="747"/>
                  </a:lnTo>
                  <a:lnTo>
                    <a:pt x="1023" y="746"/>
                  </a:lnTo>
                  <a:lnTo>
                    <a:pt x="1025" y="744"/>
                  </a:lnTo>
                  <a:lnTo>
                    <a:pt x="1028" y="743"/>
                  </a:lnTo>
                  <a:lnTo>
                    <a:pt x="1030" y="742"/>
                  </a:lnTo>
                  <a:lnTo>
                    <a:pt x="1032" y="741"/>
                  </a:lnTo>
                  <a:lnTo>
                    <a:pt x="1034" y="739"/>
                  </a:lnTo>
                  <a:lnTo>
                    <a:pt x="1037" y="736"/>
                  </a:lnTo>
                  <a:lnTo>
                    <a:pt x="1038" y="731"/>
                  </a:lnTo>
                  <a:lnTo>
                    <a:pt x="1038" y="728"/>
                  </a:lnTo>
                  <a:lnTo>
                    <a:pt x="1037" y="726"/>
                  </a:lnTo>
                  <a:lnTo>
                    <a:pt x="1036" y="724"/>
                  </a:lnTo>
                  <a:lnTo>
                    <a:pt x="1036" y="720"/>
                  </a:lnTo>
                  <a:lnTo>
                    <a:pt x="1034" y="718"/>
                  </a:lnTo>
                  <a:lnTo>
                    <a:pt x="1033" y="715"/>
                  </a:lnTo>
                  <a:lnTo>
                    <a:pt x="1032" y="712"/>
                  </a:lnTo>
                  <a:lnTo>
                    <a:pt x="1029" y="709"/>
                  </a:lnTo>
                  <a:lnTo>
                    <a:pt x="1026" y="707"/>
                  </a:lnTo>
                  <a:lnTo>
                    <a:pt x="1020" y="700"/>
                  </a:lnTo>
                  <a:lnTo>
                    <a:pt x="1018" y="695"/>
                  </a:lnTo>
                  <a:lnTo>
                    <a:pt x="1016" y="692"/>
                  </a:lnTo>
                  <a:lnTo>
                    <a:pt x="1015" y="688"/>
                  </a:lnTo>
                  <a:lnTo>
                    <a:pt x="1014" y="685"/>
                  </a:lnTo>
                  <a:lnTo>
                    <a:pt x="1013" y="683"/>
                  </a:lnTo>
                  <a:lnTo>
                    <a:pt x="1013" y="679"/>
                  </a:lnTo>
                  <a:lnTo>
                    <a:pt x="1013" y="675"/>
                  </a:lnTo>
                  <a:lnTo>
                    <a:pt x="1013" y="670"/>
                  </a:lnTo>
                  <a:lnTo>
                    <a:pt x="1013" y="667"/>
                  </a:lnTo>
                  <a:lnTo>
                    <a:pt x="1014" y="662"/>
                  </a:lnTo>
                  <a:lnTo>
                    <a:pt x="1014" y="656"/>
                  </a:lnTo>
                  <a:lnTo>
                    <a:pt x="1014" y="654"/>
                  </a:lnTo>
                  <a:lnTo>
                    <a:pt x="1016" y="648"/>
                  </a:lnTo>
                  <a:lnTo>
                    <a:pt x="1017" y="646"/>
                  </a:lnTo>
                  <a:lnTo>
                    <a:pt x="1020" y="643"/>
                  </a:lnTo>
                  <a:lnTo>
                    <a:pt x="1026" y="638"/>
                  </a:lnTo>
                  <a:lnTo>
                    <a:pt x="1030" y="636"/>
                  </a:lnTo>
                  <a:lnTo>
                    <a:pt x="1034" y="635"/>
                  </a:lnTo>
                  <a:lnTo>
                    <a:pt x="1042" y="631"/>
                  </a:lnTo>
                  <a:lnTo>
                    <a:pt x="1046" y="630"/>
                  </a:lnTo>
                  <a:lnTo>
                    <a:pt x="1050" y="630"/>
                  </a:lnTo>
                  <a:lnTo>
                    <a:pt x="1053" y="628"/>
                  </a:lnTo>
                  <a:lnTo>
                    <a:pt x="1056" y="626"/>
                  </a:lnTo>
                  <a:lnTo>
                    <a:pt x="1060" y="623"/>
                  </a:lnTo>
                  <a:lnTo>
                    <a:pt x="1062" y="620"/>
                  </a:lnTo>
                  <a:lnTo>
                    <a:pt x="1063" y="619"/>
                  </a:lnTo>
                  <a:lnTo>
                    <a:pt x="1072" y="612"/>
                  </a:lnTo>
                  <a:lnTo>
                    <a:pt x="1076" y="610"/>
                  </a:lnTo>
                  <a:lnTo>
                    <a:pt x="1078" y="606"/>
                  </a:lnTo>
                  <a:lnTo>
                    <a:pt x="1081" y="603"/>
                  </a:lnTo>
                  <a:lnTo>
                    <a:pt x="1082" y="600"/>
                  </a:lnTo>
                  <a:lnTo>
                    <a:pt x="1085" y="597"/>
                  </a:lnTo>
                  <a:lnTo>
                    <a:pt x="1087" y="594"/>
                  </a:lnTo>
                  <a:lnTo>
                    <a:pt x="1089" y="591"/>
                  </a:lnTo>
                  <a:lnTo>
                    <a:pt x="1092" y="588"/>
                  </a:lnTo>
                  <a:lnTo>
                    <a:pt x="1094" y="586"/>
                  </a:lnTo>
                  <a:lnTo>
                    <a:pt x="1098" y="583"/>
                  </a:lnTo>
                  <a:lnTo>
                    <a:pt x="1101" y="580"/>
                  </a:lnTo>
                  <a:lnTo>
                    <a:pt x="1103" y="575"/>
                  </a:lnTo>
                  <a:lnTo>
                    <a:pt x="1103" y="574"/>
                  </a:lnTo>
                  <a:lnTo>
                    <a:pt x="1103" y="573"/>
                  </a:lnTo>
                  <a:lnTo>
                    <a:pt x="1103" y="571"/>
                  </a:lnTo>
                  <a:lnTo>
                    <a:pt x="1103" y="567"/>
                  </a:lnTo>
                  <a:lnTo>
                    <a:pt x="1104" y="565"/>
                  </a:lnTo>
                  <a:lnTo>
                    <a:pt x="1105" y="564"/>
                  </a:lnTo>
                  <a:lnTo>
                    <a:pt x="1106" y="565"/>
                  </a:lnTo>
                  <a:lnTo>
                    <a:pt x="1109" y="564"/>
                  </a:lnTo>
                  <a:lnTo>
                    <a:pt x="1111" y="566"/>
                  </a:lnTo>
                  <a:lnTo>
                    <a:pt x="1112" y="567"/>
                  </a:lnTo>
                  <a:lnTo>
                    <a:pt x="1113" y="568"/>
                  </a:lnTo>
                  <a:lnTo>
                    <a:pt x="1114" y="570"/>
                  </a:lnTo>
                  <a:lnTo>
                    <a:pt x="1117" y="571"/>
                  </a:lnTo>
                  <a:lnTo>
                    <a:pt x="1118" y="572"/>
                  </a:lnTo>
                  <a:lnTo>
                    <a:pt x="1124" y="572"/>
                  </a:lnTo>
                  <a:lnTo>
                    <a:pt x="1126" y="572"/>
                  </a:lnTo>
                  <a:lnTo>
                    <a:pt x="1128" y="573"/>
                  </a:lnTo>
                  <a:lnTo>
                    <a:pt x="1132" y="573"/>
                  </a:lnTo>
                  <a:lnTo>
                    <a:pt x="1134" y="573"/>
                  </a:lnTo>
                  <a:lnTo>
                    <a:pt x="1136" y="573"/>
                  </a:lnTo>
                  <a:lnTo>
                    <a:pt x="1138" y="574"/>
                  </a:lnTo>
                  <a:lnTo>
                    <a:pt x="1144" y="575"/>
                  </a:lnTo>
                  <a:lnTo>
                    <a:pt x="1148" y="575"/>
                  </a:lnTo>
                  <a:lnTo>
                    <a:pt x="1150" y="574"/>
                  </a:lnTo>
                  <a:lnTo>
                    <a:pt x="1153" y="575"/>
                  </a:lnTo>
                  <a:lnTo>
                    <a:pt x="1156" y="575"/>
                  </a:lnTo>
                  <a:lnTo>
                    <a:pt x="1158" y="575"/>
                  </a:lnTo>
                  <a:lnTo>
                    <a:pt x="1161" y="575"/>
                  </a:lnTo>
                  <a:lnTo>
                    <a:pt x="1162" y="574"/>
                  </a:lnTo>
                  <a:lnTo>
                    <a:pt x="1166" y="573"/>
                  </a:lnTo>
                  <a:lnTo>
                    <a:pt x="1168" y="571"/>
                  </a:lnTo>
                  <a:lnTo>
                    <a:pt x="1169" y="570"/>
                  </a:lnTo>
                  <a:lnTo>
                    <a:pt x="1172" y="568"/>
                  </a:lnTo>
                  <a:lnTo>
                    <a:pt x="1173" y="566"/>
                  </a:lnTo>
                  <a:lnTo>
                    <a:pt x="1174" y="564"/>
                  </a:lnTo>
                  <a:lnTo>
                    <a:pt x="1176" y="560"/>
                  </a:lnTo>
                  <a:lnTo>
                    <a:pt x="1176" y="556"/>
                  </a:lnTo>
                  <a:lnTo>
                    <a:pt x="1175" y="552"/>
                  </a:lnTo>
                  <a:lnTo>
                    <a:pt x="1174" y="549"/>
                  </a:lnTo>
                  <a:lnTo>
                    <a:pt x="1172" y="542"/>
                  </a:lnTo>
                  <a:lnTo>
                    <a:pt x="1172" y="541"/>
                  </a:lnTo>
                  <a:lnTo>
                    <a:pt x="1172" y="538"/>
                  </a:lnTo>
                  <a:lnTo>
                    <a:pt x="1173" y="535"/>
                  </a:lnTo>
                  <a:lnTo>
                    <a:pt x="1175" y="533"/>
                  </a:lnTo>
                  <a:lnTo>
                    <a:pt x="1176" y="531"/>
                  </a:lnTo>
                  <a:lnTo>
                    <a:pt x="1177" y="528"/>
                  </a:lnTo>
                  <a:lnTo>
                    <a:pt x="1178" y="527"/>
                  </a:lnTo>
                  <a:lnTo>
                    <a:pt x="1180" y="524"/>
                  </a:lnTo>
                  <a:lnTo>
                    <a:pt x="1180" y="520"/>
                  </a:lnTo>
                  <a:lnTo>
                    <a:pt x="1180" y="518"/>
                  </a:lnTo>
                  <a:lnTo>
                    <a:pt x="1180" y="516"/>
                  </a:lnTo>
                  <a:lnTo>
                    <a:pt x="1181" y="508"/>
                  </a:lnTo>
                  <a:lnTo>
                    <a:pt x="1181" y="506"/>
                  </a:lnTo>
                  <a:lnTo>
                    <a:pt x="1181" y="504"/>
                  </a:lnTo>
                  <a:lnTo>
                    <a:pt x="1181" y="501"/>
                  </a:lnTo>
                  <a:lnTo>
                    <a:pt x="1183" y="494"/>
                  </a:lnTo>
                  <a:lnTo>
                    <a:pt x="1185" y="491"/>
                  </a:lnTo>
                  <a:lnTo>
                    <a:pt x="1188" y="487"/>
                  </a:lnTo>
                  <a:lnTo>
                    <a:pt x="1191" y="484"/>
                  </a:lnTo>
                  <a:lnTo>
                    <a:pt x="1201" y="467"/>
                  </a:lnTo>
                  <a:lnTo>
                    <a:pt x="1206" y="458"/>
                  </a:lnTo>
                  <a:lnTo>
                    <a:pt x="1209" y="455"/>
                  </a:lnTo>
                  <a:lnTo>
                    <a:pt x="1210" y="453"/>
                  </a:lnTo>
                  <a:lnTo>
                    <a:pt x="1212" y="451"/>
                  </a:lnTo>
                  <a:lnTo>
                    <a:pt x="1215" y="450"/>
                  </a:lnTo>
                  <a:lnTo>
                    <a:pt x="1217" y="450"/>
                  </a:lnTo>
                  <a:lnTo>
                    <a:pt x="1223" y="450"/>
                  </a:lnTo>
                  <a:lnTo>
                    <a:pt x="1225" y="450"/>
                  </a:lnTo>
                  <a:lnTo>
                    <a:pt x="1228" y="448"/>
                  </a:lnTo>
                  <a:lnTo>
                    <a:pt x="1228" y="446"/>
                  </a:lnTo>
                  <a:lnTo>
                    <a:pt x="1229" y="444"/>
                  </a:lnTo>
                  <a:lnTo>
                    <a:pt x="1229" y="435"/>
                  </a:lnTo>
                  <a:lnTo>
                    <a:pt x="1229" y="431"/>
                  </a:lnTo>
                  <a:lnTo>
                    <a:pt x="1230" y="428"/>
                  </a:lnTo>
                  <a:lnTo>
                    <a:pt x="1230" y="424"/>
                  </a:lnTo>
                  <a:lnTo>
                    <a:pt x="1231" y="422"/>
                  </a:lnTo>
                  <a:lnTo>
                    <a:pt x="1233" y="419"/>
                  </a:lnTo>
                  <a:lnTo>
                    <a:pt x="1236" y="415"/>
                  </a:lnTo>
                  <a:lnTo>
                    <a:pt x="1237" y="412"/>
                  </a:lnTo>
                  <a:lnTo>
                    <a:pt x="1240" y="407"/>
                  </a:lnTo>
                  <a:lnTo>
                    <a:pt x="1241" y="402"/>
                  </a:lnTo>
                  <a:lnTo>
                    <a:pt x="1247" y="396"/>
                  </a:lnTo>
                  <a:lnTo>
                    <a:pt x="1248" y="394"/>
                  </a:lnTo>
                  <a:lnTo>
                    <a:pt x="1250" y="391"/>
                  </a:lnTo>
                  <a:lnTo>
                    <a:pt x="1253" y="388"/>
                  </a:lnTo>
                  <a:lnTo>
                    <a:pt x="1254" y="387"/>
                  </a:lnTo>
                  <a:lnTo>
                    <a:pt x="1257" y="386"/>
                  </a:lnTo>
                  <a:lnTo>
                    <a:pt x="1258" y="384"/>
                  </a:lnTo>
                  <a:lnTo>
                    <a:pt x="1260" y="386"/>
                  </a:lnTo>
                  <a:lnTo>
                    <a:pt x="1262" y="387"/>
                  </a:lnTo>
                  <a:lnTo>
                    <a:pt x="1262" y="388"/>
                  </a:lnTo>
                  <a:lnTo>
                    <a:pt x="1262" y="390"/>
                  </a:lnTo>
                  <a:lnTo>
                    <a:pt x="1262" y="392"/>
                  </a:lnTo>
                  <a:lnTo>
                    <a:pt x="1261" y="395"/>
                  </a:lnTo>
                  <a:lnTo>
                    <a:pt x="1261" y="397"/>
                  </a:lnTo>
                  <a:lnTo>
                    <a:pt x="1260" y="400"/>
                  </a:lnTo>
                  <a:lnTo>
                    <a:pt x="1261" y="403"/>
                  </a:lnTo>
                  <a:lnTo>
                    <a:pt x="1261" y="404"/>
                  </a:lnTo>
                  <a:lnTo>
                    <a:pt x="1261" y="408"/>
                  </a:lnTo>
                  <a:lnTo>
                    <a:pt x="1260" y="411"/>
                  </a:lnTo>
                  <a:lnTo>
                    <a:pt x="1261" y="413"/>
                  </a:lnTo>
                  <a:lnTo>
                    <a:pt x="1263" y="414"/>
                  </a:lnTo>
                  <a:lnTo>
                    <a:pt x="1265" y="414"/>
                  </a:lnTo>
                  <a:lnTo>
                    <a:pt x="1268" y="413"/>
                  </a:lnTo>
                  <a:lnTo>
                    <a:pt x="1271" y="410"/>
                  </a:lnTo>
                  <a:lnTo>
                    <a:pt x="1273" y="407"/>
                  </a:lnTo>
                  <a:lnTo>
                    <a:pt x="1276" y="403"/>
                  </a:lnTo>
                  <a:lnTo>
                    <a:pt x="1286" y="390"/>
                  </a:lnTo>
                  <a:lnTo>
                    <a:pt x="1289" y="386"/>
                  </a:lnTo>
                  <a:lnTo>
                    <a:pt x="1292" y="380"/>
                  </a:lnTo>
                  <a:lnTo>
                    <a:pt x="1293" y="378"/>
                  </a:lnTo>
                  <a:lnTo>
                    <a:pt x="1294" y="375"/>
                  </a:lnTo>
                  <a:lnTo>
                    <a:pt x="1296" y="374"/>
                  </a:lnTo>
                  <a:lnTo>
                    <a:pt x="1297" y="372"/>
                  </a:lnTo>
                  <a:lnTo>
                    <a:pt x="1298" y="370"/>
                  </a:lnTo>
                  <a:lnTo>
                    <a:pt x="1301" y="367"/>
                  </a:lnTo>
                  <a:lnTo>
                    <a:pt x="1303" y="365"/>
                  </a:lnTo>
                  <a:lnTo>
                    <a:pt x="1305" y="364"/>
                  </a:lnTo>
                  <a:lnTo>
                    <a:pt x="1309" y="363"/>
                  </a:lnTo>
                  <a:lnTo>
                    <a:pt x="1311" y="362"/>
                  </a:lnTo>
                  <a:lnTo>
                    <a:pt x="1314" y="360"/>
                  </a:lnTo>
                  <a:lnTo>
                    <a:pt x="1321" y="357"/>
                  </a:lnTo>
                  <a:lnTo>
                    <a:pt x="1324" y="357"/>
                  </a:lnTo>
                  <a:lnTo>
                    <a:pt x="1327" y="355"/>
                  </a:lnTo>
                  <a:lnTo>
                    <a:pt x="1330" y="352"/>
                  </a:lnTo>
                  <a:lnTo>
                    <a:pt x="1333" y="351"/>
                  </a:lnTo>
                  <a:lnTo>
                    <a:pt x="1337" y="350"/>
                  </a:lnTo>
                  <a:lnTo>
                    <a:pt x="1341" y="349"/>
                  </a:lnTo>
                  <a:lnTo>
                    <a:pt x="1348" y="347"/>
                  </a:lnTo>
                  <a:lnTo>
                    <a:pt x="1350" y="346"/>
                  </a:lnTo>
                  <a:lnTo>
                    <a:pt x="1354" y="344"/>
                  </a:lnTo>
                  <a:lnTo>
                    <a:pt x="1358" y="342"/>
                  </a:lnTo>
                  <a:lnTo>
                    <a:pt x="1372" y="338"/>
                  </a:lnTo>
                  <a:lnTo>
                    <a:pt x="1375" y="336"/>
                  </a:lnTo>
                  <a:lnTo>
                    <a:pt x="1377" y="335"/>
                  </a:lnTo>
                  <a:lnTo>
                    <a:pt x="1380" y="333"/>
                  </a:lnTo>
                  <a:lnTo>
                    <a:pt x="1384" y="331"/>
                  </a:lnTo>
                  <a:lnTo>
                    <a:pt x="1389" y="327"/>
                  </a:lnTo>
                  <a:lnTo>
                    <a:pt x="1392" y="325"/>
                  </a:lnTo>
                  <a:lnTo>
                    <a:pt x="1394" y="324"/>
                  </a:lnTo>
                  <a:lnTo>
                    <a:pt x="1397" y="320"/>
                  </a:lnTo>
                  <a:lnTo>
                    <a:pt x="1404" y="311"/>
                  </a:lnTo>
                  <a:lnTo>
                    <a:pt x="1409" y="303"/>
                  </a:lnTo>
                  <a:lnTo>
                    <a:pt x="1410" y="298"/>
                  </a:lnTo>
                  <a:lnTo>
                    <a:pt x="1412" y="295"/>
                  </a:lnTo>
                  <a:lnTo>
                    <a:pt x="1413" y="293"/>
                  </a:lnTo>
                  <a:lnTo>
                    <a:pt x="1414" y="292"/>
                  </a:lnTo>
                  <a:lnTo>
                    <a:pt x="1415" y="290"/>
                  </a:lnTo>
                  <a:lnTo>
                    <a:pt x="1417" y="288"/>
                  </a:lnTo>
                  <a:lnTo>
                    <a:pt x="1418" y="287"/>
                  </a:lnTo>
                  <a:lnTo>
                    <a:pt x="1421" y="286"/>
                  </a:lnTo>
                  <a:lnTo>
                    <a:pt x="1426" y="285"/>
                  </a:lnTo>
                  <a:lnTo>
                    <a:pt x="1430" y="284"/>
                  </a:lnTo>
                  <a:lnTo>
                    <a:pt x="1433" y="284"/>
                  </a:lnTo>
                  <a:lnTo>
                    <a:pt x="1437" y="285"/>
                  </a:lnTo>
                  <a:lnTo>
                    <a:pt x="1439" y="285"/>
                  </a:lnTo>
                  <a:lnTo>
                    <a:pt x="1441" y="285"/>
                  </a:lnTo>
                  <a:lnTo>
                    <a:pt x="1446" y="286"/>
                  </a:lnTo>
                  <a:lnTo>
                    <a:pt x="1448" y="287"/>
                  </a:lnTo>
                  <a:lnTo>
                    <a:pt x="1450" y="290"/>
                  </a:lnTo>
                  <a:lnTo>
                    <a:pt x="1453" y="290"/>
                  </a:lnTo>
                  <a:lnTo>
                    <a:pt x="1455" y="291"/>
                  </a:lnTo>
                  <a:lnTo>
                    <a:pt x="1456" y="290"/>
                  </a:lnTo>
                  <a:lnTo>
                    <a:pt x="1458" y="288"/>
                  </a:lnTo>
                  <a:lnTo>
                    <a:pt x="1462" y="286"/>
                  </a:lnTo>
                  <a:lnTo>
                    <a:pt x="1464" y="285"/>
                  </a:lnTo>
                  <a:lnTo>
                    <a:pt x="1468" y="285"/>
                  </a:lnTo>
                  <a:lnTo>
                    <a:pt x="1470" y="285"/>
                  </a:lnTo>
                  <a:lnTo>
                    <a:pt x="1472" y="284"/>
                  </a:lnTo>
                  <a:lnTo>
                    <a:pt x="1476" y="284"/>
                  </a:lnTo>
                  <a:lnTo>
                    <a:pt x="1480" y="283"/>
                  </a:lnTo>
                  <a:lnTo>
                    <a:pt x="1486" y="280"/>
                  </a:lnTo>
                  <a:lnTo>
                    <a:pt x="1501" y="268"/>
                  </a:lnTo>
                  <a:lnTo>
                    <a:pt x="1503" y="267"/>
                  </a:lnTo>
                  <a:lnTo>
                    <a:pt x="1505" y="264"/>
                  </a:lnTo>
                  <a:lnTo>
                    <a:pt x="1506" y="262"/>
                  </a:lnTo>
                  <a:lnTo>
                    <a:pt x="1508" y="261"/>
                  </a:lnTo>
                  <a:lnTo>
                    <a:pt x="1509" y="260"/>
                  </a:lnTo>
                  <a:lnTo>
                    <a:pt x="1510" y="260"/>
                  </a:lnTo>
                  <a:lnTo>
                    <a:pt x="1511" y="259"/>
                  </a:lnTo>
                  <a:lnTo>
                    <a:pt x="1512" y="258"/>
                  </a:lnTo>
                  <a:lnTo>
                    <a:pt x="1513" y="256"/>
                  </a:lnTo>
                  <a:lnTo>
                    <a:pt x="1514" y="256"/>
                  </a:lnTo>
                  <a:lnTo>
                    <a:pt x="1516" y="256"/>
                  </a:lnTo>
                  <a:lnTo>
                    <a:pt x="1518" y="256"/>
                  </a:lnTo>
                  <a:lnTo>
                    <a:pt x="1519" y="256"/>
                  </a:lnTo>
                  <a:lnTo>
                    <a:pt x="1521" y="256"/>
                  </a:lnTo>
                  <a:lnTo>
                    <a:pt x="1524" y="258"/>
                  </a:lnTo>
                  <a:lnTo>
                    <a:pt x="1525" y="259"/>
                  </a:lnTo>
                  <a:lnTo>
                    <a:pt x="1527" y="259"/>
                  </a:lnTo>
                  <a:lnTo>
                    <a:pt x="1528" y="259"/>
                  </a:lnTo>
                  <a:lnTo>
                    <a:pt x="1530" y="258"/>
                  </a:lnTo>
                  <a:lnTo>
                    <a:pt x="1532" y="256"/>
                  </a:lnTo>
                  <a:lnTo>
                    <a:pt x="1534" y="254"/>
                  </a:lnTo>
                  <a:lnTo>
                    <a:pt x="1541" y="251"/>
                  </a:lnTo>
                  <a:lnTo>
                    <a:pt x="1543" y="250"/>
                  </a:lnTo>
                  <a:lnTo>
                    <a:pt x="1546" y="248"/>
                  </a:lnTo>
                  <a:lnTo>
                    <a:pt x="1550" y="247"/>
                  </a:lnTo>
                  <a:lnTo>
                    <a:pt x="1556" y="247"/>
                  </a:lnTo>
                  <a:lnTo>
                    <a:pt x="1559" y="247"/>
                  </a:lnTo>
                  <a:lnTo>
                    <a:pt x="1564" y="247"/>
                  </a:lnTo>
                  <a:lnTo>
                    <a:pt x="1567" y="247"/>
                  </a:lnTo>
                  <a:lnTo>
                    <a:pt x="1574" y="247"/>
                  </a:lnTo>
                  <a:lnTo>
                    <a:pt x="1578" y="246"/>
                  </a:lnTo>
                  <a:lnTo>
                    <a:pt x="1580" y="246"/>
                  </a:lnTo>
                  <a:lnTo>
                    <a:pt x="1582" y="244"/>
                  </a:lnTo>
                  <a:lnTo>
                    <a:pt x="1583" y="242"/>
                  </a:lnTo>
                  <a:lnTo>
                    <a:pt x="1584" y="239"/>
                  </a:lnTo>
                  <a:lnTo>
                    <a:pt x="1584" y="237"/>
                  </a:lnTo>
                  <a:lnTo>
                    <a:pt x="1583" y="232"/>
                  </a:lnTo>
                  <a:lnTo>
                    <a:pt x="1583" y="229"/>
                  </a:lnTo>
                  <a:lnTo>
                    <a:pt x="1584" y="224"/>
                  </a:lnTo>
                  <a:lnTo>
                    <a:pt x="1585" y="221"/>
                  </a:lnTo>
                  <a:lnTo>
                    <a:pt x="1585" y="219"/>
                  </a:lnTo>
                  <a:lnTo>
                    <a:pt x="1586" y="215"/>
                  </a:lnTo>
                  <a:lnTo>
                    <a:pt x="1585" y="212"/>
                  </a:lnTo>
                  <a:lnTo>
                    <a:pt x="1585" y="210"/>
                  </a:lnTo>
                  <a:lnTo>
                    <a:pt x="1586" y="208"/>
                  </a:lnTo>
                  <a:lnTo>
                    <a:pt x="1588" y="206"/>
                  </a:lnTo>
                  <a:lnTo>
                    <a:pt x="1590" y="205"/>
                  </a:lnTo>
                  <a:lnTo>
                    <a:pt x="1591" y="204"/>
                  </a:lnTo>
                  <a:lnTo>
                    <a:pt x="1593" y="203"/>
                  </a:lnTo>
                  <a:lnTo>
                    <a:pt x="1593" y="199"/>
                  </a:lnTo>
                  <a:lnTo>
                    <a:pt x="1593" y="197"/>
                  </a:lnTo>
                  <a:lnTo>
                    <a:pt x="1596" y="196"/>
                  </a:lnTo>
                  <a:lnTo>
                    <a:pt x="1599" y="195"/>
                  </a:lnTo>
                  <a:lnTo>
                    <a:pt x="1602" y="194"/>
                  </a:lnTo>
                  <a:lnTo>
                    <a:pt x="1607" y="195"/>
                  </a:lnTo>
                  <a:lnTo>
                    <a:pt x="1610" y="196"/>
                  </a:lnTo>
                  <a:lnTo>
                    <a:pt x="1613" y="198"/>
                  </a:lnTo>
                  <a:lnTo>
                    <a:pt x="1615" y="200"/>
                  </a:lnTo>
                  <a:lnTo>
                    <a:pt x="1617" y="202"/>
                  </a:lnTo>
                  <a:lnTo>
                    <a:pt x="1618" y="204"/>
                  </a:lnTo>
                  <a:lnTo>
                    <a:pt x="1620" y="205"/>
                  </a:lnTo>
                  <a:lnTo>
                    <a:pt x="1623" y="206"/>
                  </a:lnTo>
                  <a:lnTo>
                    <a:pt x="1629" y="206"/>
                  </a:lnTo>
                  <a:lnTo>
                    <a:pt x="1630" y="206"/>
                  </a:lnTo>
                  <a:lnTo>
                    <a:pt x="1632" y="204"/>
                  </a:lnTo>
                  <a:lnTo>
                    <a:pt x="1633" y="202"/>
                  </a:lnTo>
                  <a:lnTo>
                    <a:pt x="1633" y="198"/>
                  </a:lnTo>
                  <a:lnTo>
                    <a:pt x="1637" y="196"/>
                  </a:lnTo>
                  <a:lnTo>
                    <a:pt x="1640" y="196"/>
                  </a:lnTo>
                  <a:lnTo>
                    <a:pt x="1646" y="196"/>
                  </a:lnTo>
                  <a:lnTo>
                    <a:pt x="1648" y="197"/>
                  </a:lnTo>
                  <a:lnTo>
                    <a:pt x="1653" y="196"/>
                  </a:lnTo>
                  <a:lnTo>
                    <a:pt x="1657" y="196"/>
                  </a:lnTo>
                  <a:lnTo>
                    <a:pt x="1663" y="197"/>
                  </a:lnTo>
                  <a:lnTo>
                    <a:pt x="1669" y="196"/>
                  </a:lnTo>
                  <a:lnTo>
                    <a:pt x="1673" y="195"/>
                  </a:lnTo>
                  <a:lnTo>
                    <a:pt x="1677" y="194"/>
                  </a:lnTo>
                  <a:lnTo>
                    <a:pt x="1680" y="192"/>
                  </a:lnTo>
                  <a:lnTo>
                    <a:pt x="1684" y="191"/>
                  </a:lnTo>
                  <a:lnTo>
                    <a:pt x="1688" y="190"/>
                  </a:lnTo>
                  <a:lnTo>
                    <a:pt x="1692" y="190"/>
                  </a:lnTo>
                  <a:lnTo>
                    <a:pt x="1694" y="189"/>
                  </a:lnTo>
                  <a:lnTo>
                    <a:pt x="1696" y="190"/>
                  </a:lnTo>
                  <a:lnTo>
                    <a:pt x="1701" y="191"/>
                  </a:lnTo>
                  <a:lnTo>
                    <a:pt x="1702" y="192"/>
                  </a:lnTo>
                  <a:lnTo>
                    <a:pt x="1703" y="195"/>
                  </a:lnTo>
                  <a:lnTo>
                    <a:pt x="1703" y="197"/>
                  </a:lnTo>
                  <a:lnTo>
                    <a:pt x="1705" y="197"/>
                  </a:lnTo>
                  <a:lnTo>
                    <a:pt x="1710" y="198"/>
                  </a:lnTo>
                  <a:lnTo>
                    <a:pt x="1711" y="197"/>
                  </a:lnTo>
                  <a:lnTo>
                    <a:pt x="1712" y="196"/>
                  </a:lnTo>
                  <a:lnTo>
                    <a:pt x="1713" y="195"/>
                  </a:lnTo>
                  <a:lnTo>
                    <a:pt x="1713" y="192"/>
                  </a:lnTo>
                  <a:lnTo>
                    <a:pt x="1714" y="191"/>
                  </a:lnTo>
                  <a:lnTo>
                    <a:pt x="1717" y="189"/>
                  </a:lnTo>
                  <a:lnTo>
                    <a:pt x="1718" y="187"/>
                  </a:lnTo>
                  <a:lnTo>
                    <a:pt x="1719" y="184"/>
                  </a:lnTo>
                  <a:lnTo>
                    <a:pt x="1720" y="181"/>
                  </a:lnTo>
                  <a:lnTo>
                    <a:pt x="1725" y="178"/>
                  </a:lnTo>
                  <a:lnTo>
                    <a:pt x="1726" y="175"/>
                  </a:lnTo>
                  <a:lnTo>
                    <a:pt x="1729" y="174"/>
                  </a:lnTo>
                  <a:lnTo>
                    <a:pt x="1732" y="173"/>
                  </a:lnTo>
                  <a:lnTo>
                    <a:pt x="1733" y="172"/>
                  </a:lnTo>
                  <a:lnTo>
                    <a:pt x="1733" y="168"/>
                  </a:lnTo>
                  <a:lnTo>
                    <a:pt x="1733" y="166"/>
                  </a:lnTo>
                  <a:lnTo>
                    <a:pt x="1733" y="163"/>
                  </a:lnTo>
                  <a:lnTo>
                    <a:pt x="1735" y="160"/>
                  </a:lnTo>
                  <a:lnTo>
                    <a:pt x="1735" y="158"/>
                  </a:lnTo>
                  <a:lnTo>
                    <a:pt x="1735" y="156"/>
                  </a:lnTo>
                  <a:lnTo>
                    <a:pt x="1733" y="154"/>
                  </a:lnTo>
                  <a:lnTo>
                    <a:pt x="1730" y="152"/>
                  </a:lnTo>
                  <a:lnTo>
                    <a:pt x="1729" y="152"/>
                  </a:lnTo>
                  <a:lnTo>
                    <a:pt x="1727" y="150"/>
                  </a:lnTo>
                  <a:lnTo>
                    <a:pt x="1726" y="149"/>
                  </a:lnTo>
                  <a:lnTo>
                    <a:pt x="1724" y="147"/>
                  </a:lnTo>
                  <a:lnTo>
                    <a:pt x="1721" y="146"/>
                  </a:lnTo>
                  <a:lnTo>
                    <a:pt x="1720" y="146"/>
                  </a:lnTo>
                  <a:lnTo>
                    <a:pt x="1718" y="146"/>
                  </a:lnTo>
                  <a:lnTo>
                    <a:pt x="1716" y="147"/>
                  </a:lnTo>
                  <a:lnTo>
                    <a:pt x="1712" y="148"/>
                  </a:lnTo>
                  <a:lnTo>
                    <a:pt x="1710" y="149"/>
                  </a:lnTo>
                  <a:lnTo>
                    <a:pt x="1708" y="149"/>
                  </a:lnTo>
                  <a:lnTo>
                    <a:pt x="1704" y="149"/>
                  </a:lnTo>
                  <a:lnTo>
                    <a:pt x="1702" y="149"/>
                  </a:lnTo>
                  <a:lnTo>
                    <a:pt x="1700" y="151"/>
                  </a:lnTo>
                  <a:lnTo>
                    <a:pt x="1697" y="152"/>
                  </a:lnTo>
                  <a:lnTo>
                    <a:pt x="1696" y="154"/>
                  </a:lnTo>
                  <a:lnTo>
                    <a:pt x="1694" y="154"/>
                  </a:lnTo>
                  <a:lnTo>
                    <a:pt x="1694" y="152"/>
                  </a:lnTo>
                  <a:lnTo>
                    <a:pt x="1694" y="150"/>
                  </a:lnTo>
                  <a:lnTo>
                    <a:pt x="1695" y="148"/>
                  </a:lnTo>
                  <a:lnTo>
                    <a:pt x="1697" y="144"/>
                  </a:lnTo>
                  <a:lnTo>
                    <a:pt x="1698" y="142"/>
                  </a:lnTo>
                  <a:lnTo>
                    <a:pt x="1700" y="139"/>
                  </a:lnTo>
                  <a:lnTo>
                    <a:pt x="1701" y="138"/>
                  </a:lnTo>
                  <a:lnTo>
                    <a:pt x="1703" y="133"/>
                  </a:lnTo>
                  <a:lnTo>
                    <a:pt x="1703" y="132"/>
                  </a:lnTo>
                  <a:lnTo>
                    <a:pt x="1703" y="130"/>
                  </a:lnTo>
                  <a:lnTo>
                    <a:pt x="1704" y="126"/>
                  </a:lnTo>
                  <a:lnTo>
                    <a:pt x="1705" y="124"/>
                  </a:lnTo>
                  <a:lnTo>
                    <a:pt x="1705" y="123"/>
                  </a:lnTo>
                  <a:lnTo>
                    <a:pt x="1704" y="120"/>
                  </a:lnTo>
                  <a:lnTo>
                    <a:pt x="1702" y="118"/>
                  </a:lnTo>
                  <a:lnTo>
                    <a:pt x="1701" y="118"/>
                  </a:lnTo>
                  <a:lnTo>
                    <a:pt x="1698" y="118"/>
                  </a:lnTo>
                  <a:lnTo>
                    <a:pt x="1694" y="118"/>
                  </a:lnTo>
                  <a:lnTo>
                    <a:pt x="1692" y="118"/>
                  </a:lnTo>
                  <a:lnTo>
                    <a:pt x="1688" y="116"/>
                  </a:lnTo>
                  <a:lnTo>
                    <a:pt x="1686" y="112"/>
                  </a:lnTo>
                  <a:lnTo>
                    <a:pt x="1685" y="111"/>
                  </a:lnTo>
                  <a:lnTo>
                    <a:pt x="1677" y="103"/>
                  </a:lnTo>
                  <a:lnTo>
                    <a:pt x="1674" y="101"/>
                  </a:lnTo>
                  <a:lnTo>
                    <a:pt x="1674" y="98"/>
                  </a:lnTo>
                  <a:lnTo>
                    <a:pt x="1673" y="93"/>
                  </a:lnTo>
                  <a:lnTo>
                    <a:pt x="1672" y="88"/>
                  </a:lnTo>
                  <a:lnTo>
                    <a:pt x="1671" y="85"/>
                  </a:lnTo>
                  <a:lnTo>
                    <a:pt x="1671" y="83"/>
                  </a:lnTo>
                  <a:lnTo>
                    <a:pt x="1670" y="79"/>
                  </a:lnTo>
                  <a:lnTo>
                    <a:pt x="1666" y="75"/>
                  </a:lnTo>
                  <a:lnTo>
                    <a:pt x="1666" y="72"/>
                  </a:lnTo>
                  <a:lnTo>
                    <a:pt x="1666" y="70"/>
                  </a:lnTo>
                  <a:lnTo>
                    <a:pt x="1668" y="69"/>
                  </a:lnTo>
                  <a:lnTo>
                    <a:pt x="1669" y="68"/>
                  </a:lnTo>
                  <a:lnTo>
                    <a:pt x="1672" y="66"/>
                  </a:lnTo>
                  <a:lnTo>
                    <a:pt x="1677" y="62"/>
                  </a:lnTo>
                  <a:lnTo>
                    <a:pt x="1678" y="60"/>
                  </a:lnTo>
                  <a:lnTo>
                    <a:pt x="1680" y="58"/>
                  </a:lnTo>
                  <a:lnTo>
                    <a:pt x="1682" y="54"/>
                  </a:lnTo>
                  <a:lnTo>
                    <a:pt x="1684" y="51"/>
                  </a:lnTo>
                  <a:lnTo>
                    <a:pt x="1685" y="48"/>
                  </a:lnTo>
                  <a:lnTo>
                    <a:pt x="1687" y="46"/>
                  </a:lnTo>
                  <a:lnTo>
                    <a:pt x="1689" y="44"/>
                  </a:lnTo>
                  <a:lnTo>
                    <a:pt x="1695" y="43"/>
                  </a:lnTo>
                  <a:lnTo>
                    <a:pt x="1697" y="42"/>
                  </a:lnTo>
                  <a:lnTo>
                    <a:pt x="1700" y="39"/>
                  </a:lnTo>
                  <a:lnTo>
                    <a:pt x="1702" y="37"/>
                  </a:lnTo>
                  <a:lnTo>
                    <a:pt x="1703" y="35"/>
                  </a:lnTo>
                  <a:lnTo>
                    <a:pt x="1706" y="32"/>
                  </a:lnTo>
                  <a:lnTo>
                    <a:pt x="1709" y="31"/>
                  </a:lnTo>
                  <a:lnTo>
                    <a:pt x="1711" y="30"/>
                  </a:lnTo>
                  <a:lnTo>
                    <a:pt x="1718" y="24"/>
                  </a:lnTo>
                  <a:lnTo>
                    <a:pt x="1720" y="23"/>
                  </a:lnTo>
                  <a:lnTo>
                    <a:pt x="1721" y="21"/>
                  </a:lnTo>
                  <a:lnTo>
                    <a:pt x="1725" y="15"/>
                  </a:lnTo>
                  <a:lnTo>
                    <a:pt x="1726" y="14"/>
                  </a:lnTo>
                  <a:lnTo>
                    <a:pt x="1726" y="12"/>
                  </a:lnTo>
                  <a:lnTo>
                    <a:pt x="1728" y="8"/>
                  </a:lnTo>
                  <a:lnTo>
                    <a:pt x="1729" y="5"/>
                  </a:lnTo>
                  <a:lnTo>
                    <a:pt x="1728" y="3"/>
                  </a:lnTo>
                  <a:lnTo>
                    <a:pt x="1725" y="2"/>
                  </a:lnTo>
                  <a:lnTo>
                    <a:pt x="1719" y="2"/>
                  </a:lnTo>
                  <a:lnTo>
                    <a:pt x="1711" y="2"/>
                  </a:lnTo>
                  <a:lnTo>
                    <a:pt x="1704" y="0"/>
                  </a:lnTo>
                  <a:lnTo>
                    <a:pt x="1697" y="0"/>
                  </a:lnTo>
                  <a:lnTo>
                    <a:pt x="1688" y="0"/>
                  </a:lnTo>
                  <a:lnTo>
                    <a:pt x="1685" y="0"/>
                  </a:lnTo>
                  <a:lnTo>
                    <a:pt x="1674" y="2"/>
                  </a:lnTo>
                  <a:lnTo>
                    <a:pt x="1666" y="3"/>
                  </a:lnTo>
                  <a:lnTo>
                    <a:pt x="1662" y="3"/>
                  </a:lnTo>
                  <a:lnTo>
                    <a:pt x="1654" y="3"/>
                  </a:lnTo>
                  <a:lnTo>
                    <a:pt x="1647" y="3"/>
                  </a:lnTo>
                  <a:lnTo>
                    <a:pt x="1642" y="3"/>
                  </a:lnTo>
                  <a:lnTo>
                    <a:pt x="1634" y="4"/>
                  </a:lnTo>
                  <a:lnTo>
                    <a:pt x="1629" y="4"/>
                  </a:lnTo>
                  <a:lnTo>
                    <a:pt x="1626" y="4"/>
                  </a:lnTo>
                  <a:lnTo>
                    <a:pt x="1618" y="5"/>
                  </a:lnTo>
                  <a:lnTo>
                    <a:pt x="1615" y="5"/>
                  </a:lnTo>
                  <a:lnTo>
                    <a:pt x="1610" y="7"/>
                  </a:lnTo>
                  <a:lnTo>
                    <a:pt x="1608" y="8"/>
                  </a:lnTo>
                  <a:lnTo>
                    <a:pt x="1604" y="13"/>
                  </a:lnTo>
                  <a:lnTo>
                    <a:pt x="1601" y="15"/>
                  </a:lnTo>
                  <a:lnTo>
                    <a:pt x="1600" y="18"/>
                  </a:lnTo>
                  <a:lnTo>
                    <a:pt x="1599" y="20"/>
                  </a:lnTo>
                  <a:lnTo>
                    <a:pt x="1598" y="22"/>
                  </a:lnTo>
                  <a:lnTo>
                    <a:pt x="1593" y="27"/>
                  </a:lnTo>
                  <a:lnTo>
                    <a:pt x="1592" y="28"/>
                  </a:lnTo>
                  <a:lnTo>
                    <a:pt x="1585" y="32"/>
                  </a:lnTo>
                  <a:lnTo>
                    <a:pt x="1584" y="32"/>
                  </a:lnTo>
                  <a:lnTo>
                    <a:pt x="1578" y="34"/>
                  </a:lnTo>
                  <a:lnTo>
                    <a:pt x="1576" y="34"/>
                  </a:lnTo>
                  <a:lnTo>
                    <a:pt x="1572" y="34"/>
                  </a:lnTo>
                  <a:lnTo>
                    <a:pt x="1568" y="32"/>
                  </a:lnTo>
                  <a:lnTo>
                    <a:pt x="1566" y="32"/>
                  </a:lnTo>
                  <a:lnTo>
                    <a:pt x="1560" y="34"/>
                  </a:lnTo>
                  <a:lnTo>
                    <a:pt x="1550" y="34"/>
                  </a:lnTo>
                  <a:lnTo>
                    <a:pt x="1544" y="34"/>
                  </a:lnTo>
                  <a:lnTo>
                    <a:pt x="1541" y="34"/>
                  </a:lnTo>
                  <a:lnTo>
                    <a:pt x="1535" y="34"/>
                  </a:lnTo>
                  <a:lnTo>
                    <a:pt x="1532" y="34"/>
                  </a:lnTo>
                  <a:lnTo>
                    <a:pt x="1526" y="35"/>
                  </a:lnTo>
                  <a:lnTo>
                    <a:pt x="1519" y="36"/>
                  </a:lnTo>
                  <a:lnTo>
                    <a:pt x="1514" y="37"/>
                  </a:lnTo>
                  <a:lnTo>
                    <a:pt x="1511" y="38"/>
                  </a:lnTo>
                  <a:lnTo>
                    <a:pt x="1508" y="39"/>
                  </a:lnTo>
                  <a:lnTo>
                    <a:pt x="1503" y="42"/>
                  </a:lnTo>
                  <a:lnTo>
                    <a:pt x="1497" y="45"/>
                  </a:lnTo>
                  <a:lnTo>
                    <a:pt x="1495" y="47"/>
                  </a:lnTo>
                  <a:lnTo>
                    <a:pt x="1493" y="48"/>
                  </a:lnTo>
                  <a:lnTo>
                    <a:pt x="1489" y="51"/>
                  </a:lnTo>
                  <a:lnTo>
                    <a:pt x="1486" y="52"/>
                  </a:lnTo>
                  <a:lnTo>
                    <a:pt x="1482" y="53"/>
                  </a:lnTo>
                  <a:lnTo>
                    <a:pt x="1479" y="53"/>
                  </a:lnTo>
                  <a:lnTo>
                    <a:pt x="1474" y="54"/>
                  </a:lnTo>
                  <a:lnTo>
                    <a:pt x="1471" y="54"/>
                  </a:lnTo>
                  <a:lnTo>
                    <a:pt x="1468" y="54"/>
                  </a:lnTo>
                  <a:lnTo>
                    <a:pt x="1462" y="55"/>
                  </a:lnTo>
                  <a:lnTo>
                    <a:pt x="1457" y="55"/>
                  </a:lnTo>
                  <a:lnTo>
                    <a:pt x="1454" y="56"/>
                  </a:lnTo>
                  <a:lnTo>
                    <a:pt x="1448" y="56"/>
                  </a:lnTo>
                  <a:lnTo>
                    <a:pt x="1446" y="56"/>
                  </a:lnTo>
                  <a:lnTo>
                    <a:pt x="1442" y="56"/>
                  </a:lnTo>
                  <a:lnTo>
                    <a:pt x="1434" y="59"/>
                  </a:lnTo>
                  <a:lnTo>
                    <a:pt x="1424" y="63"/>
                  </a:lnTo>
                  <a:lnTo>
                    <a:pt x="1412" y="71"/>
                  </a:lnTo>
                  <a:lnTo>
                    <a:pt x="1408" y="71"/>
                  </a:lnTo>
                  <a:lnTo>
                    <a:pt x="1405" y="72"/>
                  </a:lnTo>
                  <a:lnTo>
                    <a:pt x="1402" y="74"/>
                  </a:lnTo>
                  <a:lnTo>
                    <a:pt x="1400" y="76"/>
                  </a:lnTo>
                  <a:lnTo>
                    <a:pt x="1399" y="78"/>
                  </a:lnTo>
                  <a:lnTo>
                    <a:pt x="1398" y="79"/>
                  </a:lnTo>
                  <a:lnTo>
                    <a:pt x="1394" y="82"/>
                  </a:lnTo>
                  <a:lnTo>
                    <a:pt x="1392" y="83"/>
                  </a:lnTo>
                  <a:lnTo>
                    <a:pt x="1391" y="84"/>
                  </a:lnTo>
                  <a:lnTo>
                    <a:pt x="1389" y="85"/>
                  </a:lnTo>
                  <a:lnTo>
                    <a:pt x="1385" y="85"/>
                  </a:lnTo>
                  <a:lnTo>
                    <a:pt x="1382" y="86"/>
                  </a:lnTo>
                  <a:lnTo>
                    <a:pt x="1378" y="87"/>
                  </a:lnTo>
                  <a:lnTo>
                    <a:pt x="1374" y="87"/>
                  </a:lnTo>
                  <a:lnTo>
                    <a:pt x="1367" y="88"/>
                  </a:lnTo>
                  <a:lnTo>
                    <a:pt x="1360" y="92"/>
                  </a:lnTo>
                  <a:lnTo>
                    <a:pt x="1351" y="98"/>
                  </a:lnTo>
                  <a:lnTo>
                    <a:pt x="1344" y="102"/>
                  </a:lnTo>
                  <a:lnTo>
                    <a:pt x="1338" y="104"/>
                  </a:lnTo>
                  <a:lnTo>
                    <a:pt x="1335" y="106"/>
                  </a:lnTo>
                  <a:lnTo>
                    <a:pt x="1332" y="108"/>
                  </a:lnTo>
                  <a:lnTo>
                    <a:pt x="1329" y="108"/>
                  </a:lnTo>
                  <a:lnTo>
                    <a:pt x="1326" y="109"/>
                  </a:lnTo>
                  <a:lnTo>
                    <a:pt x="1320" y="110"/>
                  </a:lnTo>
                  <a:lnTo>
                    <a:pt x="1314" y="111"/>
                  </a:lnTo>
                  <a:lnTo>
                    <a:pt x="1311" y="112"/>
                  </a:lnTo>
                  <a:lnTo>
                    <a:pt x="1306" y="114"/>
                  </a:lnTo>
                  <a:lnTo>
                    <a:pt x="1303" y="114"/>
                  </a:lnTo>
                  <a:lnTo>
                    <a:pt x="1302" y="111"/>
                  </a:lnTo>
                  <a:lnTo>
                    <a:pt x="1301" y="108"/>
                  </a:lnTo>
                  <a:lnTo>
                    <a:pt x="1301" y="106"/>
                  </a:lnTo>
                  <a:lnTo>
                    <a:pt x="1300" y="103"/>
                  </a:lnTo>
                  <a:lnTo>
                    <a:pt x="1298" y="102"/>
                  </a:lnTo>
                  <a:lnTo>
                    <a:pt x="1297" y="102"/>
                  </a:lnTo>
                  <a:lnTo>
                    <a:pt x="1295" y="102"/>
                  </a:lnTo>
                  <a:lnTo>
                    <a:pt x="1294" y="103"/>
                  </a:lnTo>
                  <a:lnTo>
                    <a:pt x="1292" y="107"/>
                  </a:lnTo>
                  <a:lnTo>
                    <a:pt x="1289" y="108"/>
                  </a:lnTo>
                  <a:lnTo>
                    <a:pt x="1286" y="108"/>
                  </a:lnTo>
                  <a:lnTo>
                    <a:pt x="1281" y="108"/>
                  </a:lnTo>
                  <a:lnTo>
                    <a:pt x="1279" y="107"/>
                  </a:lnTo>
                  <a:lnTo>
                    <a:pt x="1276" y="104"/>
                  </a:lnTo>
                  <a:lnTo>
                    <a:pt x="1272" y="104"/>
                  </a:lnTo>
                  <a:lnTo>
                    <a:pt x="1268" y="106"/>
                  </a:lnTo>
                  <a:lnTo>
                    <a:pt x="1264" y="106"/>
                  </a:lnTo>
                  <a:lnTo>
                    <a:pt x="1261" y="104"/>
                  </a:lnTo>
                  <a:lnTo>
                    <a:pt x="1257" y="103"/>
                  </a:lnTo>
                  <a:lnTo>
                    <a:pt x="1255" y="102"/>
                  </a:lnTo>
                  <a:lnTo>
                    <a:pt x="1255" y="100"/>
                  </a:lnTo>
                  <a:lnTo>
                    <a:pt x="1254" y="98"/>
                  </a:lnTo>
                  <a:lnTo>
                    <a:pt x="1254" y="96"/>
                  </a:lnTo>
                  <a:lnTo>
                    <a:pt x="1255" y="94"/>
                  </a:lnTo>
                  <a:lnTo>
                    <a:pt x="1256" y="93"/>
                  </a:lnTo>
                  <a:lnTo>
                    <a:pt x="1256" y="91"/>
                  </a:lnTo>
                  <a:lnTo>
                    <a:pt x="1254" y="88"/>
                  </a:lnTo>
                  <a:lnTo>
                    <a:pt x="1252" y="87"/>
                  </a:lnTo>
                  <a:lnTo>
                    <a:pt x="1249" y="87"/>
                  </a:lnTo>
                  <a:lnTo>
                    <a:pt x="1247" y="87"/>
                  </a:lnTo>
                  <a:lnTo>
                    <a:pt x="1245" y="90"/>
                  </a:lnTo>
                  <a:lnTo>
                    <a:pt x="1244" y="92"/>
                  </a:lnTo>
                  <a:lnTo>
                    <a:pt x="1242" y="94"/>
                  </a:lnTo>
                  <a:lnTo>
                    <a:pt x="1242" y="96"/>
                  </a:lnTo>
                  <a:lnTo>
                    <a:pt x="1242" y="99"/>
                  </a:lnTo>
                  <a:lnTo>
                    <a:pt x="1244" y="101"/>
                  </a:lnTo>
                  <a:lnTo>
                    <a:pt x="1244" y="104"/>
                  </a:lnTo>
                  <a:lnTo>
                    <a:pt x="1245" y="108"/>
                  </a:lnTo>
                  <a:lnTo>
                    <a:pt x="1246" y="109"/>
                  </a:lnTo>
                  <a:lnTo>
                    <a:pt x="1248" y="111"/>
                  </a:lnTo>
                  <a:lnTo>
                    <a:pt x="1250" y="112"/>
                  </a:lnTo>
                  <a:lnTo>
                    <a:pt x="1253" y="115"/>
                  </a:lnTo>
                  <a:lnTo>
                    <a:pt x="1256" y="117"/>
                  </a:lnTo>
                  <a:lnTo>
                    <a:pt x="1256" y="119"/>
                  </a:lnTo>
                  <a:lnTo>
                    <a:pt x="1256" y="122"/>
                  </a:lnTo>
                  <a:lnTo>
                    <a:pt x="1255" y="123"/>
                  </a:lnTo>
                  <a:lnTo>
                    <a:pt x="1254" y="124"/>
                  </a:lnTo>
                  <a:lnTo>
                    <a:pt x="1252" y="125"/>
                  </a:lnTo>
                  <a:lnTo>
                    <a:pt x="1250" y="126"/>
                  </a:lnTo>
                  <a:lnTo>
                    <a:pt x="1248" y="126"/>
                  </a:lnTo>
                  <a:lnTo>
                    <a:pt x="1245" y="127"/>
                  </a:lnTo>
                  <a:lnTo>
                    <a:pt x="1241" y="127"/>
                  </a:lnTo>
                  <a:lnTo>
                    <a:pt x="1239" y="127"/>
                  </a:lnTo>
                  <a:lnTo>
                    <a:pt x="1236" y="128"/>
                  </a:lnTo>
                  <a:lnTo>
                    <a:pt x="1233" y="130"/>
                  </a:lnTo>
                  <a:lnTo>
                    <a:pt x="1229" y="132"/>
                  </a:lnTo>
                  <a:lnTo>
                    <a:pt x="1226" y="134"/>
                  </a:lnTo>
                  <a:lnTo>
                    <a:pt x="1225" y="136"/>
                  </a:lnTo>
                  <a:lnTo>
                    <a:pt x="1224" y="139"/>
                  </a:lnTo>
                  <a:lnTo>
                    <a:pt x="1223" y="140"/>
                  </a:lnTo>
                  <a:lnTo>
                    <a:pt x="1223" y="142"/>
                  </a:lnTo>
                  <a:lnTo>
                    <a:pt x="1218" y="148"/>
                  </a:lnTo>
                  <a:lnTo>
                    <a:pt x="1217" y="150"/>
                  </a:lnTo>
                  <a:lnTo>
                    <a:pt x="1216" y="151"/>
                  </a:lnTo>
                  <a:lnTo>
                    <a:pt x="1213" y="155"/>
                  </a:lnTo>
                  <a:lnTo>
                    <a:pt x="1212" y="156"/>
                  </a:lnTo>
                  <a:lnTo>
                    <a:pt x="1208" y="158"/>
                  </a:lnTo>
                  <a:lnTo>
                    <a:pt x="1206" y="159"/>
                  </a:lnTo>
                  <a:lnTo>
                    <a:pt x="1205" y="162"/>
                  </a:lnTo>
                  <a:lnTo>
                    <a:pt x="1200" y="164"/>
                  </a:lnTo>
                  <a:lnTo>
                    <a:pt x="1197" y="166"/>
                  </a:lnTo>
                  <a:lnTo>
                    <a:pt x="1194" y="167"/>
                  </a:lnTo>
                  <a:lnTo>
                    <a:pt x="1191" y="170"/>
                  </a:lnTo>
                  <a:lnTo>
                    <a:pt x="1188" y="172"/>
                  </a:lnTo>
                  <a:lnTo>
                    <a:pt x="1185" y="173"/>
                  </a:lnTo>
                  <a:lnTo>
                    <a:pt x="1183" y="174"/>
                  </a:lnTo>
                  <a:lnTo>
                    <a:pt x="1181" y="174"/>
                  </a:lnTo>
                  <a:lnTo>
                    <a:pt x="1178" y="176"/>
                  </a:lnTo>
                  <a:lnTo>
                    <a:pt x="1176" y="178"/>
                  </a:lnTo>
                  <a:lnTo>
                    <a:pt x="1174" y="179"/>
                  </a:lnTo>
                  <a:lnTo>
                    <a:pt x="1172" y="181"/>
                  </a:lnTo>
                  <a:lnTo>
                    <a:pt x="1170" y="183"/>
                  </a:lnTo>
                  <a:lnTo>
                    <a:pt x="1169" y="184"/>
                  </a:lnTo>
                  <a:lnTo>
                    <a:pt x="1166" y="188"/>
                  </a:lnTo>
                  <a:lnTo>
                    <a:pt x="1165" y="188"/>
                  </a:lnTo>
                  <a:lnTo>
                    <a:pt x="1161" y="194"/>
                  </a:lnTo>
                  <a:lnTo>
                    <a:pt x="1149" y="205"/>
                  </a:lnTo>
                  <a:lnTo>
                    <a:pt x="1145" y="208"/>
                  </a:lnTo>
                  <a:lnTo>
                    <a:pt x="1142" y="212"/>
                  </a:lnTo>
                  <a:lnTo>
                    <a:pt x="1140" y="214"/>
                  </a:lnTo>
                  <a:lnTo>
                    <a:pt x="1138" y="216"/>
                  </a:lnTo>
                  <a:lnTo>
                    <a:pt x="1137" y="220"/>
                  </a:lnTo>
                  <a:lnTo>
                    <a:pt x="1136" y="222"/>
                  </a:lnTo>
                  <a:lnTo>
                    <a:pt x="1136" y="224"/>
                  </a:lnTo>
                  <a:lnTo>
                    <a:pt x="1136" y="227"/>
                  </a:lnTo>
                  <a:lnTo>
                    <a:pt x="1137" y="229"/>
                  </a:lnTo>
                  <a:lnTo>
                    <a:pt x="1137" y="231"/>
                  </a:lnTo>
                  <a:lnTo>
                    <a:pt x="1138" y="235"/>
                  </a:lnTo>
                  <a:lnTo>
                    <a:pt x="1140" y="236"/>
                  </a:lnTo>
                  <a:lnTo>
                    <a:pt x="1140" y="240"/>
                  </a:lnTo>
                  <a:lnTo>
                    <a:pt x="1138" y="243"/>
                  </a:lnTo>
                  <a:lnTo>
                    <a:pt x="1137" y="245"/>
                  </a:lnTo>
                  <a:lnTo>
                    <a:pt x="1137" y="247"/>
                  </a:lnTo>
                  <a:lnTo>
                    <a:pt x="1136" y="250"/>
                  </a:lnTo>
                  <a:lnTo>
                    <a:pt x="1134" y="251"/>
                  </a:lnTo>
                  <a:lnTo>
                    <a:pt x="1133" y="250"/>
                  </a:lnTo>
                  <a:lnTo>
                    <a:pt x="1129" y="250"/>
                  </a:lnTo>
                  <a:lnTo>
                    <a:pt x="1128" y="250"/>
                  </a:lnTo>
                  <a:lnTo>
                    <a:pt x="1126" y="248"/>
                  </a:lnTo>
                  <a:lnTo>
                    <a:pt x="1122" y="248"/>
                  </a:lnTo>
                  <a:lnTo>
                    <a:pt x="1119" y="251"/>
                  </a:lnTo>
                  <a:lnTo>
                    <a:pt x="1117" y="252"/>
                  </a:lnTo>
                  <a:lnTo>
                    <a:pt x="1116" y="252"/>
                  </a:lnTo>
                  <a:lnTo>
                    <a:pt x="1114" y="254"/>
                  </a:lnTo>
                  <a:lnTo>
                    <a:pt x="1112" y="256"/>
                  </a:lnTo>
                  <a:lnTo>
                    <a:pt x="1111" y="256"/>
                  </a:lnTo>
                  <a:lnTo>
                    <a:pt x="1106" y="262"/>
                  </a:lnTo>
                  <a:lnTo>
                    <a:pt x="1100" y="268"/>
                  </a:lnTo>
                  <a:lnTo>
                    <a:pt x="1092" y="275"/>
                  </a:lnTo>
                  <a:lnTo>
                    <a:pt x="1089" y="276"/>
                  </a:lnTo>
                  <a:lnTo>
                    <a:pt x="1088" y="277"/>
                  </a:lnTo>
                  <a:lnTo>
                    <a:pt x="1084" y="279"/>
                  </a:lnTo>
                  <a:lnTo>
                    <a:pt x="1081" y="279"/>
                  </a:lnTo>
                  <a:lnTo>
                    <a:pt x="1077" y="280"/>
                  </a:lnTo>
                  <a:lnTo>
                    <a:pt x="1074" y="282"/>
                  </a:lnTo>
                  <a:lnTo>
                    <a:pt x="1070" y="283"/>
                  </a:lnTo>
                  <a:lnTo>
                    <a:pt x="1068" y="283"/>
                  </a:lnTo>
                  <a:lnTo>
                    <a:pt x="1061" y="283"/>
                  </a:lnTo>
                  <a:lnTo>
                    <a:pt x="1058" y="283"/>
                  </a:lnTo>
                  <a:lnTo>
                    <a:pt x="1054" y="283"/>
                  </a:lnTo>
                  <a:lnTo>
                    <a:pt x="1052" y="284"/>
                  </a:lnTo>
                  <a:lnTo>
                    <a:pt x="1046" y="283"/>
                  </a:lnTo>
                  <a:lnTo>
                    <a:pt x="1041" y="283"/>
                  </a:lnTo>
                  <a:lnTo>
                    <a:pt x="1037" y="283"/>
                  </a:lnTo>
                  <a:lnTo>
                    <a:pt x="1032" y="283"/>
                  </a:lnTo>
                  <a:lnTo>
                    <a:pt x="1025" y="283"/>
                  </a:lnTo>
                  <a:lnTo>
                    <a:pt x="1022" y="283"/>
                  </a:lnTo>
                  <a:lnTo>
                    <a:pt x="1018" y="283"/>
                  </a:lnTo>
                  <a:lnTo>
                    <a:pt x="1016" y="283"/>
                  </a:lnTo>
                  <a:lnTo>
                    <a:pt x="1013" y="282"/>
                  </a:lnTo>
                  <a:lnTo>
                    <a:pt x="1009" y="282"/>
                  </a:lnTo>
                  <a:lnTo>
                    <a:pt x="1006" y="282"/>
                  </a:lnTo>
                  <a:lnTo>
                    <a:pt x="1002" y="282"/>
                  </a:lnTo>
                  <a:lnTo>
                    <a:pt x="999" y="280"/>
                  </a:lnTo>
                  <a:lnTo>
                    <a:pt x="996" y="280"/>
                  </a:lnTo>
                  <a:lnTo>
                    <a:pt x="992" y="280"/>
                  </a:lnTo>
                  <a:lnTo>
                    <a:pt x="989" y="280"/>
                  </a:lnTo>
                  <a:lnTo>
                    <a:pt x="984" y="280"/>
                  </a:lnTo>
                  <a:lnTo>
                    <a:pt x="980" y="279"/>
                  </a:lnTo>
                  <a:lnTo>
                    <a:pt x="977" y="279"/>
                  </a:lnTo>
                  <a:lnTo>
                    <a:pt x="973" y="279"/>
                  </a:lnTo>
                  <a:lnTo>
                    <a:pt x="970" y="280"/>
                  </a:lnTo>
                  <a:lnTo>
                    <a:pt x="969" y="280"/>
                  </a:lnTo>
                  <a:lnTo>
                    <a:pt x="962" y="282"/>
                  </a:lnTo>
                  <a:lnTo>
                    <a:pt x="957" y="282"/>
                  </a:lnTo>
                  <a:lnTo>
                    <a:pt x="950" y="285"/>
                  </a:lnTo>
                  <a:lnTo>
                    <a:pt x="944" y="286"/>
                  </a:lnTo>
                  <a:lnTo>
                    <a:pt x="941" y="287"/>
                  </a:lnTo>
                  <a:lnTo>
                    <a:pt x="936" y="288"/>
                  </a:lnTo>
                  <a:lnTo>
                    <a:pt x="933" y="288"/>
                  </a:lnTo>
                  <a:lnTo>
                    <a:pt x="929" y="290"/>
                  </a:lnTo>
                  <a:lnTo>
                    <a:pt x="925" y="290"/>
                  </a:lnTo>
                  <a:lnTo>
                    <a:pt x="918" y="291"/>
                  </a:lnTo>
                  <a:lnTo>
                    <a:pt x="914" y="291"/>
                  </a:lnTo>
                  <a:lnTo>
                    <a:pt x="910" y="291"/>
                  </a:lnTo>
                  <a:lnTo>
                    <a:pt x="902" y="290"/>
                  </a:lnTo>
                  <a:lnTo>
                    <a:pt x="898" y="288"/>
                  </a:lnTo>
                  <a:lnTo>
                    <a:pt x="893" y="285"/>
                  </a:lnTo>
                  <a:lnTo>
                    <a:pt x="890" y="284"/>
                  </a:lnTo>
                  <a:lnTo>
                    <a:pt x="887" y="282"/>
                  </a:lnTo>
                  <a:lnTo>
                    <a:pt x="885" y="279"/>
                  </a:lnTo>
                  <a:lnTo>
                    <a:pt x="884" y="278"/>
                  </a:lnTo>
                  <a:lnTo>
                    <a:pt x="879" y="275"/>
                  </a:lnTo>
                  <a:lnTo>
                    <a:pt x="877" y="272"/>
                  </a:lnTo>
                  <a:lnTo>
                    <a:pt x="877" y="271"/>
                  </a:lnTo>
                  <a:lnTo>
                    <a:pt x="872" y="267"/>
                  </a:lnTo>
                  <a:lnTo>
                    <a:pt x="870" y="266"/>
                  </a:lnTo>
                  <a:lnTo>
                    <a:pt x="868" y="264"/>
                  </a:lnTo>
                  <a:lnTo>
                    <a:pt x="864" y="264"/>
                  </a:lnTo>
                  <a:lnTo>
                    <a:pt x="858" y="263"/>
                  </a:lnTo>
                  <a:lnTo>
                    <a:pt x="855" y="263"/>
                  </a:lnTo>
                  <a:lnTo>
                    <a:pt x="852" y="262"/>
                  </a:lnTo>
                  <a:lnTo>
                    <a:pt x="848" y="262"/>
                  </a:lnTo>
                  <a:lnTo>
                    <a:pt x="845" y="261"/>
                  </a:lnTo>
                  <a:lnTo>
                    <a:pt x="841" y="260"/>
                  </a:lnTo>
                  <a:lnTo>
                    <a:pt x="838" y="260"/>
                  </a:lnTo>
                  <a:lnTo>
                    <a:pt x="834" y="260"/>
                  </a:lnTo>
                  <a:lnTo>
                    <a:pt x="831" y="260"/>
                  </a:lnTo>
                  <a:lnTo>
                    <a:pt x="829" y="260"/>
                  </a:lnTo>
                  <a:lnTo>
                    <a:pt x="824" y="260"/>
                  </a:lnTo>
                  <a:lnTo>
                    <a:pt x="820" y="259"/>
                  </a:lnTo>
                  <a:lnTo>
                    <a:pt x="817" y="259"/>
                  </a:lnTo>
                  <a:lnTo>
                    <a:pt x="814" y="259"/>
                  </a:lnTo>
                  <a:lnTo>
                    <a:pt x="812" y="258"/>
                  </a:lnTo>
                  <a:lnTo>
                    <a:pt x="809" y="258"/>
                  </a:lnTo>
                  <a:lnTo>
                    <a:pt x="808" y="258"/>
                  </a:lnTo>
                  <a:lnTo>
                    <a:pt x="805" y="259"/>
                  </a:lnTo>
                  <a:lnTo>
                    <a:pt x="805" y="260"/>
                  </a:lnTo>
                  <a:lnTo>
                    <a:pt x="806" y="263"/>
                  </a:lnTo>
                  <a:lnTo>
                    <a:pt x="806" y="264"/>
                  </a:lnTo>
                  <a:lnTo>
                    <a:pt x="807" y="268"/>
                  </a:lnTo>
                  <a:lnTo>
                    <a:pt x="806" y="269"/>
                  </a:lnTo>
                  <a:lnTo>
                    <a:pt x="806" y="271"/>
                  </a:lnTo>
                  <a:lnTo>
                    <a:pt x="805" y="272"/>
                  </a:lnTo>
                  <a:lnTo>
                    <a:pt x="802" y="274"/>
                  </a:lnTo>
                  <a:lnTo>
                    <a:pt x="800" y="275"/>
                  </a:lnTo>
                  <a:lnTo>
                    <a:pt x="797" y="275"/>
                  </a:lnTo>
                  <a:lnTo>
                    <a:pt x="793" y="276"/>
                  </a:lnTo>
                  <a:lnTo>
                    <a:pt x="790" y="277"/>
                  </a:lnTo>
                  <a:lnTo>
                    <a:pt x="788" y="278"/>
                  </a:lnTo>
                  <a:lnTo>
                    <a:pt x="785" y="279"/>
                  </a:lnTo>
                  <a:lnTo>
                    <a:pt x="781" y="279"/>
                  </a:lnTo>
                  <a:lnTo>
                    <a:pt x="778" y="280"/>
                  </a:lnTo>
                  <a:lnTo>
                    <a:pt x="775" y="282"/>
                  </a:lnTo>
                  <a:lnTo>
                    <a:pt x="772" y="283"/>
                  </a:lnTo>
                  <a:lnTo>
                    <a:pt x="761" y="284"/>
                  </a:lnTo>
                  <a:lnTo>
                    <a:pt x="758" y="284"/>
                  </a:lnTo>
                  <a:lnTo>
                    <a:pt x="754" y="283"/>
                  </a:lnTo>
                  <a:lnTo>
                    <a:pt x="752" y="283"/>
                  </a:lnTo>
                  <a:lnTo>
                    <a:pt x="749" y="283"/>
                  </a:lnTo>
                  <a:lnTo>
                    <a:pt x="745" y="284"/>
                  </a:lnTo>
                  <a:lnTo>
                    <a:pt x="742" y="285"/>
                  </a:lnTo>
                  <a:lnTo>
                    <a:pt x="738" y="285"/>
                  </a:lnTo>
                  <a:lnTo>
                    <a:pt x="735" y="285"/>
                  </a:lnTo>
                  <a:lnTo>
                    <a:pt x="732" y="286"/>
                  </a:lnTo>
                  <a:lnTo>
                    <a:pt x="728" y="287"/>
                  </a:lnTo>
                  <a:lnTo>
                    <a:pt x="726" y="288"/>
                  </a:lnTo>
                  <a:lnTo>
                    <a:pt x="722" y="291"/>
                  </a:lnTo>
                  <a:lnTo>
                    <a:pt x="721" y="292"/>
                  </a:lnTo>
                  <a:lnTo>
                    <a:pt x="716" y="295"/>
                  </a:lnTo>
                  <a:lnTo>
                    <a:pt x="711" y="295"/>
                  </a:lnTo>
                  <a:lnTo>
                    <a:pt x="709" y="295"/>
                  </a:lnTo>
                  <a:lnTo>
                    <a:pt x="703" y="294"/>
                  </a:lnTo>
                  <a:lnTo>
                    <a:pt x="701" y="294"/>
                  </a:lnTo>
                  <a:lnTo>
                    <a:pt x="696" y="295"/>
                  </a:lnTo>
                  <a:lnTo>
                    <a:pt x="694" y="295"/>
                  </a:lnTo>
                  <a:lnTo>
                    <a:pt x="693" y="296"/>
                  </a:lnTo>
                  <a:lnTo>
                    <a:pt x="689" y="299"/>
                  </a:lnTo>
                  <a:lnTo>
                    <a:pt x="688" y="300"/>
                  </a:lnTo>
                  <a:lnTo>
                    <a:pt x="685" y="301"/>
                  </a:lnTo>
                  <a:lnTo>
                    <a:pt x="681" y="301"/>
                  </a:lnTo>
                  <a:lnTo>
                    <a:pt x="679" y="301"/>
                  </a:lnTo>
                  <a:lnTo>
                    <a:pt x="677" y="301"/>
                  </a:lnTo>
                  <a:lnTo>
                    <a:pt x="673" y="300"/>
                  </a:lnTo>
                  <a:lnTo>
                    <a:pt x="672" y="301"/>
                  </a:lnTo>
                  <a:lnTo>
                    <a:pt x="666" y="300"/>
                  </a:lnTo>
                  <a:lnTo>
                    <a:pt x="664" y="300"/>
                  </a:lnTo>
                  <a:lnTo>
                    <a:pt x="662" y="299"/>
                  </a:lnTo>
                  <a:lnTo>
                    <a:pt x="661" y="298"/>
                  </a:lnTo>
                  <a:lnTo>
                    <a:pt x="657" y="294"/>
                  </a:lnTo>
                  <a:lnTo>
                    <a:pt x="657" y="296"/>
                  </a:lnTo>
                  <a:lnTo>
                    <a:pt x="656" y="300"/>
                  </a:lnTo>
                  <a:lnTo>
                    <a:pt x="655" y="303"/>
                  </a:lnTo>
                  <a:lnTo>
                    <a:pt x="654" y="304"/>
                  </a:lnTo>
                  <a:lnTo>
                    <a:pt x="653" y="306"/>
                  </a:lnTo>
                  <a:lnTo>
                    <a:pt x="650" y="307"/>
                  </a:lnTo>
                  <a:lnTo>
                    <a:pt x="648" y="308"/>
                  </a:lnTo>
                  <a:lnTo>
                    <a:pt x="645" y="309"/>
                  </a:lnTo>
                  <a:lnTo>
                    <a:pt x="641" y="310"/>
                  </a:lnTo>
                  <a:lnTo>
                    <a:pt x="639" y="309"/>
                  </a:lnTo>
                  <a:lnTo>
                    <a:pt x="637" y="307"/>
                  </a:lnTo>
                  <a:lnTo>
                    <a:pt x="634" y="306"/>
                  </a:lnTo>
                  <a:lnTo>
                    <a:pt x="632" y="306"/>
                  </a:lnTo>
                  <a:lnTo>
                    <a:pt x="628" y="309"/>
                  </a:lnTo>
                  <a:lnTo>
                    <a:pt x="625" y="308"/>
                  </a:lnTo>
                  <a:lnTo>
                    <a:pt x="620" y="307"/>
                  </a:lnTo>
                  <a:lnTo>
                    <a:pt x="616" y="304"/>
                  </a:lnTo>
                  <a:lnTo>
                    <a:pt x="614" y="302"/>
                  </a:lnTo>
                  <a:lnTo>
                    <a:pt x="612" y="299"/>
                  </a:lnTo>
                  <a:lnTo>
                    <a:pt x="609" y="295"/>
                  </a:lnTo>
                  <a:lnTo>
                    <a:pt x="606" y="293"/>
                  </a:lnTo>
                  <a:lnTo>
                    <a:pt x="604" y="292"/>
                  </a:lnTo>
                  <a:lnTo>
                    <a:pt x="599" y="291"/>
                  </a:lnTo>
                  <a:lnTo>
                    <a:pt x="593" y="291"/>
                  </a:lnTo>
                  <a:lnTo>
                    <a:pt x="589" y="291"/>
                  </a:lnTo>
                  <a:lnTo>
                    <a:pt x="584" y="293"/>
                  </a:lnTo>
                  <a:lnTo>
                    <a:pt x="583" y="295"/>
                  </a:lnTo>
                  <a:lnTo>
                    <a:pt x="582" y="300"/>
                  </a:lnTo>
                  <a:lnTo>
                    <a:pt x="580" y="302"/>
                  </a:lnTo>
                  <a:lnTo>
                    <a:pt x="577" y="304"/>
                  </a:lnTo>
                  <a:lnTo>
                    <a:pt x="575" y="307"/>
                  </a:lnTo>
                  <a:lnTo>
                    <a:pt x="572" y="307"/>
                  </a:lnTo>
                  <a:lnTo>
                    <a:pt x="569" y="308"/>
                  </a:lnTo>
                  <a:lnTo>
                    <a:pt x="565" y="309"/>
                  </a:lnTo>
                  <a:lnTo>
                    <a:pt x="561" y="311"/>
                  </a:lnTo>
                  <a:lnTo>
                    <a:pt x="559" y="314"/>
                  </a:lnTo>
                  <a:lnTo>
                    <a:pt x="558" y="315"/>
                  </a:lnTo>
                  <a:lnTo>
                    <a:pt x="554" y="317"/>
                  </a:lnTo>
                  <a:lnTo>
                    <a:pt x="551" y="318"/>
                  </a:lnTo>
                  <a:lnTo>
                    <a:pt x="550" y="319"/>
                  </a:lnTo>
                  <a:lnTo>
                    <a:pt x="546" y="320"/>
                  </a:lnTo>
                  <a:lnTo>
                    <a:pt x="543" y="320"/>
                  </a:lnTo>
                  <a:lnTo>
                    <a:pt x="541" y="322"/>
                  </a:lnTo>
                  <a:lnTo>
                    <a:pt x="537" y="323"/>
                  </a:lnTo>
                  <a:lnTo>
                    <a:pt x="536" y="324"/>
                  </a:lnTo>
                  <a:lnTo>
                    <a:pt x="534" y="323"/>
                  </a:lnTo>
                  <a:lnTo>
                    <a:pt x="532" y="322"/>
                  </a:lnTo>
                  <a:lnTo>
                    <a:pt x="528" y="319"/>
                  </a:lnTo>
                  <a:lnTo>
                    <a:pt x="527" y="317"/>
                  </a:lnTo>
                  <a:lnTo>
                    <a:pt x="525" y="315"/>
                  </a:lnTo>
                  <a:lnTo>
                    <a:pt x="522" y="314"/>
                  </a:lnTo>
                  <a:lnTo>
                    <a:pt x="520" y="314"/>
                  </a:lnTo>
                  <a:lnTo>
                    <a:pt x="518" y="315"/>
                  </a:lnTo>
                  <a:lnTo>
                    <a:pt x="517" y="317"/>
                  </a:lnTo>
                  <a:lnTo>
                    <a:pt x="514" y="319"/>
                  </a:lnTo>
                  <a:lnTo>
                    <a:pt x="511" y="322"/>
                  </a:lnTo>
                  <a:lnTo>
                    <a:pt x="508" y="322"/>
                  </a:lnTo>
                  <a:lnTo>
                    <a:pt x="506" y="322"/>
                  </a:lnTo>
                  <a:lnTo>
                    <a:pt x="501" y="324"/>
                  </a:lnTo>
                  <a:lnTo>
                    <a:pt x="500" y="325"/>
                  </a:lnTo>
                  <a:lnTo>
                    <a:pt x="497" y="326"/>
                  </a:lnTo>
                  <a:lnTo>
                    <a:pt x="494" y="326"/>
                  </a:lnTo>
                  <a:lnTo>
                    <a:pt x="490" y="326"/>
                  </a:lnTo>
                  <a:lnTo>
                    <a:pt x="486" y="325"/>
                  </a:lnTo>
                  <a:lnTo>
                    <a:pt x="484" y="324"/>
                  </a:lnTo>
                  <a:lnTo>
                    <a:pt x="480" y="323"/>
                  </a:lnTo>
                  <a:lnTo>
                    <a:pt x="478" y="322"/>
                  </a:lnTo>
                  <a:lnTo>
                    <a:pt x="477" y="319"/>
                  </a:lnTo>
                  <a:lnTo>
                    <a:pt x="476" y="318"/>
                  </a:lnTo>
                  <a:lnTo>
                    <a:pt x="472" y="316"/>
                  </a:lnTo>
                  <a:lnTo>
                    <a:pt x="468" y="314"/>
                  </a:lnTo>
                  <a:lnTo>
                    <a:pt x="465" y="311"/>
                  </a:lnTo>
                  <a:lnTo>
                    <a:pt x="464" y="309"/>
                  </a:lnTo>
                  <a:lnTo>
                    <a:pt x="461" y="308"/>
                  </a:lnTo>
                  <a:lnTo>
                    <a:pt x="458" y="309"/>
                  </a:lnTo>
                  <a:lnTo>
                    <a:pt x="460" y="312"/>
                  </a:lnTo>
                  <a:lnTo>
                    <a:pt x="460" y="314"/>
                  </a:lnTo>
                  <a:lnTo>
                    <a:pt x="456" y="318"/>
                  </a:lnTo>
                  <a:lnTo>
                    <a:pt x="455" y="320"/>
                  </a:lnTo>
                  <a:lnTo>
                    <a:pt x="454" y="322"/>
                  </a:lnTo>
                  <a:lnTo>
                    <a:pt x="452" y="325"/>
                  </a:lnTo>
                  <a:lnTo>
                    <a:pt x="449" y="326"/>
                  </a:lnTo>
                  <a:lnTo>
                    <a:pt x="445" y="328"/>
                  </a:lnTo>
                  <a:lnTo>
                    <a:pt x="442" y="328"/>
                  </a:lnTo>
                  <a:lnTo>
                    <a:pt x="438" y="328"/>
                  </a:lnTo>
                  <a:lnTo>
                    <a:pt x="437" y="328"/>
                  </a:lnTo>
                  <a:lnTo>
                    <a:pt x="434" y="327"/>
                  </a:lnTo>
                  <a:lnTo>
                    <a:pt x="432" y="326"/>
                  </a:lnTo>
                  <a:lnTo>
                    <a:pt x="429" y="324"/>
                  </a:lnTo>
                  <a:lnTo>
                    <a:pt x="426" y="323"/>
                  </a:lnTo>
                  <a:lnTo>
                    <a:pt x="425" y="322"/>
                  </a:lnTo>
                  <a:lnTo>
                    <a:pt x="422" y="319"/>
                  </a:lnTo>
                  <a:lnTo>
                    <a:pt x="420" y="318"/>
                  </a:lnTo>
                  <a:lnTo>
                    <a:pt x="416" y="317"/>
                  </a:lnTo>
                  <a:lnTo>
                    <a:pt x="412" y="316"/>
                  </a:lnTo>
                  <a:lnTo>
                    <a:pt x="408" y="316"/>
                  </a:lnTo>
                  <a:lnTo>
                    <a:pt x="404" y="317"/>
                  </a:lnTo>
                  <a:lnTo>
                    <a:pt x="400" y="318"/>
                  </a:lnTo>
                  <a:lnTo>
                    <a:pt x="398" y="317"/>
                  </a:lnTo>
                  <a:lnTo>
                    <a:pt x="393" y="317"/>
                  </a:lnTo>
                  <a:lnTo>
                    <a:pt x="391" y="316"/>
                  </a:lnTo>
                  <a:lnTo>
                    <a:pt x="390" y="315"/>
                  </a:lnTo>
                  <a:lnTo>
                    <a:pt x="389" y="314"/>
                  </a:lnTo>
                  <a:lnTo>
                    <a:pt x="385" y="312"/>
                  </a:lnTo>
                  <a:lnTo>
                    <a:pt x="383" y="314"/>
                  </a:lnTo>
                  <a:lnTo>
                    <a:pt x="381" y="315"/>
                  </a:lnTo>
                  <a:lnTo>
                    <a:pt x="380" y="317"/>
                  </a:lnTo>
                  <a:lnTo>
                    <a:pt x="377" y="319"/>
                  </a:lnTo>
                  <a:lnTo>
                    <a:pt x="377" y="322"/>
                  </a:lnTo>
                  <a:lnTo>
                    <a:pt x="375" y="322"/>
                  </a:lnTo>
                  <a:lnTo>
                    <a:pt x="372" y="323"/>
                  </a:lnTo>
                  <a:lnTo>
                    <a:pt x="369" y="324"/>
                  </a:lnTo>
                  <a:lnTo>
                    <a:pt x="367" y="324"/>
                  </a:lnTo>
                  <a:lnTo>
                    <a:pt x="362" y="325"/>
                  </a:lnTo>
                  <a:lnTo>
                    <a:pt x="358" y="327"/>
                  </a:lnTo>
                  <a:lnTo>
                    <a:pt x="353" y="327"/>
                  </a:lnTo>
                  <a:lnTo>
                    <a:pt x="350" y="326"/>
                  </a:lnTo>
                  <a:lnTo>
                    <a:pt x="346" y="326"/>
                  </a:lnTo>
                  <a:lnTo>
                    <a:pt x="343" y="326"/>
                  </a:lnTo>
                  <a:lnTo>
                    <a:pt x="340" y="328"/>
                  </a:lnTo>
                  <a:lnTo>
                    <a:pt x="337" y="330"/>
                  </a:lnTo>
                  <a:lnTo>
                    <a:pt x="335" y="330"/>
                  </a:lnTo>
                  <a:lnTo>
                    <a:pt x="333" y="330"/>
                  </a:lnTo>
                  <a:lnTo>
                    <a:pt x="328" y="328"/>
                  </a:lnTo>
                  <a:lnTo>
                    <a:pt x="326" y="327"/>
                  </a:lnTo>
                  <a:lnTo>
                    <a:pt x="324" y="327"/>
                  </a:lnTo>
                  <a:lnTo>
                    <a:pt x="320" y="328"/>
                  </a:lnTo>
                  <a:lnTo>
                    <a:pt x="318" y="330"/>
                  </a:lnTo>
                  <a:lnTo>
                    <a:pt x="314" y="330"/>
                  </a:lnTo>
                  <a:lnTo>
                    <a:pt x="312" y="330"/>
                  </a:lnTo>
                  <a:lnTo>
                    <a:pt x="311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1" y="328"/>
                  </a:lnTo>
                  <a:lnTo>
                    <a:pt x="297" y="328"/>
                  </a:lnTo>
                  <a:lnTo>
                    <a:pt x="295" y="330"/>
                  </a:lnTo>
                  <a:lnTo>
                    <a:pt x="293" y="331"/>
                  </a:lnTo>
                  <a:lnTo>
                    <a:pt x="292" y="331"/>
                  </a:lnTo>
                  <a:lnTo>
                    <a:pt x="289" y="331"/>
                  </a:lnTo>
                  <a:lnTo>
                    <a:pt x="286" y="331"/>
                  </a:lnTo>
                  <a:lnTo>
                    <a:pt x="282" y="332"/>
                  </a:lnTo>
                  <a:lnTo>
                    <a:pt x="280" y="332"/>
                  </a:lnTo>
                  <a:lnTo>
                    <a:pt x="279" y="331"/>
                  </a:lnTo>
                  <a:lnTo>
                    <a:pt x="278" y="330"/>
                  </a:lnTo>
                  <a:lnTo>
                    <a:pt x="276" y="328"/>
                  </a:lnTo>
                  <a:lnTo>
                    <a:pt x="274" y="327"/>
                  </a:lnTo>
                  <a:lnTo>
                    <a:pt x="271" y="327"/>
                  </a:lnTo>
                  <a:lnTo>
                    <a:pt x="269" y="327"/>
                  </a:lnTo>
                  <a:lnTo>
                    <a:pt x="268" y="327"/>
                  </a:lnTo>
                  <a:lnTo>
                    <a:pt x="264" y="328"/>
                  </a:lnTo>
                  <a:lnTo>
                    <a:pt x="263" y="328"/>
                  </a:lnTo>
                  <a:lnTo>
                    <a:pt x="262" y="330"/>
                  </a:lnTo>
                  <a:lnTo>
                    <a:pt x="258" y="331"/>
                  </a:lnTo>
                  <a:lnTo>
                    <a:pt x="257" y="331"/>
                  </a:lnTo>
                  <a:lnTo>
                    <a:pt x="255" y="330"/>
                  </a:lnTo>
                  <a:lnTo>
                    <a:pt x="254" y="328"/>
                  </a:lnTo>
                  <a:lnTo>
                    <a:pt x="254" y="326"/>
                  </a:lnTo>
                  <a:lnTo>
                    <a:pt x="253" y="325"/>
                  </a:lnTo>
                  <a:lnTo>
                    <a:pt x="250" y="324"/>
                  </a:lnTo>
                  <a:lnTo>
                    <a:pt x="248" y="324"/>
                  </a:lnTo>
                  <a:lnTo>
                    <a:pt x="246" y="324"/>
                  </a:lnTo>
                  <a:lnTo>
                    <a:pt x="245" y="323"/>
                  </a:lnTo>
                  <a:lnTo>
                    <a:pt x="242" y="323"/>
                  </a:lnTo>
                  <a:lnTo>
                    <a:pt x="239" y="320"/>
                  </a:lnTo>
                  <a:lnTo>
                    <a:pt x="236" y="320"/>
                  </a:lnTo>
                  <a:lnTo>
                    <a:pt x="232" y="319"/>
                  </a:lnTo>
                  <a:lnTo>
                    <a:pt x="230" y="317"/>
                  </a:lnTo>
                  <a:lnTo>
                    <a:pt x="229" y="316"/>
                  </a:lnTo>
                  <a:lnTo>
                    <a:pt x="225" y="314"/>
                  </a:lnTo>
                  <a:lnTo>
                    <a:pt x="223" y="314"/>
                  </a:lnTo>
                  <a:lnTo>
                    <a:pt x="218" y="311"/>
                  </a:lnTo>
                  <a:lnTo>
                    <a:pt x="212" y="309"/>
                  </a:lnTo>
                  <a:lnTo>
                    <a:pt x="209" y="309"/>
                  </a:lnTo>
                  <a:lnTo>
                    <a:pt x="207" y="308"/>
                  </a:lnTo>
                  <a:lnTo>
                    <a:pt x="205" y="306"/>
                  </a:lnTo>
                  <a:lnTo>
                    <a:pt x="204" y="306"/>
                  </a:lnTo>
                  <a:lnTo>
                    <a:pt x="200" y="303"/>
                  </a:lnTo>
                  <a:lnTo>
                    <a:pt x="194" y="296"/>
                  </a:lnTo>
                  <a:lnTo>
                    <a:pt x="191" y="295"/>
                  </a:lnTo>
                  <a:lnTo>
                    <a:pt x="189" y="294"/>
                  </a:lnTo>
                  <a:lnTo>
                    <a:pt x="185" y="294"/>
                  </a:lnTo>
                  <a:lnTo>
                    <a:pt x="182" y="293"/>
                  </a:lnTo>
                  <a:lnTo>
                    <a:pt x="177" y="294"/>
                  </a:lnTo>
                  <a:lnTo>
                    <a:pt x="174" y="296"/>
                  </a:lnTo>
                  <a:lnTo>
                    <a:pt x="173" y="296"/>
                  </a:lnTo>
                  <a:lnTo>
                    <a:pt x="172" y="299"/>
                  </a:lnTo>
                  <a:lnTo>
                    <a:pt x="170" y="300"/>
                  </a:lnTo>
                  <a:lnTo>
                    <a:pt x="168" y="303"/>
                  </a:lnTo>
                  <a:lnTo>
                    <a:pt x="164" y="307"/>
                  </a:lnTo>
                  <a:lnTo>
                    <a:pt x="161" y="308"/>
                  </a:lnTo>
                  <a:lnTo>
                    <a:pt x="159" y="309"/>
                  </a:lnTo>
                  <a:lnTo>
                    <a:pt x="156" y="309"/>
                  </a:lnTo>
                  <a:lnTo>
                    <a:pt x="153" y="309"/>
                  </a:lnTo>
                  <a:lnTo>
                    <a:pt x="149" y="308"/>
                  </a:lnTo>
                  <a:lnTo>
                    <a:pt x="145" y="308"/>
                  </a:lnTo>
                  <a:lnTo>
                    <a:pt x="140" y="309"/>
                  </a:lnTo>
                  <a:lnTo>
                    <a:pt x="138" y="310"/>
                  </a:lnTo>
                  <a:lnTo>
                    <a:pt x="135" y="315"/>
                  </a:lnTo>
                  <a:lnTo>
                    <a:pt x="133" y="318"/>
                  </a:lnTo>
                  <a:lnTo>
                    <a:pt x="133" y="324"/>
                  </a:lnTo>
                  <a:lnTo>
                    <a:pt x="133" y="327"/>
                  </a:lnTo>
                  <a:lnTo>
                    <a:pt x="132" y="331"/>
                  </a:lnTo>
                  <a:lnTo>
                    <a:pt x="130" y="333"/>
                  </a:lnTo>
                  <a:lnTo>
                    <a:pt x="127" y="335"/>
                  </a:lnTo>
                  <a:lnTo>
                    <a:pt x="124" y="336"/>
                  </a:lnTo>
                  <a:lnTo>
                    <a:pt x="122" y="338"/>
                  </a:lnTo>
                  <a:lnTo>
                    <a:pt x="116" y="339"/>
                  </a:lnTo>
                  <a:lnTo>
                    <a:pt x="110" y="340"/>
                  </a:lnTo>
                  <a:lnTo>
                    <a:pt x="108" y="340"/>
                  </a:lnTo>
                  <a:lnTo>
                    <a:pt x="103" y="342"/>
                  </a:lnTo>
                  <a:lnTo>
                    <a:pt x="98" y="343"/>
                  </a:lnTo>
                  <a:lnTo>
                    <a:pt x="95" y="343"/>
                  </a:lnTo>
                  <a:lnTo>
                    <a:pt x="90" y="344"/>
                  </a:lnTo>
                  <a:lnTo>
                    <a:pt x="87" y="346"/>
                  </a:lnTo>
                  <a:lnTo>
                    <a:pt x="82" y="346"/>
                  </a:lnTo>
                  <a:lnTo>
                    <a:pt x="77" y="346"/>
                  </a:lnTo>
                  <a:lnTo>
                    <a:pt x="72" y="344"/>
                  </a:lnTo>
                  <a:lnTo>
                    <a:pt x="69" y="346"/>
                  </a:lnTo>
                  <a:lnTo>
                    <a:pt x="64" y="347"/>
                  </a:lnTo>
                  <a:lnTo>
                    <a:pt x="63" y="347"/>
                  </a:lnTo>
                  <a:lnTo>
                    <a:pt x="62" y="348"/>
                  </a:lnTo>
                  <a:lnTo>
                    <a:pt x="57" y="347"/>
                  </a:lnTo>
                  <a:lnTo>
                    <a:pt x="53" y="347"/>
                  </a:lnTo>
                  <a:lnTo>
                    <a:pt x="49" y="346"/>
                  </a:lnTo>
                  <a:lnTo>
                    <a:pt x="47" y="344"/>
                  </a:lnTo>
                  <a:lnTo>
                    <a:pt x="46" y="344"/>
                  </a:lnTo>
                  <a:lnTo>
                    <a:pt x="42" y="343"/>
                  </a:lnTo>
                  <a:lnTo>
                    <a:pt x="39" y="347"/>
                  </a:lnTo>
                  <a:lnTo>
                    <a:pt x="39" y="350"/>
                  </a:lnTo>
                  <a:lnTo>
                    <a:pt x="39" y="354"/>
                  </a:lnTo>
                  <a:lnTo>
                    <a:pt x="41" y="356"/>
                  </a:lnTo>
                  <a:lnTo>
                    <a:pt x="41" y="359"/>
                  </a:lnTo>
                  <a:lnTo>
                    <a:pt x="41" y="363"/>
                  </a:lnTo>
                  <a:lnTo>
                    <a:pt x="41" y="367"/>
                  </a:lnTo>
                  <a:lnTo>
                    <a:pt x="41" y="370"/>
                  </a:lnTo>
                  <a:lnTo>
                    <a:pt x="41" y="372"/>
                  </a:lnTo>
                  <a:lnTo>
                    <a:pt x="42" y="376"/>
                  </a:lnTo>
                  <a:lnTo>
                    <a:pt x="42" y="379"/>
                  </a:lnTo>
                  <a:lnTo>
                    <a:pt x="41" y="381"/>
                  </a:lnTo>
                  <a:lnTo>
                    <a:pt x="41" y="383"/>
                  </a:lnTo>
                  <a:lnTo>
                    <a:pt x="42" y="386"/>
                  </a:lnTo>
                  <a:lnTo>
                    <a:pt x="42" y="390"/>
                  </a:lnTo>
                  <a:lnTo>
                    <a:pt x="42" y="392"/>
                  </a:lnTo>
                  <a:lnTo>
                    <a:pt x="41" y="396"/>
                  </a:lnTo>
                  <a:lnTo>
                    <a:pt x="42" y="399"/>
                  </a:lnTo>
                  <a:lnTo>
                    <a:pt x="41" y="403"/>
                  </a:lnTo>
                  <a:lnTo>
                    <a:pt x="41" y="407"/>
                  </a:lnTo>
                  <a:lnTo>
                    <a:pt x="41" y="410"/>
                  </a:lnTo>
                  <a:lnTo>
                    <a:pt x="41" y="413"/>
                  </a:lnTo>
                  <a:lnTo>
                    <a:pt x="41" y="415"/>
                  </a:lnTo>
                  <a:lnTo>
                    <a:pt x="40" y="418"/>
                  </a:lnTo>
                  <a:lnTo>
                    <a:pt x="40" y="420"/>
                  </a:lnTo>
                  <a:lnTo>
                    <a:pt x="40" y="422"/>
                  </a:lnTo>
                  <a:lnTo>
                    <a:pt x="39" y="426"/>
                  </a:lnTo>
                  <a:lnTo>
                    <a:pt x="39" y="428"/>
                  </a:lnTo>
                  <a:lnTo>
                    <a:pt x="39" y="431"/>
                  </a:lnTo>
                  <a:lnTo>
                    <a:pt x="38" y="432"/>
                  </a:lnTo>
                  <a:lnTo>
                    <a:pt x="36" y="436"/>
                  </a:lnTo>
                  <a:lnTo>
                    <a:pt x="36" y="438"/>
                  </a:lnTo>
                  <a:lnTo>
                    <a:pt x="33" y="442"/>
                  </a:lnTo>
                  <a:lnTo>
                    <a:pt x="32" y="445"/>
                  </a:lnTo>
                  <a:lnTo>
                    <a:pt x="30" y="447"/>
                  </a:lnTo>
                  <a:lnTo>
                    <a:pt x="28" y="448"/>
                  </a:lnTo>
                  <a:lnTo>
                    <a:pt x="28" y="450"/>
                  </a:lnTo>
                  <a:lnTo>
                    <a:pt x="30" y="452"/>
                  </a:lnTo>
                  <a:lnTo>
                    <a:pt x="30" y="453"/>
                  </a:lnTo>
                  <a:lnTo>
                    <a:pt x="29" y="455"/>
                  </a:lnTo>
                  <a:lnTo>
                    <a:pt x="29" y="456"/>
                  </a:lnTo>
                  <a:lnTo>
                    <a:pt x="29" y="460"/>
                  </a:lnTo>
                  <a:lnTo>
                    <a:pt x="26" y="461"/>
                  </a:lnTo>
                  <a:lnTo>
                    <a:pt x="22" y="461"/>
                  </a:lnTo>
                  <a:lnTo>
                    <a:pt x="20" y="460"/>
                  </a:lnTo>
                  <a:lnTo>
                    <a:pt x="16" y="460"/>
                  </a:lnTo>
                  <a:lnTo>
                    <a:pt x="14" y="461"/>
                  </a:lnTo>
                  <a:lnTo>
                    <a:pt x="14" y="462"/>
                  </a:lnTo>
                  <a:lnTo>
                    <a:pt x="13" y="466"/>
                  </a:lnTo>
                  <a:lnTo>
                    <a:pt x="14" y="469"/>
                  </a:lnTo>
                  <a:lnTo>
                    <a:pt x="12" y="470"/>
                  </a:lnTo>
                  <a:lnTo>
                    <a:pt x="8" y="471"/>
                  </a:lnTo>
                  <a:lnTo>
                    <a:pt x="6" y="471"/>
                  </a:lnTo>
                  <a:lnTo>
                    <a:pt x="4" y="472"/>
                  </a:lnTo>
                  <a:lnTo>
                    <a:pt x="2" y="476"/>
                  </a:lnTo>
                  <a:lnTo>
                    <a:pt x="2" y="479"/>
                  </a:lnTo>
                  <a:lnTo>
                    <a:pt x="1" y="482"/>
                  </a:lnTo>
                  <a:lnTo>
                    <a:pt x="0" y="484"/>
                  </a:lnTo>
                  <a:lnTo>
                    <a:pt x="1" y="487"/>
                  </a:lnTo>
                  <a:lnTo>
                    <a:pt x="2" y="491"/>
                  </a:lnTo>
                  <a:lnTo>
                    <a:pt x="2" y="493"/>
                  </a:lnTo>
                  <a:lnTo>
                    <a:pt x="2" y="496"/>
                  </a:lnTo>
                  <a:lnTo>
                    <a:pt x="5" y="498"/>
                  </a:lnTo>
                  <a:lnTo>
                    <a:pt x="7" y="500"/>
                  </a:lnTo>
                  <a:lnTo>
                    <a:pt x="9" y="501"/>
                  </a:lnTo>
                  <a:lnTo>
                    <a:pt x="10" y="503"/>
                  </a:lnTo>
                  <a:lnTo>
                    <a:pt x="10" y="506"/>
                  </a:lnTo>
                  <a:lnTo>
                    <a:pt x="12" y="509"/>
                  </a:lnTo>
                  <a:lnTo>
                    <a:pt x="13" y="511"/>
                  </a:lnTo>
                  <a:lnTo>
                    <a:pt x="15" y="516"/>
                  </a:lnTo>
                  <a:lnTo>
                    <a:pt x="17" y="518"/>
                  </a:lnTo>
                  <a:lnTo>
                    <a:pt x="18" y="520"/>
                  </a:lnTo>
                  <a:lnTo>
                    <a:pt x="18" y="523"/>
                  </a:lnTo>
                  <a:lnTo>
                    <a:pt x="21" y="526"/>
                  </a:lnTo>
                  <a:lnTo>
                    <a:pt x="21" y="530"/>
                  </a:lnTo>
                  <a:lnTo>
                    <a:pt x="22" y="532"/>
                  </a:lnTo>
                  <a:lnTo>
                    <a:pt x="23" y="534"/>
                  </a:lnTo>
                  <a:lnTo>
                    <a:pt x="24" y="536"/>
                  </a:lnTo>
                  <a:lnTo>
                    <a:pt x="26" y="539"/>
                  </a:lnTo>
                  <a:lnTo>
                    <a:pt x="28" y="541"/>
                  </a:lnTo>
                  <a:lnTo>
                    <a:pt x="32" y="541"/>
                  </a:lnTo>
                  <a:lnTo>
                    <a:pt x="34" y="540"/>
                  </a:lnTo>
                  <a:lnTo>
                    <a:pt x="37" y="541"/>
                  </a:lnTo>
                  <a:lnTo>
                    <a:pt x="39" y="543"/>
                  </a:lnTo>
                  <a:lnTo>
                    <a:pt x="39" y="544"/>
                  </a:lnTo>
                  <a:lnTo>
                    <a:pt x="40" y="547"/>
                  </a:lnTo>
                  <a:lnTo>
                    <a:pt x="37" y="549"/>
                  </a:lnTo>
                  <a:lnTo>
                    <a:pt x="37" y="550"/>
                  </a:lnTo>
                  <a:lnTo>
                    <a:pt x="36" y="552"/>
                  </a:lnTo>
                  <a:lnTo>
                    <a:pt x="37" y="555"/>
                  </a:lnTo>
                  <a:lnTo>
                    <a:pt x="39" y="556"/>
                  </a:lnTo>
                  <a:lnTo>
                    <a:pt x="42" y="557"/>
                  </a:lnTo>
                  <a:lnTo>
                    <a:pt x="45" y="558"/>
                  </a:lnTo>
                  <a:lnTo>
                    <a:pt x="45" y="560"/>
                  </a:lnTo>
                  <a:lnTo>
                    <a:pt x="44" y="563"/>
                  </a:lnTo>
                  <a:lnTo>
                    <a:pt x="42" y="565"/>
                  </a:lnTo>
                  <a:lnTo>
                    <a:pt x="42" y="567"/>
                  </a:lnTo>
                  <a:lnTo>
                    <a:pt x="42" y="570"/>
                  </a:lnTo>
                  <a:lnTo>
                    <a:pt x="42" y="572"/>
                  </a:lnTo>
                  <a:lnTo>
                    <a:pt x="40" y="574"/>
                  </a:lnTo>
                  <a:lnTo>
                    <a:pt x="39" y="575"/>
                  </a:lnTo>
                  <a:lnTo>
                    <a:pt x="37" y="576"/>
                  </a:lnTo>
                  <a:lnTo>
                    <a:pt x="34" y="578"/>
                  </a:lnTo>
                  <a:lnTo>
                    <a:pt x="33" y="580"/>
                  </a:lnTo>
                  <a:lnTo>
                    <a:pt x="31" y="582"/>
                  </a:lnTo>
                  <a:lnTo>
                    <a:pt x="31" y="586"/>
                  </a:lnTo>
                  <a:lnTo>
                    <a:pt x="31" y="589"/>
                  </a:lnTo>
                  <a:lnTo>
                    <a:pt x="32" y="592"/>
                  </a:lnTo>
                  <a:lnTo>
                    <a:pt x="31" y="596"/>
                  </a:lnTo>
                  <a:lnTo>
                    <a:pt x="30" y="599"/>
                  </a:lnTo>
                  <a:lnTo>
                    <a:pt x="30" y="605"/>
                  </a:lnTo>
                  <a:lnTo>
                    <a:pt x="30" y="606"/>
                  </a:lnTo>
                  <a:lnTo>
                    <a:pt x="31" y="610"/>
                  </a:lnTo>
                  <a:lnTo>
                    <a:pt x="30" y="614"/>
                  </a:lnTo>
                  <a:lnTo>
                    <a:pt x="31" y="619"/>
                  </a:lnTo>
                  <a:lnTo>
                    <a:pt x="30" y="623"/>
                  </a:lnTo>
                  <a:lnTo>
                    <a:pt x="30" y="626"/>
                  </a:lnTo>
                  <a:lnTo>
                    <a:pt x="31" y="634"/>
                  </a:lnTo>
                  <a:lnTo>
                    <a:pt x="32" y="637"/>
                  </a:lnTo>
                  <a:lnTo>
                    <a:pt x="37" y="642"/>
                  </a:lnTo>
                  <a:lnTo>
                    <a:pt x="38" y="645"/>
                  </a:lnTo>
                  <a:lnTo>
                    <a:pt x="40" y="648"/>
                  </a:lnTo>
                  <a:lnTo>
                    <a:pt x="42" y="651"/>
                  </a:lnTo>
                  <a:lnTo>
                    <a:pt x="45" y="658"/>
                  </a:lnTo>
                  <a:lnTo>
                    <a:pt x="45" y="661"/>
                  </a:lnTo>
                  <a:lnTo>
                    <a:pt x="41" y="666"/>
                  </a:lnTo>
                  <a:lnTo>
                    <a:pt x="47" y="668"/>
                  </a:lnTo>
                  <a:lnTo>
                    <a:pt x="49" y="670"/>
                  </a:lnTo>
                  <a:lnTo>
                    <a:pt x="52" y="671"/>
                  </a:lnTo>
                  <a:lnTo>
                    <a:pt x="56" y="674"/>
                  </a:lnTo>
                  <a:lnTo>
                    <a:pt x="58" y="675"/>
                  </a:lnTo>
                  <a:lnTo>
                    <a:pt x="61" y="675"/>
                  </a:lnTo>
                  <a:lnTo>
                    <a:pt x="63" y="675"/>
                  </a:lnTo>
                  <a:lnTo>
                    <a:pt x="64" y="675"/>
                  </a:lnTo>
                  <a:lnTo>
                    <a:pt x="65" y="674"/>
                  </a:lnTo>
                  <a:lnTo>
                    <a:pt x="65" y="671"/>
                  </a:lnTo>
                  <a:lnTo>
                    <a:pt x="66" y="669"/>
                  </a:lnTo>
                  <a:lnTo>
                    <a:pt x="68" y="668"/>
                  </a:lnTo>
                  <a:lnTo>
                    <a:pt x="71" y="667"/>
                  </a:lnTo>
                  <a:lnTo>
                    <a:pt x="76" y="666"/>
                  </a:lnTo>
                  <a:lnTo>
                    <a:pt x="79" y="664"/>
                  </a:lnTo>
                  <a:lnTo>
                    <a:pt x="80" y="663"/>
                  </a:lnTo>
                  <a:lnTo>
                    <a:pt x="82" y="661"/>
                  </a:lnTo>
                  <a:lnTo>
                    <a:pt x="84" y="660"/>
                  </a:lnTo>
                  <a:lnTo>
                    <a:pt x="84" y="658"/>
                  </a:lnTo>
                  <a:lnTo>
                    <a:pt x="82" y="656"/>
                  </a:lnTo>
                  <a:lnTo>
                    <a:pt x="79" y="654"/>
                  </a:lnTo>
                  <a:lnTo>
                    <a:pt x="76" y="652"/>
                  </a:lnTo>
                  <a:lnTo>
                    <a:pt x="71" y="648"/>
                  </a:lnTo>
                  <a:lnTo>
                    <a:pt x="69" y="647"/>
                  </a:lnTo>
                  <a:lnTo>
                    <a:pt x="65" y="643"/>
                  </a:lnTo>
                  <a:lnTo>
                    <a:pt x="63" y="640"/>
                  </a:lnTo>
                  <a:lnTo>
                    <a:pt x="62" y="638"/>
                  </a:lnTo>
                  <a:lnTo>
                    <a:pt x="58" y="636"/>
                  </a:lnTo>
                  <a:lnTo>
                    <a:pt x="57" y="635"/>
                  </a:lnTo>
                  <a:lnTo>
                    <a:pt x="54" y="630"/>
                  </a:lnTo>
                  <a:lnTo>
                    <a:pt x="52" y="628"/>
                  </a:lnTo>
                  <a:lnTo>
                    <a:pt x="50" y="626"/>
                  </a:lnTo>
                  <a:lnTo>
                    <a:pt x="50" y="624"/>
                  </a:lnTo>
                  <a:lnTo>
                    <a:pt x="54" y="623"/>
                  </a:lnTo>
                  <a:lnTo>
                    <a:pt x="56" y="623"/>
                  </a:lnTo>
                  <a:lnTo>
                    <a:pt x="60" y="621"/>
                  </a:lnTo>
                  <a:lnTo>
                    <a:pt x="61" y="619"/>
                  </a:lnTo>
                  <a:lnTo>
                    <a:pt x="62" y="616"/>
                  </a:lnTo>
                  <a:lnTo>
                    <a:pt x="63" y="614"/>
                  </a:lnTo>
                  <a:lnTo>
                    <a:pt x="64" y="612"/>
                  </a:lnTo>
                  <a:lnTo>
                    <a:pt x="65" y="608"/>
                  </a:lnTo>
                  <a:lnTo>
                    <a:pt x="66" y="605"/>
                  </a:lnTo>
                  <a:lnTo>
                    <a:pt x="68" y="603"/>
                  </a:lnTo>
                  <a:lnTo>
                    <a:pt x="69" y="600"/>
                  </a:lnTo>
                  <a:lnTo>
                    <a:pt x="71" y="598"/>
                  </a:lnTo>
                  <a:lnTo>
                    <a:pt x="74" y="596"/>
                  </a:lnTo>
                  <a:lnTo>
                    <a:pt x="77" y="594"/>
                  </a:lnTo>
                  <a:lnTo>
                    <a:pt x="80" y="590"/>
                  </a:lnTo>
                  <a:lnTo>
                    <a:pt x="82" y="588"/>
                  </a:lnTo>
                  <a:lnTo>
                    <a:pt x="85" y="584"/>
                  </a:lnTo>
                  <a:lnTo>
                    <a:pt x="88" y="580"/>
                  </a:lnTo>
                  <a:lnTo>
                    <a:pt x="90" y="579"/>
                  </a:lnTo>
                  <a:lnTo>
                    <a:pt x="94" y="575"/>
                  </a:lnTo>
                  <a:lnTo>
                    <a:pt x="97" y="572"/>
                  </a:lnTo>
                  <a:lnTo>
                    <a:pt x="101" y="568"/>
                  </a:lnTo>
                  <a:lnTo>
                    <a:pt x="112" y="564"/>
                  </a:lnTo>
                  <a:lnTo>
                    <a:pt x="126" y="556"/>
                  </a:lnTo>
                  <a:lnTo>
                    <a:pt x="137" y="552"/>
                  </a:lnTo>
                  <a:lnTo>
                    <a:pt x="141" y="551"/>
                  </a:lnTo>
                  <a:lnTo>
                    <a:pt x="145" y="550"/>
                  </a:lnTo>
                  <a:lnTo>
                    <a:pt x="149" y="550"/>
                  </a:lnTo>
                  <a:lnTo>
                    <a:pt x="152" y="550"/>
                  </a:lnTo>
                  <a:lnTo>
                    <a:pt x="156" y="550"/>
                  </a:lnTo>
                  <a:lnTo>
                    <a:pt x="159" y="550"/>
                  </a:lnTo>
                  <a:lnTo>
                    <a:pt x="162" y="549"/>
                  </a:lnTo>
                  <a:lnTo>
                    <a:pt x="168" y="548"/>
                  </a:lnTo>
                  <a:lnTo>
                    <a:pt x="170" y="548"/>
                  </a:lnTo>
                  <a:lnTo>
                    <a:pt x="180" y="548"/>
                  </a:lnTo>
                  <a:lnTo>
                    <a:pt x="183" y="549"/>
                  </a:lnTo>
                  <a:lnTo>
                    <a:pt x="186" y="548"/>
                  </a:lnTo>
                  <a:lnTo>
                    <a:pt x="190" y="548"/>
                  </a:lnTo>
                  <a:lnTo>
                    <a:pt x="192" y="548"/>
                  </a:lnTo>
                  <a:lnTo>
                    <a:pt x="196" y="547"/>
                  </a:lnTo>
                  <a:lnTo>
                    <a:pt x="199" y="546"/>
                  </a:lnTo>
                  <a:lnTo>
                    <a:pt x="205" y="547"/>
                  </a:lnTo>
                  <a:lnTo>
                    <a:pt x="209" y="548"/>
                  </a:lnTo>
                  <a:lnTo>
                    <a:pt x="214" y="547"/>
                  </a:lnTo>
                  <a:lnTo>
                    <a:pt x="216" y="546"/>
                  </a:lnTo>
                  <a:lnTo>
                    <a:pt x="221" y="546"/>
                  </a:lnTo>
                  <a:lnTo>
                    <a:pt x="223" y="547"/>
                  </a:lnTo>
                  <a:lnTo>
                    <a:pt x="225" y="548"/>
                  </a:lnTo>
                  <a:lnTo>
                    <a:pt x="226" y="550"/>
                  </a:lnTo>
                  <a:lnTo>
                    <a:pt x="226" y="554"/>
                  </a:lnTo>
                  <a:lnTo>
                    <a:pt x="226" y="556"/>
                  </a:lnTo>
                  <a:lnTo>
                    <a:pt x="228" y="562"/>
                  </a:lnTo>
                  <a:lnTo>
                    <a:pt x="226" y="564"/>
                  </a:lnTo>
                  <a:lnTo>
                    <a:pt x="228" y="565"/>
                  </a:lnTo>
                  <a:lnTo>
                    <a:pt x="229" y="567"/>
                  </a:lnTo>
                  <a:lnTo>
                    <a:pt x="230" y="570"/>
                  </a:lnTo>
                  <a:lnTo>
                    <a:pt x="232" y="570"/>
                  </a:lnTo>
                  <a:lnTo>
                    <a:pt x="234" y="571"/>
                  </a:lnTo>
                  <a:lnTo>
                    <a:pt x="238" y="570"/>
                  </a:lnTo>
                  <a:lnTo>
                    <a:pt x="239" y="567"/>
                  </a:lnTo>
                  <a:lnTo>
                    <a:pt x="242" y="566"/>
                  </a:lnTo>
                  <a:lnTo>
                    <a:pt x="246" y="564"/>
                  </a:lnTo>
                  <a:lnTo>
                    <a:pt x="249" y="564"/>
                  </a:lnTo>
                  <a:lnTo>
                    <a:pt x="252" y="565"/>
                  </a:lnTo>
                  <a:lnTo>
                    <a:pt x="252" y="567"/>
                  </a:lnTo>
                  <a:lnTo>
                    <a:pt x="250" y="570"/>
                  </a:lnTo>
                  <a:lnTo>
                    <a:pt x="250" y="571"/>
                  </a:lnTo>
                  <a:lnTo>
                    <a:pt x="250" y="572"/>
                  </a:lnTo>
                  <a:lnTo>
                    <a:pt x="253" y="573"/>
                  </a:lnTo>
                  <a:lnTo>
                    <a:pt x="253" y="576"/>
                  </a:lnTo>
                  <a:lnTo>
                    <a:pt x="252" y="578"/>
                  </a:lnTo>
                  <a:lnTo>
                    <a:pt x="255" y="579"/>
                  </a:lnTo>
                  <a:lnTo>
                    <a:pt x="256" y="579"/>
                  </a:lnTo>
                  <a:lnTo>
                    <a:pt x="257" y="575"/>
                  </a:lnTo>
                  <a:lnTo>
                    <a:pt x="257" y="573"/>
                  </a:lnTo>
                  <a:lnTo>
                    <a:pt x="260" y="572"/>
                  </a:lnTo>
                  <a:lnTo>
                    <a:pt x="261" y="570"/>
                  </a:lnTo>
                  <a:lnTo>
                    <a:pt x="264" y="568"/>
                  </a:lnTo>
                  <a:lnTo>
                    <a:pt x="266" y="567"/>
                  </a:lnTo>
                  <a:lnTo>
                    <a:pt x="268" y="566"/>
                  </a:lnTo>
                  <a:lnTo>
                    <a:pt x="270" y="565"/>
                  </a:lnTo>
                  <a:lnTo>
                    <a:pt x="271" y="563"/>
                  </a:lnTo>
                  <a:lnTo>
                    <a:pt x="273" y="562"/>
                  </a:lnTo>
                  <a:lnTo>
                    <a:pt x="280" y="559"/>
                  </a:lnTo>
                  <a:lnTo>
                    <a:pt x="282" y="560"/>
                  </a:lnTo>
                  <a:lnTo>
                    <a:pt x="284" y="563"/>
                  </a:lnTo>
                  <a:lnTo>
                    <a:pt x="285" y="564"/>
                  </a:lnTo>
                  <a:lnTo>
                    <a:pt x="285" y="565"/>
                  </a:lnTo>
                  <a:lnTo>
                    <a:pt x="287" y="566"/>
                  </a:lnTo>
                  <a:lnTo>
                    <a:pt x="287" y="567"/>
                  </a:lnTo>
                  <a:lnTo>
                    <a:pt x="289" y="568"/>
                  </a:lnTo>
                  <a:lnTo>
                    <a:pt x="290" y="570"/>
                  </a:lnTo>
                  <a:lnTo>
                    <a:pt x="293" y="570"/>
                  </a:lnTo>
                  <a:lnTo>
                    <a:pt x="295" y="571"/>
                  </a:lnTo>
                  <a:lnTo>
                    <a:pt x="298" y="570"/>
                  </a:lnTo>
                  <a:lnTo>
                    <a:pt x="301" y="567"/>
                  </a:lnTo>
                  <a:lnTo>
                    <a:pt x="302" y="566"/>
                  </a:lnTo>
                  <a:lnTo>
                    <a:pt x="303" y="565"/>
                  </a:lnTo>
                  <a:lnTo>
                    <a:pt x="304" y="564"/>
                  </a:lnTo>
                  <a:lnTo>
                    <a:pt x="308" y="564"/>
                  </a:lnTo>
                  <a:lnTo>
                    <a:pt x="311" y="564"/>
                  </a:lnTo>
                  <a:lnTo>
                    <a:pt x="313" y="566"/>
                  </a:lnTo>
                  <a:lnTo>
                    <a:pt x="317" y="566"/>
                  </a:lnTo>
                  <a:lnTo>
                    <a:pt x="320" y="566"/>
                  </a:lnTo>
                  <a:lnTo>
                    <a:pt x="321" y="566"/>
                  </a:lnTo>
                  <a:lnTo>
                    <a:pt x="324" y="565"/>
                  </a:lnTo>
                  <a:lnTo>
                    <a:pt x="326" y="566"/>
                  </a:lnTo>
                  <a:lnTo>
                    <a:pt x="326" y="567"/>
                  </a:lnTo>
                  <a:lnTo>
                    <a:pt x="329" y="567"/>
                  </a:lnTo>
                  <a:lnTo>
                    <a:pt x="330" y="566"/>
                  </a:lnTo>
                  <a:lnTo>
                    <a:pt x="333" y="567"/>
                  </a:lnTo>
                  <a:lnTo>
                    <a:pt x="333" y="568"/>
                  </a:lnTo>
                  <a:lnTo>
                    <a:pt x="335" y="568"/>
                  </a:lnTo>
                  <a:lnTo>
                    <a:pt x="336" y="568"/>
                  </a:lnTo>
                  <a:lnTo>
                    <a:pt x="338" y="570"/>
                  </a:lnTo>
                  <a:lnTo>
                    <a:pt x="340" y="570"/>
                  </a:lnTo>
                  <a:lnTo>
                    <a:pt x="341" y="572"/>
                  </a:lnTo>
                  <a:lnTo>
                    <a:pt x="344" y="572"/>
                  </a:lnTo>
                  <a:lnTo>
                    <a:pt x="345" y="571"/>
                  </a:lnTo>
                  <a:lnTo>
                    <a:pt x="348" y="571"/>
                  </a:lnTo>
                  <a:lnTo>
                    <a:pt x="349" y="572"/>
                  </a:lnTo>
                  <a:lnTo>
                    <a:pt x="351" y="571"/>
                  </a:lnTo>
                  <a:lnTo>
                    <a:pt x="352" y="570"/>
                  </a:lnTo>
                  <a:lnTo>
                    <a:pt x="356" y="570"/>
                  </a:lnTo>
                  <a:lnTo>
                    <a:pt x="357" y="571"/>
                  </a:lnTo>
                  <a:lnTo>
                    <a:pt x="357" y="572"/>
                  </a:lnTo>
                  <a:lnTo>
                    <a:pt x="358" y="573"/>
                  </a:lnTo>
                  <a:lnTo>
                    <a:pt x="359" y="574"/>
                  </a:lnTo>
                  <a:lnTo>
                    <a:pt x="359" y="576"/>
                  </a:lnTo>
                  <a:lnTo>
                    <a:pt x="358" y="579"/>
                  </a:lnTo>
                  <a:lnTo>
                    <a:pt x="361" y="580"/>
                  </a:lnTo>
                  <a:lnTo>
                    <a:pt x="362" y="580"/>
                  </a:lnTo>
                  <a:lnTo>
                    <a:pt x="362" y="583"/>
                  </a:lnTo>
                  <a:lnTo>
                    <a:pt x="361" y="586"/>
                  </a:lnTo>
                  <a:lnTo>
                    <a:pt x="361" y="587"/>
                  </a:lnTo>
                  <a:lnTo>
                    <a:pt x="360" y="589"/>
                  </a:lnTo>
                  <a:lnTo>
                    <a:pt x="361" y="592"/>
                  </a:lnTo>
                  <a:lnTo>
                    <a:pt x="364" y="591"/>
                  </a:lnTo>
                  <a:lnTo>
                    <a:pt x="367" y="590"/>
                  </a:lnTo>
                  <a:lnTo>
                    <a:pt x="368" y="587"/>
                  </a:lnTo>
                  <a:lnTo>
                    <a:pt x="369" y="586"/>
                  </a:lnTo>
                  <a:lnTo>
                    <a:pt x="373" y="584"/>
                  </a:lnTo>
                  <a:lnTo>
                    <a:pt x="376" y="584"/>
                  </a:lnTo>
                  <a:lnTo>
                    <a:pt x="380" y="584"/>
                  </a:lnTo>
                  <a:lnTo>
                    <a:pt x="380" y="586"/>
                  </a:lnTo>
                  <a:lnTo>
                    <a:pt x="378" y="588"/>
                  </a:lnTo>
                  <a:lnTo>
                    <a:pt x="377" y="590"/>
                  </a:lnTo>
                  <a:lnTo>
                    <a:pt x="376" y="591"/>
                  </a:lnTo>
                  <a:lnTo>
                    <a:pt x="375" y="594"/>
                  </a:lnTo>
                  <a:lnTo>
                    <a:pt x="376" y="594"/>
                  </a:lnTo>
                  <a:lnTo>
                    <a:pt x="378" y="594"/>
                  </a:lnTo>
                  <a:lnTo>
                    <a:pt x="381" y="592"/>
                  </a:lnTo>
                  <a:lnTo>
                    <a:pt x="384" y="591"/>
                  </a:lnTo>
                  <a:lnTo>
                    <a:pt x="388" y="590"/>
                  </a:lnTo>
                  <a:lnTo>
                    <a:pt x="391" y="589"/>
                  </a:lnTo>
                  <a:lnTo>
                    <a:pt x="396" y="587"/>
                  </a:lnTo>
                  <a:lnTo>
                    <a:pt x="399" y="586"/>
                  </a:lnTo>
                  <a:lnTo>
                    <a:pt x="401" y="586"/>
                  </a:lnTo>
                  <a:lnTo>
                    <a:pt x="405" y="584"/>
                  </a:lnTo>
                  <a:lnTo>
                    <a:pt x="408" y="583"/>
                  </a:lnTo>
                  <a:lnTo>
                    <a:pt x="412" y="583"/>
                  </a:lnTo>
                  <a:lnTo>
                    <a:pt x="413" y="587"/>
                  </a:lnTo>
                  <a:lnTo>
                    <a:pt x="412" y="589"/>
                  </a:lnTo>
                  <a:lnTo>
                    <a:pt x="410" y="591"/>
                  </a:lnTo>
                  <a:lnTo>
                    <a:pt x="407" y="595"/>
                  </a:lnTo>
                  <a:lnTo>
                    <a:pt x="406" y="596"/>
                  </a:lnTo>
                  <a:lnTo>
                    <a:pt x="405" y="597"/>
                  </a:lnTo>
                  <a:lnTo>
                    <a:pt x="404" y="598"/>
                  </a:lnTo>
                  <a:lnTo>
                    <a:pt x="404" y="600"/>
                  </a:lnTo>
                  <a:lnTo>
                    <a:pt x="404" y="603"/>
                  </a:lnTo>
                  <a:lnTo>
                    <a:pt x="405" y="605"/>
                  </a:lnTo>
                  <a:lnTo>
                    <a:pt x="406" y="606"/>
                  </a:lnTo>
                  <a:lnTo>
                    <a:pt x="406" y="608"/>
                  </a:lnTo>
                  <a:lnTo>
                    <a:pt x="407" y="611"/>
                  </a:lnTo>
                  <a:lnTo>
                    <a:pt x="409" y="614"/>
                  </a:lnTo>
                  <a:lnTo>
                    <a:pt x="409" y="616"/>
                  </a:lnTo>
                  <a:lnTo>
                    <a:pt x="410" y="619"/>
                  </a:lnTo>
                  <a:lnTo>
                    <a:pt x="412" y="621"/>
                  </a:lnTo>
                  <a:lnTo>
                    <a:pt x="413" y="623"/>
                  </a:lnTo>
                  <a:lnTo>
                    <a:pt x="413" y="626"/>
                  </a:lnTo>
                  <a:lnTo>
                    <a:pt x="415" y="627"/>
                  </a:lnTo>
                  <a:lnTo>
                    <a:pt x="416" y="628"/>
                  </a:lnTo>
                  <a:lnTo>
                    <a:pt x="417" y="628"/>
                  </a:lnTo>
                  <a:lnTo>
                    <a:pt x="421" y="624"/>
                  </a:lnTo>
                  <a:lnTo>
                    <a:pt x="422" y="623"/>
                  </a:lnTo>
                  <a:lnTo>
                    <a:pt x="423" y="619"/>
                  </a:lnTo>
                  <a:lnTo>
                    <a:pt x="425" y="616"/>
                  </a:lnTo>
                  <a:lnTo>
                    <a:pt x="428" y="614"/>
                  </a:lnTo>
                  <a:lnTo>
                    <a:pt x="430" y="612"/>
                  </a:lnTo>
                  <a:lnTo>
                    <a:pt x="432" y="610"/>
                  </a:lnTo>
                  <a:lnTo>
                    <a:pt x="434" y="607"/>
                  </a:lnTo>
                  <a:lnTo>
                    <a:pt x="436" y="605"/>
                  </a:lnTo>
                  <a:lnTo>
                    <a:pt x="437" y="602"/>
                  </a:lnTo>
                  <a:lnTo>
                    <a:pt x="440" y="599"/>
                  </a:lnTo>
                  <a:lnTo>
                    <a:pt x="445" y="595"/>
                  </a:lnTo>
                  <a:lnTo>
                    <a:pt x="446" y="595"/>
                  </a:lnTo>
                  <a:lnTo>
                    <a:pt x="448" y="592"/>
                  </a:lnTo>
                  <a:lnTo>
                    <a:pt x="450" y="591"/>
                  </a:lnTo>
                  <a:lnTo>
                    <a:pt x="452" y="590"/>
                  </a:lnTo>
                  <a:lnTo>
                    <a:pt x="454" y="588"/>
                  </a:lnTo>
                  <a:lnTo>
                    <a:pt x="457" y="587"/>
                  </a:lnTo>
                  <a:lnTo>
                    <a:pt x="462" y="587"/>
                  </a:lnTo>
                  <a:lnTo>
                    <a:pt x="464" y="586"/>
                  </a:lnTo>
                  <a:lnTo>
                    <a:pt x="468" y="584"/>
                  </a:lnTo>
                  <a:lnTo>
                    <a:pt x="474" y="584"/>
                  </a:lnTo>
                  <a:lnTo>
                    <a:pt x="477" y="584"/>
                  </a:lnTo>
                  <a:lnTo>
                    <a:pt x="481" y="586"/>
                  </a:lnTo>
                  <a:lnTo>
                    <a:pt x="485" y="586"/>
                  </a:lnTo>
                  <a:lnTo>
                    <a:pt x="488" y="586"/>
                  </a:lnTo>
                  <a:lnTo>
                    <a:pt x="490" y="584"/>
                  </a:lnTo>
                  <a:lnTo>
                    <a:pt x="495" y="584"/>
                  </a:lnTo>
                  <a:lnTo>
                    <a:pt x="497" y="582"/>
                  </a:lnTo>
                  <a:lnTo>
                    <a:pt x="498" y="580"/>
                  </a:lnTo>
                  <a:lnTo>
                    <a:pt x="498" y="579"/>
                  </a:lnTo>
                  <a:lnTo>
                    <a:pt x="496" y="576"/>
                  </a:lnTo>
                  <a:lnTo>
                    <a:pt x="494" y="576"/>
                  </a:lnTo>
                  <a:lnTo>
                    <a:pt x="493" y="576"/>
                  </a:lnTo>
                  <a:lnTo>
                    <a:pt x="490" y="575"/>
                  </a:lnTo>
                  <a:lnTo>
                    <a:pt x="490" y="572"/>
                  </a:lnTo>
                  <a:lnTo>
                    <a:pt x="493" y="572"/>
                  </a:lnTo>
                  <a:lnTo>
                    <a:pt x="495" y="572"/>
                  </a:lnTo>
                  <a:lnTo>
                    <a:pt x="497" y="572"/>
                  </a:lnTo>
                  <a:lnTo>
                    <a:pt x="498" y="572"/>
                  </a:lnTo>
                  <a:lnTo>
                    <a:pt x="501" y="570"/>
                  </a:lnTo>
                  <a:lnTo>
                    <a:pt x="501" y="568"/>
                  </a:lnTo>
                  <a:lnTo>
                    <a:pt x="500" y="567"/>
                  </a:lnTo>
                  <a:lnTo>
                    <a:pt x="497" y="566"/>
                  </a:lnTo>
                  <a:lnTo>
                    <a:pt x="496" y="566"/>
                  </a:lnTo>
                  <a:lnTo>
                    <a:pt x="493" y="566"/>
                  </a:lnTo>
                  <a:lnTo>
                    <a:pt x="493" y="564"/>
                  </a:lnTo>
                  <a:lnTo>
                    <a:pt x="493" y="563"/>
                  </a:lnTo>
                  <a:lnTo>
                    <a:pt x="495" y="559"/>
                  </a:lnTo>
                  <a:lnTo>
                    <a:pt x="497" y="559"/>
                  </a:lnTo>
                  <a:lnTo>
                    <a:pt x="500" y="558"/>
                  </a:lnTo>
                  <a:lnTo>
                    <a:pt x="502" y="559"/>
                  </a:lnTo>
                  <a:lnTo>
                    <a:pt x="504" y="558"/>
                  </a:lnTo>
                  <a:lnTo>
                    <a:pt x="505" y="557"/>
                  </a:lnTo>
                  <a:lnTo>
                    <a:pt x="506" y="556"/>
                  </a:lnTo>
                  <a:lnTo>
                    <a:pt x="506" y="555"/>
                  </a:lnTo>
                  <a:lnTo>
                    <a:pt x="508" y="551"/>
                  </a:lnTo>
                  <a:lnTo>
                    <a:pt x="508" y="549"/>
                  </a:lnTo>
                  <a:lnTo>
                    <a:pt x="510" y="546"/>
                  </a:lnTo>
                  <a:lnTo>
                    <a:pt x="512" y="544"/>
                  </a:lnTo>
                  <a:lnTo>
                    <a:pt x="513" y="542"/>
                  </a:lnTo>
                  <a:lnTo>
                    <a:pt x="516" y="540"/>
                  </a:lnTo>
                  <a:lnTo>
                    <a:pt x="518" y="539"/>
                  </a:lnTo>
                  <a:lnTo>
                    <a:pt x="519" y="539"/>
                  </a:lnTo>
                  <a:lnTo>
                    <a:pt x="522" y="539"/>
                  </a:lnTo>
                  <a:lnTo>
                    <a:pt x="526" y="540"/>
                  </a:lnTo>
                  <a:lnTo>
                    <a:pt x="529" y="542"/>
                  </a:lnTo>
                  <a:lnTo>
                    <a:pt x="530" y="544"/>
                  </a:lnTo>
                  <a:lnTo>
                    <a:pt x="530" y="548"/>
                  </a:lnTo>
                  <a:lnTo>
                    <a:pt x="529" y="550"/>
                  </a:lnTo>
                  <a:lnTo>
                    <a:pt x="529" y="552"/>
                  </a:lnTo>
                  <a:lnTo>
                    <a:pt x="529" y="557"/>
                  </a:lnTo>
                  <a:lnTo>
                    <a:pt x="528" y="559"/>
                  </a:lnTo>
                  <a:lnTo>
                    <a:pt x="528" y="563"/>
                  </a:lnTo>
                  <a:lnTo>
                    <a:pt x="528" y="565"/>
                  </a:lnTo>
                  <a:lnTo>
                    <a:pt x="529" y="566"/>
                  </a:lnTo>
                  <a:lnTo>
                    <a:pt x="529" y="567"/>
                  </a:lnTo>
                  <a:lnTo>
                    <a:pt x="530" y="567"/>
                  </a:lnTo>
                  <a:lnTo>
                    <a:pt x="533" y="568"/>
                  </a:lnTo>
                  <a:lnTo>
                    <a:pt x="534" y="568"/>
                  </a:lnTo>
                  <a:lnTo>
                    <a:pt x="534" y="570"/>
                  </a:lnTo>
                  <a:lnTo>
                    <a:pt x="535" y="571"/>
                  </a:lnTo>
                  <a:lnTo>
                    <a:pt x="535" y="572"/>
                  </a:lnTo>
                  <a:lnTo>
                    <a:pt x="537" y="573"/>
                  </a:lnTo>
                  <a:lnTo>
                    <a:pt x="540" y="572"/>
                  </a:lnTo>
                  <a:lnTo>
                    <a:pt x="541" y="571"/>
                  </a:lnTo>
                  <a:lnTo>
                    <a:pt x="542" y="566"/>
                  </a:lnTo>
                  <a:lnTo>
                    <a:pt x="543" y="565"/>
                  </a:lnTo>
                  <a:lnTo>
                    <a:pt x="544" y="563"/>
                  </a:lnTo>
                  <a:lnTo>
                    <a:pt x="546" y="562"/>
                  </a:lnTo>
                  <a:lnTo>
                    <a:pt x="548" y="560"/>
                  </a:lnTo>
                  <a:lnTo>
                    <a:pt x="550" y="559"/>
                  </a:lnTo>
                  <a:lnTo>
                    <a:pt x="551" y="557"/>
                  </a:lnTo>
                  <a:lnTo>
                    <a:pt x="552" y="555"/>
                  </a:lnTo>
                  <a:lnTo>
                    <a:pt x="552" y="554"/>
                  </a:lnTo>
                  <a:lnTo>
                    <a:pt x="552" y="551"/>
                  </a:lnTo>
                  <a:lnTo>
                    <a:pt x="552" y="549"/>
                  </a:lnTo>
                  <a:lnTo>
                    <a:pt x="552" y="548"/>
                  </a:lnTo>
                  <a:lnTo>
                    <a:pt x="553" y="544"/>
                  </a:lnTo>
                  <a:lnTo>
                    <a:pt x="553" y="543"/>
                  </a:lnTo>
                  <a:lnTo>
                    <a:pt x="553" y="541"/>
                  </a:lnTo>
                  <a:lnTo>
                    <a:pt x="553" y="539"/>
                  </a:lnTo>
                  <a:lnTo>
                    <a:pt x="556" y="535"/>
                  </a:lnTo>
                  <a:lnTo>
                    <a:pt x="558" y="534"/>
                  </a:lnTo>
                  <a:lnTo>
                    <a:pt x="559" y="533"/>
                  </a:lnTo>
                  <a:lnTo>
                    <a:pt x="562" y="530"/>
                  </a:lnTo>
                  <a:lnTo>
                    <a:pt x="565" y="528"/>
                  </a:lnTo>
                  <a:lnTo>
                    <a:pt x="567" y="527"/>
                  </a:lnTo>
                  <a:lnTo>
                    <a:pt x="569" y="525"/>
                  </a:lnTo>
                  <a:lnTo>
                    <a:pt x="572" y="523"/>
                  </a:lnTo>
                  <a:lnTo>
                    <a:pt x="573" y="522"/>
                  </a:lnTo>
                  <a:lnTo>
                    <a:pt x="575" y="519"/>
                  </a:lnTo>
                  <a:lnTo>
                    <a:pt x="578" y="518"/>
                  </a:lnTo>
                  <a:lnTo>
                    <a:pt x="581" y="518"/>
                  </a:lnTo>
                  <a:lnTo>
                    <a:pt x="584" y="518"/>
                  </a:lnTo>
                  <a:lnTo>
                    <a:pt x="586" y="519"/>
                  </a:lnTo>
                  <a:lnTo>
                    <a:pt x="590" y="520"/>
                  </a:lnTo>
                  <a:lnTo>
                    <a:pt x="591" y="523"/>
                  </a:lnTo>
                  <a:lnTo>
                    <a:pt x="592" y="526"/>
                  </a:lnTo>
                  <a:lnTo>
                    <a:pt x="593" y="528"/>
                  </a:lnTo>
                  <a:lnTo>
                    <a:pt x="593" y="531"/>
                  </a:lnTo>
                  <a:lnTo>
                    <a:pt x="596" y="534"/>
                  </a:lnTo>
                  <a:lnTo>
                    <a:pt x="596" y="535"/>
                  </a:lnTo>
                  <a:lnTo>
                    <a:pt x="597" y="536"/>
                  </a:lnTo>
                  <a:lnTo>
                    <a:pt x="598" y="539"/>
                  </a:lnTo>
                  <a:lnTo>
                    <a:pt x="599" y="540"/>
                  </a:lnTo>
                  <a:lnTo>
                    <a:pt x="600" y="540"/>
                  </a:lnTo>
                  <a:lnTo>
                    <a:pt x="602" y="541"/>
                  </a:lnTo>
                  <a:lnTo>
                    <a:pt x="605" y="541"/>
                  </a:lnTo>
                  <a:lnTo>
                    <a:pt x="607" y="542"/>
                  </a:lnTo>
                  <a:lnTo>
                    <a:pt x="610" y="542"/>
                  </a:lnTo>
                  <a:lnTo>
                    <a:pt x="613" y="542"/>
                  </a:lnTo>
                  <a:lnTo>
                    <a:pt x="616" y="541"/>
                  </a:lnTo>
                  <a:lnTo>
                    <a:pt x="618" y="540"/>
                  </a:lnTo>
                  <a:lnTo>
                    <a:pt x="620" y="539"/>
                  </a:lnTo>
                  <a:lnTo>
                    <a:pt x="621" y="536"/>
                  </a:lnTo>
                  <a:lnTo>
                    <a:pt x="622" y="535"/>
                  </a:lnTo>
                  <a:lnTo>
                    <a:pt x="623" y="533"/>
                  </a:lnTo>
                  <a:lnTo>
                    <a:pt x="625" y="531"/>
                  </a:lnTo>
                  <a:lnTo>
                    <a:pt x="628" y="528"/>
                  </a:lnTo>
                  <a:lnTo>
                    <a:pt x="630" y="527"/>
                  </a:lnTo>
                  <a:lnTo>
                    <a:pt x="632" y="526"/>
                  </a:lnTo>
                  <a:lnTo>
                    <a:pt x="636" y="526"/>
                  </a:lnTo>
                  <a:lnTo>
                    <a:pt x="641" y="526"/>
                  </a:lnTo>
                  <a:lnTo>
                    <a:pt x="645" y="526"/>
                  </a:lnTo>
                  <a:lnTo>
                    <a:pt x="649" y="527"/>
                  </a:lnTo>
                  <a:lnTo>
                    <a:pt x="653" y="527"/>
                  </a:lnTo>
                  <a:lnTo>
                    <a:pt x="657" y="527"/>
                  </a:lnTo>
                  <a:lnTo>
                    <a:pt x="661" y="527"/>
                  </a:lnTo>
                  <a:lnTo>
                    <a:pt x="664" y="527"/>
                  </a:lnTo>
                  <a:lnTo>
                    <a:pt x="668" y="526"/>
                  </a:lnTo>
                  <a:lnTo>
                    <a:pt x="672" y="526"/>
                  </a:lnTo>
                  <a:lnTo>
                    <a:pt x="677" y="526"/>
                  </a:lnTo>
                  <a:lnTo>
                    <a:pt x="680" y="526"/>
                  </a:lnTo>
                  <a:lnTo>
                    <a:pt x="685" y="526"/>
                  </a:lnTo>
                  <a:lnTo>
                    <a:pt x="689" y="526"/>
                  </a:lnTo>
                  <a:lnTo>
                    <a:pt x="692" y="526"/>
                  </a:lnTo>
                  <a:lnTo>
                    <a:pt x="695" y="526"/>
                  </a:lnTo>
                  <a:lnTo>
                    <a:pt x="697" y="526"/>
                  </a:lnTo>
                  <a:lnTo>
                    <a:pt x="700" y="527"/>
                  </a:lnTo>
                  <a:lnTo>
                    <a:pt x="702" y="528"/>
                  </a:lnTo>
                  <a:lnTo>
                    <a:pt x="702" y="531"/>
                  </a:lnTo>
                  <a:lnTo>
                    <a:pt x="702" y="532"/>
                  </a:lnTo>
                  <a:lnTo>
                    <a:pt x="701" y="534"/>
                  </a:lnTo>
                  <a:lnTo>
                    <a:pt x="700" y="536"/>
                  </a:lnTo>
                  <a:lnTo>
                    <a:pt x="697" y="540"/>
                  </a:lnTo>
                  <a:lnTo>
                    <a:pt x="694" y="541"/>
                  </a:lnTo>
                  <a:lnTo>
                    <a:pt x="690" y="543"/>
                  </a:lnTo>
                  <a:lnTo>
                    <a:pt x="682" y="550"/>
                  </a:lnTo>
                  <a:lnTo>
                    <a:pt x="680" y="551"/>
                  </a:lnTo>
                  <a:lnTo>
                    <a:pt x="678" y="554"/>
                  </a:lnTo>
                  <a:lnTo>
                    <a:pt x="678" y="556"/>
                  </a:lnTo>
                  <a:lnTo>
                    <a:pt x="677" y="558"/>
                  </a:lnTo>
                  <a:lnTo>
                    <a:pt x="676" y="560"/>
                  </a:lnTo>
                  <a:lnTo>
                    <a:pt x="676" y="564"/>
                  </a:lnTo>
                  <a:lnTo>
                    <a:pt x="676" y="565"/>
                  </a:lnTo>
                  <a:lnTo>
                    <a:pt x="677" y="566"/>
                  </a:lnTo>
                  <a:lnTo>
                    <a:pt x="679" y="567"/>
                  </a:lnTo>
                  <a:lnTo>
                    <a:pt x="681" y="567"/>
                  </a:lnTo>
                  <a:lnTo>
                    <a:pt x="684" y="568"/>
                  </a:lnTo>
                  <a:lnTo>
                    <a:pt x="686" y="568"/>
                  </a:lnTo>
                  <a:lnTo>
                    <a:pt x="687" y="570"/>
                  </a:lnTo>
                  <a:lnTo>
                    <a:pt x="688" y="571"/>
                  </a:lnTo>
                  <a:lnTo>
                    <a:pt x="688" y="573"/>
                  </a:lnTo>
                  <a:lnTo>
                    <a:pt x="687" y="575"/>
                  </a:lnTo>
                  <a:lnTo>
                    <a:pt x="685" y="578"/>
                  </a:lnTo>
                  <a:lnTo>
                    <a:pt x="682" y="581"/>
                  </a:lnTo>
                  <a:lnTo>
                    <a:pt x="680" y="583"/>
                  </a:lnTo>
                  <a:lnTo>
                    <a:pt x="678" y="587"/>
                  </a:lnTo>
                  <a:lnTo>
                    <a:pt x="677" y="589"/>
                  </a:lnTo>
                  <a:lnTo>
                    <a:pt x="674" y="594"/>
                  </a:lnTo>
                  <a:lnTo>
                    <a:pt x="672" y="596"/>
                  </a:lnTo>
                  <a:lnTo>
                    <a:pt x="671" y="599"/>
                  </a:lnTo>
                  <a:lnTo>
                    <a:pt x="671" y="602"/>
                  </a:lnTo>
                  <a:lnTo>
                    <a:pt x="671" y="604"/>
                  </a:lnTo>
                  <a:lnTo>
                    <a:pt x="671" y="606"/>
                  </a:lnTo>
                  <a:lnTo>
                    <a:pt x="672" y="607"/>
                  </a:lnTo>
                  <a:lnTo>
                    <a:pt x="672" y="611"/>
                  </a:lnTo>
                  <a:lnTo>
                    <a:pt x="672" y="613"/>
                  </a:lnTo>
                  <a:lnTo>
                    <a:pt x="672" y="615"/>
                  </a:lnTo>
                  <a:lnTo>
                    <a:pt x="672" y="618"/>
                  </a:lnTo>
                  <a:lnTo>
                    <a:pt x="671" y="620"/>
                  </a:lnTo>
                  <a:lnTo>
                    <a:pt x="671" y="623"/>
                  </a:lnTo>
                  <a:lnTo>
                    <a:pt x="671" y="628"/>
                  </a:lnTo>
                  <a:lnTo>
                    <a:pt x="671" y="630"/>
                  </a:lnTo>
                  <a:lnTo>
                    <a:pt x="672" y="634"/>
                  </a:lnTo>
                  <a:lnTo>
                    <a:pt x="673" y="635"/>
                  </a:lnTo>
                  <a:lnTo>
                    <a:pt x="676" y="635"/>
                  </a:lnTo>
                  <a:lnTo>
                    <a:pt x="677" y="634"/>
                  </a:lnTo>
                  <a:lnTo>
                    <a:pt x="678" y="632"/>
                  </a:lnTo>
                  <a:lnTo>
                    <a:pt x="679" y="630"/>
                  </a:lnTo>
                  <a:lnTo>
                    <a:pt x="681" y="628"/>
                  </a:lnTo>
                  <a:lnTo>
                    <a:pt x="682" y="627"/>
                  </a:lnTo>
                  <a:lnTo>
                    <a:pt x="684" y="626"/>
                  </a:lnTo>
                  <a:lnTo>
                    <a:pt x="684" y="623"/>
                  </a:lnTo>
                  <a:lnTo>
                    <a:pt x="685" y="621"/>
                  </a:lnTo>
                  <a:lnTo>
                    <a:pt x="687" y="619"/>
                  </a:lnTo>
                  <a:lnTo>
                    <a:pt x="689" y="618"/>
                  </a:lnTo>
                  <a:lnTo>
                    <a:pt x="694" y="616"/>
                  </a:lnTo>
                  <a:lnTo>
                    <a:pt x="698" y="618"/>
                  </a:lnTo>
                  <a:lnTo>
                    <a:pt x="701" y="618"/>
                  </a:lnTo>
                  <a:lnTo>
                    <a:pt x="703" y="619"/>
                  </a:lnTo>
                  <a:lnTo>
                    <a:pt x="705" y="619"/>
                  </a:lnTo>
                  <a:lnTo>
                    <a:pt x="710" y="618"/>
                  </a:lnTo>
                  <a:lnTo>
                    <a:pt x="713" y="616"/>
                  </a:lnTo>
                  <a:lnTo>
                    <a:pt x="718" y="614"/>
                  </a:lnTo>
                  <a:lnTo>
                    <a:pt x="722" y="613"/>
                  </a:lnTo>
                  <a:lnTo>
                    <a:pt x="724" y="612"/>
                  </a:lnTo>
                  <a:lnTo>
                    <a:pt x="726" y="612"/>
                  </a:lnTo>
                  <a:lnTo>
                    <a:pt x="729" y="612"/>
                  </a:lnTo>
                  <a:lnTo>
                    <a:pt x="730" y="611"/>
                  </a:lnTo>
                  <a:lnTo>
                    <a:pt x="735" y="612"/>
                  </a:lnTo>
                  <a:lnTo>
                    <a:pt x="741" y="612"/>
                  </a:lnTo>
                  <a:lnTo>
                    <a:pt x="743" y="614"/>
                  </a:lnTo>
                  <a:lnTo>
                    <a:pt x="745" y="615"/>
                  </a:lnTo>
                  <a:lnTo>
                    <a:pt x="748" y="619"/>
                  </a:lnTo>
                  <a:lnTo>
                    <a:pt x="750" y="621"/>
                  </a:lnTo>
                  <a:lnTo>
                    <a:pt x="754" y="627"/>
                  </a:lnTo>
                  <a:lnTo>
                    <a:pt x="757" y="629"/>
                  </a:lnTo>
                  <a:lnTo>
                    <a:pt x="759" y="630"/>
                  </a:lnTo>
                  <a:lnTo>
                    <a:pt x="761" y="631"/>
                  </a:lnTo>
                  <a:lnTo>
                    <a:pt x="762" y="632"/>
                  </a:lnTo>
                  <a:lnTo>
                    <a:pt x="766" y="634"/>
                  </a:lnTo>
                  <a:lnTo>
                    <a:pt x="769" y="635"/>
                  </a:lnTo>
                  <a:lnTo>
                    <a:pt x="773" y="636"/>
                  </a:lnTo>
                  <a:lnTo>
                    <a:pt x="777" y="637"/>
                  </a:lnTo>
                  <a:lnTo>
                    <a:pt x="780" y="637"/>
                  </a:lnTo>
                  <a:lnTo>
                    <a:pt x="782" y="637"/>
                  </a:lnTo>
                  <a:lnTo>
                    <a:pt x="785" y="639"/>
                  </a:lnTo>
                  <a:lnTo>
                    <a:pt x="788" y="642"/>
                  </a:lnTo>
                  <a:lnTo>
                    <a:pt x="789" y="644"/>
                  </a:lnTo>
                  <a:lnTo>
                    <a:pt x="791" y="646"/>
                  </a:lnTo>
                  <a:lnTo>
                    <a:pt x="793" y="648"/>
                  </a:lnTo>
                  <a:lnTo>
                    <a:pt x="796" y="650"/>
                  </a:lnTo>
                  <a:lnTo>
                    <a:pt x="798" y="651"/>
                  </a:lnTo>
                  <a:lnTo>
                    <a:pt x="801" y="652"/>
                  </a:lnTo>
                  <a:lnTo>
                    <a:pt x="802" y="653"/>
                  </a:lnTo>
                  <a:lnTo>
                    <a:pt x="806" y="655"/>
                  </a:lnTo>
                  <a:lnTo>
                    <a:pt x="808" y="655"/>
                  </a:lnTo>
                  <a:lnTo>
                    <a:pt x="810" y="656"/>
                  </a:lnTo>
                  <a:lnTo>
                    <a:pt x="812" y="656"/>
                  </a:lnTo>
                  <a:lnTo>
                    <a:pt x="813" y="659"/>
                  </a:lnTo>
                  <a:lnTo>
                    <a:pt x="814" y="662"/>
                  </a:lnTo>
                  <a:lnTo>
                    <a:pt x="812" y="663"/>
                  </a:lnTo>
                  <a:lnTo>
                    <a:pt x="810" y="664"/>
                  </a:lnTo>
                  <a:lnTo>
                    <a:pt x="809" y="667"/>
                  </a:lnTo>
                  <a:lnTo>
                    <a:pt x="808" y="669"/>
                  </a:lnTo>
                  <a:lnTo>
                    <a:pt x="806" y="670"/>
                  </a:lnTo>
                  <a:lnTo>
                    <a:pt x="805" y="672"/>
                  </a:lnTo>
                  <a:lnTo>
                    <a:pt x="805" y="675"/>
                  </a:lnTo>
                  <a:lnTo>
                    <a:pt x="802" y="677"/>
                  </a:lnTo>
                  <a:lnTo>
                    <a:pt x="801" y="678"/>
                  </a:lnTo>
                  <a:lnTo>
                    <a:pt x="799" y="679"/>
                  </a:lnTo>
                  <a:lnTo>
                    <a:pt x="798" y="680"/>
                  </a:lnTo>
                  <a:lnTo>
                    <a:pt x="798" y="683"/>
                  </a:lnTo>
                  <a:lnTo>
                    <a:pt x="799" y="685"/>
                  </a:lnTo>
                  <a:lnTo>
                    <a:pt x="800" y="688"/>
                  </a:lnTo>
                  <a:lnTo>
                    <a:pt x="801" y="691"/>
                  </a:lnTo>
                  <a:lnTo>
                    <a:pt x="804" y="694"/>
                  </a:lnTo>
                  <a:lnTo>
                    <a:pt x="807" y="698"/>
                  </a:lnTo>
                  <a:lnTo>
                    <a:pt x="808" y="699"/>
                  </a:lnTo>
                  <a:lnTo>
                    <a:pt x="810" y="701"/>
                  </a:lnTo>
                  <a:lnTo>
                    <a:pt x="814" y="703"/>
                  </a:lnTo>
                  <a:lnTo>
                    <a:pt x="818" y="706"/>
                  </a:lnTo>
                  <a:lnTo>
                    <a:pt x="824" y="711"/>
                  </a:lnTo>
                  <a:lnTo>
                    <a:pt x="826" y="714"/>
                  </a:lnTo>
                  <a:lnTo>
                    <a:pt x="828" y="716"/>
                  </a:lnTo>
                  <a:lnTo>
                    <a:pt x="836" y="720"/>
                  </a:lnTo>
                  <a:lnTo>
                    <a:pt x="839" y="724"/>
                  </a:lnTo>
                  <a:lnTo>
                    <a:pt x="844" y="728"/>
                  </a:lnTo>
                  <a:lnTo>
                    <a:pt x="845" y="731"/>
                  </a:lnTo>
                  <a:lnTo>
                    <a:pt x="846" y="733"/>
                  </a:lnTo>
                  <a:lnTo>
                    <a:pt x="848" y="735"/>
                  </a:lnTo>
                  <a:lnTo>
                    <a:pt x="849" y="738"/>
                  </a:lnTo>
                  <a:lnTo>
                    <a:pt x="849" y="740"/>
                  </a:lnTo>
                  <a:lnTo>
                    <a:pt x="849" y="743"/>
                  </a:lnTo>
                  <a:lnTo>
                    <a:pt x="848" y="746"/>
                  </a:lnTo>
                  <a:lnTo>
                    <a:pt x="846" y="748"/>
                  </a:lnTo>
                  <a:lnTo>
                    <a:pt x="846" y="750"/>
                  </a:lnTo>
                  <a:lnTo>
                    <a:pt x="846" y="755"/>
                  </a:lnTo>
                  <a:lnTo>
                    <a:pt x="848" y="758"/>
                  </a:lnTo>
                  <a:lnTo>
                    <a:pt x="849" y="759"/>
                  </a:lnTo>
                  <a:lnTo>
                    <a:pt x="852" y="760"/>
                  </a:lnTo>
                  <a:lnTo>
                    <a:pt x="852" y="763"/>
                  </a:lnTo>
                  <a:lnTo>
                    <a:pt x="849" y="765"/>
                  </a:lnTo>
                  <a:lnTo>
                    <a:pt x="847" y="767"/>
                  </a:lnTo>
                  <a:lnTo>
                    <a:pt x="844" y="768"/>
                  </a:lnTo>
                  <a:lnTo>
                    <a:pt x="839" y="766"/>
                  </a:lnTo>
                  <a:lnTo>
                    <a:pt x="836" y="765"/>
                  </a:lnTo>
                  <a:lnTo>
                    <a:pt x="832" y="763"/>
                  </a:lnTo>
                  <a:lnTo>
                    <a:pt x="828" y="763"/>
                  </a:lnTo>
                  <a:lnTo>
                    <a:pt x="823" y="765"/>
                  </a:lnTo>
                  <a:lnTo>
                    <a:pt x="821" y="767"/>
                  </a:lnTo>
                  <a:lnTo>
                    <a:pt x="817" y="772"/>
                  </a:lnTo>
                  <a:lnTo>
                    <a:pt x="814" y="775"/>
                  </a:lnTo>
                  <a:lnTo>
                    <a:pt x="808" y="779"/>
                  </a:lnTo>
                  <a:lnTo>
                    <a:pt x="804" y="782"/>
                  </a:lnTo>
                  <a:lnTo>
                    <a:pt x="800" y="783"/>
                  </a:lnTo>
                  <a:lnTo>
                    <a:pt x="798" y="786"/>
                  </a:lnTo>
                  <a:lnTo>
                    <a:pt x="797" y="787"/>
                  </a:lnTo>
                  <a:lnTo>
                    <a:pt x="794" y="788"/>
                  </a:lnTo>
                  <a:lnTo>
                    <a:pt x="793" y="786"/>
                  </a:lnTo>
                  <a:lnTo>
                    <a:pt x="791" y="783"/>
                  </a:lnTo>
                  <a:lnTo>
                    <a:pt x="789" y="781"/>
                  </a:lnTo>
                  <a:lnTo>
                    <a:pt x="785" y="780"/>
                  </a:lnTo>
                  <a:lnTo>
                    <a:pt x="782" y="779"/>
                  </a:lnTo>
                  <a:lnTo>
                    <a:pt x="780" y="782"/>
                  </a:lnTo>
                  <a:lnTo>
                    <a:pt x="780" y="783"/>
                  </a:lnTo>
                  <a:lnTo>
                    <a:pt x="781" y="786"/>
                  </a:lnTo>
                  <a:lnTo>
                    <a:pt x="782" y="787"/>
                  </a:lnTo>
                  <a:lnTo>
                    <a:pt x="783" y="788"/>
                  </a:lnTo>
                  <a:lnTo>
                    <a:pt x="783" y="790"/>
                  </a:lnTo>
                  <a:lnTo>
                    <a:pt x="782" y="792"/>
                  </a:lnTo>
                  <a:lnTo>
                    <a:pt x="777" y="794"/>
                  </a:lnTo>
                  <a:lnTo>
                    <a:pt x="775" y="794"/>
                  </a:lnTo>
                  <a:lnTo>
                    <a:pt x="770" y="794"/>
                  </a:lnTo>
                  <a:lnTo>
                    <a:pt x="769" y="794"/>
                  </a:lnTo>
                  <a:lnTo>
                    <a:pt x="768" y="795"/>
                  </a:lnTo>
                  <a:lnTo>
                    <a:pt x="766" y="798"/>
                  </a:lnTo>
                  <a:lnTo>
                    <a:pt x="765" y="799"/>
                  </a:lnTo>
                  <a:lnTo>
                    <a:pt x="764" y="803"/>
                  </a:lnTo>
                  <a:lnTo>
                    <a:pt x="762" y="804"/>
                  </a:lnTo>
                  <a:lnTo>
                    <a:pt x="760" y="806"/>
                  </a:lnTo>
                  <a:lnTo>
                    <a:pt x="759" y="808"/>
                  </a:lnTo>
                  <a:lnTo>
                    <a:pt x="757" y="810"/>
                  </a:lnTo>
                  <a:lnTo>
                    <a:pt x="754" y="812"/>
                  </a:lnTo>
                  <a:lnTo>
                    <a:pt x="750" y="813"/>
                  </a:lnTo>
                  <a:lnTo>
                    <a:pt x="753" y="815"/>
                  </a:lnTo>
                  <a:lnTo>
                    <a:pt x="752" y="819"/>
                  </a:lnTo>
                  <a:lnTo>
                    <a:pt x="751" y="822"/>
                  </a:lnTo>
                  <a:lnTo>
                    <a:pt x="750" y="823"/>
                  </a:lnTo>
                  <a:lnTo>
                    <a:pt x="750" y="827"/>
                  </a:lnTo>
                  <a:lnTo>
                    <a:pt x="754" y="830"/>
                  </a:lnTo>
                  <a:lnTo>
                    <a:pt x="757" y="831"/>
                  </a:lnTo>
                  <a:lnTo>
                    <a:pt x="762" y="836"/>
                  </a:lnTo>
                  <a:lnTo>
                    <a:pt x="767" y="839"/>
                  </a:lnTo>
                  <a:lnTo>
                    <a:pt x="768" y="842"/>
                  </a:lnTo>
                  <a:lnTo>
                    <a:pt x="769" y="846"/>
                  </a:lnTo>
                  <a:lnTo>
                    <a:pt x="773" y="850"/>
                  </a:lnTo>
                  <a:lnTo>
                    <a:pt x="773" y="854"/>
                  </a:lnTo>
                  <a:lnTo>
                    <a:pt x="769" y="856"/>
                  </a:lnTo>
                  <a:lnTo>
                    <a:pt x="765" y="859"/>
                  </a:lnTo>
                  <a:lnTo>
                    <a:pt x="761" y="860"/>
                  </a:lnTo>
                  <a:lnTo>
                    <a:pt x="758" y="861"/>
                  </a:lnTo>
                  <a:lnTo>
                    <a:pt x="754" y="861"/>
                  </a:lnTo>
                  <a:lnTo>
                    <a:pt x="746" y="859"/>
                  </a:lnTo>
                  <a:lnTo>
                    <a:pt x="742" y="856"/>
                  </a:lnTo>
                  <a:lnTo>
                    <a:pt x="736" y="853"/>
                  </a:lnTo>
                  <a:lnTo>
                    <a:pt x="732" y="851"/>
                  </a:lnTo>
                  <a:lnTo>
                    <a:pt x="730" y="847"/>
                  </a:lnTo>
                  <a:lnTo>
                    <a:pt x="728" y="844"/>
                  </a:lnTo>
                  <a:lnTo>
                    <a:pt x="724" y="842"/>
                  </a:lnTo>
                  <a:lnTo>
                    <a:pt x="716" y="840"/>
                  </a:lnTo>
                  <a:lnTo>
                    <a:pt x="710" y="840"/>
                  </a:lnTo>
                  <a:lnTo>
                    <a:pt x="708" y="842"/>
                  </a:lnTo>
                  <a:lnTo>
                    <a:pt x="704" y="844"/>
                  </a:lnTo>
                  <a:lnTo>
                    <a:pt x="702" y="847"/>
                  </a:lnTo>
                  <a:lnTo>
                    <a:pt x="701" y="850"/>
                  </a:lnTo>
                  <a:lnTo>
                    <a:pt x="698" y="858"/>
                  </a:lnTo>
                  <a:lnTo>
                    <a:pt x="701" y="863"/>
                  </a:lnTo>
                  <a:lnTo>
                    <a:pt x="703" y="866"/>
                  </a:lnTo>
                  <a:lnTo>
                    <a:pt x="705" y="868"/>
                  </a:lnTo>
                  <a:lnTo>
                    <a:pt x="709" y="872"/>
                  </a:lnTo>
                  <a:lnTo>
                    <a:pt x="711" y="875"/>
                  </a:lnTo>
                  <a:lnTo>
                    <a:pt x="711" y="876"/>
                  </a:lnTo>
                  <a:lnTo>
                    <a:pt x="710" y="879"/>
                  </a:lnTo>
                  <a:lnTo>
                    <a:pt x="710" y="883"/>
                  </a:lnTo>
                  <a:lnTo>
                    <a:pt x="710" y="885"/>
                  </a:lnTo>
                  <a:lnTo>
                    <a:pt x="713" y="887"/>
                  </a:lnTo>
                  <a:lnTo>
                    <a:pt x="716" y="891"/>
                  </a:lnTo>
                  <a:lnTo>
                    <a:pt x="716" y="894"/>
                  </a:lnTo>
                  <a:lnTo>
                    <a:pt x="716" y="898"/>
                  </a:lnTo>
                  <a:lnTo>
                    <a:pt x="714" y="902"/>
                  </a:lnTo>
                  <a:lnTo>
                    <a:pt x="712" y="907"/>
                  </a:lnTo>
                  <a:lnTo>
                    <a:pt x="710" y="910"/>
                  </a:lnTo>
                  <a:lnTo>
                    <a:pt x="709" y="914"/>
                  </a:lnTo>
                  <a:lnTo>
                    <a:pt x="705" y="920"/>
                  </a:lnTo>
                  <a:lnTo>
                    <a:pt x="704" y="925"/>
                  </a:lnTo>
                  <a:lnTo>
                    <a:pt x="703" y="928"/>
                  </a:lnTo>
                  <a:lnTo>
                    <a:pt x="701" y="935"/>
                  </a:lnTo>
                  <a:lnTo>
                    <a:pt x="701" y="938"/>
                  </a:lnTo>
                  <a:lnTo>
                    <a:pt x="698" y="943"/>
                  </a:lnTo>
                  <a:lnTo>
                    <a:pt x="700" y="946"/>
                  </a:lnTo>
                  <a:lnTo>
                    <a:pt x="700" y="948"/>
                  </a:lnTo>
                  <a:lnTo>
                    <a:pt x="701" y="951"/>
                  </a:lnTo>
                  <a:lnTo>
                    <a:pt x="703" y="955"/>
                  </a:lnTo>
                  <a:lnTo>
                    <a:pt x="703" y="957"/>
                  </a:lnTo>
                  <a:close/>
                </a:path>
              </a:pathLst>
            </a:custGeom>
            <a:solidFill>
              <a:srgbClr val="C00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49" name="SK"/>
            <p:cNvSpPr>
              <a:spLocks/>
            </p:cNvSpPr>
            <p:nvPr/>
          </p:nvSpPr>
          <p:spPr bwMode="auto">
            <a:xfrm>
              <a:off x="7525231" y="2882460"/>
              <a:ext cx="98217" cy="107951"/>
            </a:xfrm>
            <a:custGeom>
              <a:avLst/>
              <a:gdLst>
                <a:gd name="T0" fmla="*/ 8 w 245"/>
                <a:gd name="T1" fmla="*/ 251 h 283"/>
                <a:gd name="T2" fmla="*/ 15 w 245"/>
                <a:gd name="T3" fmla="*/ 260 h 283"/>
                <a:gd name="T4" fmla="*/ 15 w 245"/>
                <a:gd name="T5" fmla="*/ 268 h 283"/>
                <a:gd name="T6" fmla="*/ 20 w 245"/>
                <a:gd name="T7" fmla="*/ 275 h 283"/>
                <a:gd name="T8" fmla="*/ 34 w 245"/>
                <a:gd name="T9" fmla="*/ 276 h 283"/>
                <a:gd name="T10" fmla="*/ 52 w 245"/>
                <a:gd name="T11" fmla="*/ 276 h 283"/>
                <a:gd name="T12" fmla="*/ 66 w 245"/>
                <a:gd name="T13" fmla="*/ 276 h 283"/>
                <a:gd name="T14" fmla="*/ 76 w 245"/>
                <a:gd name="T15" fmla="*/ 276 h 283"/>
                <a:gd name="T16" fmla="*/ 88 w 245"/>
                <a:gd name="T17" fmla="*/ 279 h 283"/>
                <a:gd name="T18" fmla="*/ 100 w 245"/>
                <a:gd name="T19" fmla="*/ 283 h 283"/>
                <a:gd name="T20" fmla="*/ 111 w 245"/>
                <a:gd name="T21" fmla="*/ 282 h 283"/>
                <a:gd name="T22" fmla="*/ 118 w 245"/>
                <a:gd name="T23" fmla="*/ 275 h 283"/>
                <a:gd name="T24" fmla="*/ 125 w 245"/>
                <a:gd name="T25" fmla="*/ 268 h 283"/>
                <a:gd name="T26" fmla="*/ 134 w 245"/>
                <a:gd name="T27" fmla="*/ 262 h 283"/>
                <a:gd name="T28" fmla="*/ 148 w 245"/>
                <a:gd name="T29" fmla="*/ 258 h 283"/>
                <a:gd name="T30" fmla="*/ 156 w 245"/>
                <a:gd name="T31" fmla="*/ 254 h 283"/>
                <a:gd name="T32" fmla="*/ 165 w 245"/>
                <a:gd name="T33" fmla="*/ 259 h 283"/>
                <a:gd name="T34" fmla="*/ 175 w 245"/>
                <a:gd name="T35" fmla="*/ 260 h 283"/>
                <a:gd name="T36" fmla="*/ 182 w 245"/>
                <a:gd name="T37" fmla="*/ 256 h 283"/>
                <a:gd name="T38" fmla="*/ 186 w 245"/>
                <a:gd name="T39" fmla="*/ 262 h 283"/>
                <a:gd name="T40" fmla="*/ 199 w 245"/>
                <a:gd name="T41" fmla="*/ 267 h 283"/>
                <a:gd name="T42" fmla="*/ 209 w 245"/>
                <a:gd name="T43" fmla="*/ 256 h 283"/>
                <a:gd name="T44" fmla="*/ 214 w 245"/>
                <a:gd name="T45" fmla="*/ 243 h 283"/>
                <a:gd name="T46" fmla="*/ 225 w 245"/>
                <a:gd name="T47" fmla="*/ 238 h 283"/>
                <a:gd name="T48" fmla="*/ 239 w 245"/>
                <a:gd name="T49" fmla="*/ 235 h 283"/>
                <a:gd name="T50" fmla="*/ 245 w 245"/>
                <a:gd name="T51" fmla="*/ 224 h 283"/>
                <a:gd name="T52" fmla="*/ 237 w 245"/>
                <a:gd name="T53" fmla="*/ 215 h 283"/>
                <a:gd name="T54" fmla="*/ 226 w 245"/>
                <a:gd name="T55" fmla="*/ 206 h 283"/>
                <a:gd name="T56" fmla="*/ 214 w 245"/>
                <a:gd name="T57" fmla="*/ 190 h 283"/>
                <a:gd name="T58" fmla="*/ 209 w 245"/>
                <a:gd name="T59" fmla="*/ 174 h 283"/>
                <a:gd name="T60" fmla="*/ 208 w 245"/>
                <a:gd name="T61" fmla="*/ 157 h 283"/>
                <a:gd name="T62" fmla="*/ 216 w 245"/>
                <a:gd name="T63" fmla="*/ 143 h 283"/>
                <a:gd name="T64" fmla="*/ 225 w 245"/>
                <a:gd name="T65" fmla="*/ 132 h 283"/>
                <a:gd name="T66" fmla="*/ 225 w 245"/>
                <a:gd name="T67" fmla="*/ 120 h 283"/>
                <a:gd name="T68" fmla="*/ 230 w 245"/>
                <a:gd name="T69" fmla="*/ 109 h 283"/>
                <a:gd name="T70" fmla="*/ 231 w 245"/>
                <a:gd name="T71" fmla="*/ 88 h 283"/>
                <a:gd name="T72" fmla="*/ 239 w 245"/>
                <a:gd name="T73" fmla="*/ 70 h 283"/>
                <a:gd name="T74" fmla="*/ 229 w 245"/>
                <a:gd name="T75" fmla="*/ 55 h 283"/>
                <a:gd name="T76" fmla="*/ 224 w 245"/>
                <a:gd name="T77" fmla="*/ 36 h 283"/>
                <a:gd name="T78" fmla="*/ 213 w 245"/>
                <a:gd name="T79" fmla="*/ 26 h 283"/>
                <a:gd name="T80" fmla="*/ 199 w 245"/>
                <a:gd name="T81" fmla="*/ 15 h 283"/>
                <a:gd name="T82" fmla="*/ 175 w 245"/>
                <a:gd name="T83" fmla="*/ 13 h 283"/>
                <a:gd name="T84" fmla="*/ 166 w 245"/>
                <a:gd name="T85" fmla="*/ 0 h 283"/>
                <a:gd name="T86" fmla="*/ 159 w 245"/>
                <a:gd name="T87" fmla="*/ 10 h 283"/>
                <a:gd name="T88" fmla="*/ 144 w 245"/>
                <a:gd name="T89" fmla="*/ 26 h 283"/>
                <a:gd name="T90" fmla="*/ 128 w 245"/>
                <a:gd name="T91" fmla="*/ 21 h 283"/>
                <a:gd name="T92" fmla="*/ 96 w 245"/>
                <a:gd name="T93" fmla="*/ 45 h 283"/>
                <a:gd name="T94" fmla="*/ 77 w 245"/>
                <a:gd name="T95" fmla="*/ 50 h 283"/>
                <a:gd name="T96" fmla="*/ 58 w 245"/>
                <a:gd name="T97" fmla="*/ 52 h 283"/>
                <a:gd name="T98" fmla="*/ 42 w 245"/>
                <a:gd name="T99" fmla="*/ 52 h 283"/>
                <a:gd name="T100" fmla="*/ 28 w 245"/>
                <a:gd name="T101" fmla="*/ 55 h 283"/>
                <a:gd name="T102" fmla="*/ 34 w 245"/>
                <a:gd name="T103" fmla="*/ 71 h 283"/>
                <a:gd name="T104" fmla="*/ 44 w 245"/>
                <a:gd name="T105" fmla="*/ 82 h 283"/>
                <a:gd name="T106" fmla="*/ 42 w 245"/>
                <a:gd name="T107" fmla="*/ 101 h 283"/>
                <a:gd name="T108" fmla="*/ 20 w 245"/>
                <a:gd name="T109" fmla="*/ 143 h 283"/>
                <a:gd name="T110" fmla="*/ 7 w 245"/>
                <a:gd name="T111" fmla="*/ 195 h 283"/>
                <a:gd name="T112" fmla="*/ 6 w 245"/>
                <a:gd name="T113" fmla="*/ 22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5" h="283">
                  <a:moveTo>
                    <a:pt x="0" y="247"/>
                  </a:moveTo>
                  <a:lnTo>
                    <a:pt x="5" y="247"/>
                  </a:lnTo>
                  <a:lnTo>
                    <a:pt x="7" y="250"/>
                  </a:lnTo>
                  <a:lnTo>
                    <a:pt x="8" y="251"/>
                  </a:lnTo>
                  <a:lnTo>
                    <a:pt x="10" y="252"/>
                  </a:lnTo>
                  <a:lnTo>
                    <a:pt x="12" y="253"/>
                  </a:lnTo>
                  <a:lnTo>
                    <a:pt x="14" y="255"/>
                  </a:lnTo>
                  <a:lnTo>
                    <a:pt x="15" y="260"/>
                  </a:lnTo>
                  <a:lnTo>
                    <a:pt x="15" y="261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5" y="268"/>
                  </a:lnTo>
                  <a:lnTo>
                    <a:pt x="15" y="270"/>
                  </a:lnTo>
                  <a:lnTo>
                    <a:pt x="16" y="271"/>
                  </a:lnTo>
                  <a:lnTo>
                    <a:pt x="18" y="274"/>
                  </a:lnTo>
                  <a:lnTo>
                    <a:pt x="20" y="275"/>
                  </a:lnTo>
                  <a:lnTo>
                    <a:pt x="23" y="277"/>
                  </a:lnTo>
                  <a:lnTo>
                    <a:pt x="26" y="277"/>
                  </a:lnTo>
                  <a:lnTo>
                    <a:pt x="30" y="277"/>
                  </a:lnTo>
                  <a:lnTo>
                    <a:pt x="34" y="276"/>
                  </a:lnTo>
                  <a:lnTo>
                    <a:pt x="39" y="277"/>
                  </a:lnTo>
                  <a:lnTo>
                    <a:pt x="44" y="277"/>
                  </a:lnTo>
                  <a:lnTo>
                    <a:pt x="47" y="277"/>
                  </a:lnTo>
                  <a:lnTo>
                    <a:pt x="52" y="276"/>
                  </a:lnTo>
                  <a:lnTo>
                    <a:pt x="56" y="276"/>
                  </a:lnTo>
                  <a:lnTo>
                    <a:pt x="58" y="277"/>
                  </a:lnTo>
                  <a:lnTo>
                    <a:pt x="63" y="277"/>
                  </a:lnTo>
                  <a:lnTo>
                    <a:pt x="66" y="276"/>
                  </a:lnTo>
                  <a:lnTo>
                    <a:pt x="69" y="276"/>
                  </a:lnTo>
                  <a:lnTo>
                    <a:pt x="71" y="276"/>
                  </a:lnTo>
                  <a:lnTo>
                    <a:pt x="72" y="276"/>
                  </a:lnTo>
                  <a:lnTo>
                    <a:pt x="76" y="276"/>
                  </a:lnTo>
                  <a:lnTo>
                    <a:pt x="78" y="277"/>
                  </a:lnTo>
                  <a:lnTo>
                    <a:pt x="80" y="277"/>
                  </a:lnTo>
                  <a:lnTo>
                    <a:pt x="84" y="278"/>
                  </a:lnTo>
                  <a:lnTo>
                    <a:pt x="88" y="279"/>
                  </a:lnTo>
                  <a:lnTo>
                    <a:pt x="92" y="280"/>
                  </a:lnTo>
                  <a:lnTo>
                    <a:pt x="94" y="282"/>
                  </a:lnTo>
                  <a:lnTo>
                    <a:pt x="96" y="282"/>
                  </a:lnTo>
                  <a:lnTo>
                    <a:pt x="100" y="283"/>
                  </a:lnTo>
                  <a:lnTo>
                    <a:pt x="103" y="283"/>
                  </a:lnTo>
                  <a:lnTo>
                    <a:pt x="105" y="283"/>
                  </a:lnTo>
                  <a:lnTo>
                    <a:pt x="109" y="282"/>
                  </a:lnTo>
                  <a:lnTo>
                    <a:pt x="111" y="282"/>
                  </a:lnTo>
                  <a:lnTo>
                    <a:pt x="112" y="280"/>
                  </a:lnTo>
                  <a:lnTo>
                    <a:pt x="114" y="278"/>
                  </a:lnTo>
                  <a:lnTo>
                    <a:pt x="117" y="276"/>
                  </a:lnTo>
                  <a:lnTo>
                    <a:pt x="118" y="275"/>
                  </a:lnTo>
                  <a:lnTo>
                    <a:pt x="120" y="274"/>
                  </a:lnTo>
                  <a:lnTo>
                    <a:pt x="122" y="271"/>
                  </a:lnTo>
                  <a:lnTo>
                    <a:pt x="122" y="270"/>
                  </a:lnTo>
                  <a:lnTo>
                    <a:pt x="125" y="268"/>
                  </a:lnTo>
                  <a:lnTo>
                    <a:pt x="126" y="267"/>
                  </a:lnTo>
                  <a:lnTo>
                    <a:pt x="128" y="266"/>
                  </a:lnTo>
                  <a:lnTo>
                    <a:pt x="132" y="263"/>
                  </a:lnTo>
                  <a:lnTo>
                    <a:pt x="134" y="262"/>
                  </a:lnTo>
                  <a:lnTo>
                    <a:pt x="137" y="262"/>
                  </a:lnTo>
                  <a:lnTo>
                    <a:pt x="142" y="261"/>
                  </a:lnTo>
                  <a:lnTo>
                    <a:pt x="145" y="259"/>
                  </a:lnTo>
                  <a:lnTo>
                    <a:pt x="148" y="258"/>
                  </a:lnTo>
                  <a:lnTo>
                    <a:pt x="150" y="258"/>
                  </a:lnTo>
                  <a:lnTo>
                    <a:pt x="151" y="258"/>
                  </a:lnTo>
                  <a:lnTo>
                    <a:pt x="152" y="255"/>
                  </a:lnTo>
                  <a:lnTo>
                    <a:pt x="156" y="254"/>
                  </a:lnTo>
                  <a:lnTo>
                    <a:pt x="158" y="253"/>
                  </a:lnTo>
                  <a:lnTo>
                    <a:pt x="160" y="254"/>
                  </a:lnTo>
                  <a:lnTo>
                    <a:pt x="161" y="256"/>
                  </a:lnTo>
                  <a:lnTo>
                    <a:pt x="165" y="259"/>
                  </a:lnTo>
                  <a:lnTo>
                    <a:pt x="166" y="259"/>
                  </a:lnTo>
                  <a:lnTo>
                    <a:pt x="169" y="260"/>
                  </a:lnTo>
                  <a:lnTo>
                    <a:pt x="173" y="260"/>
                  </a:lnTo>
                  <a:lnTo>
                    <a:pt x="175" y="260"/>
                  </a:lnTo>
                  <a:lnTo>
                    <a:pt x="176" y="259"/>
                  </a:lnTo>
                  <a:lnTo>
                    <a:pt x="178" y="258"/>
                  </a:lnTo>
                  <a:lnTo>
                    <a:pt x="181" y="258"/>
                  </a:lnTo>
                  <a:lnTo>
                    <a:pt x="182" y="256"/>
                  </a:lnTo>
                  <a:lnTo>
                    <a:pt x="183" y="256"/>
                  </a:lnTo>
                  <a:lnTo>
                    <a:pt x="185" y="258"/>
                  </a:lnTo>
                  <a:lnTo>
                    <a:pt x="186" y="259"/>
                  </a:lnTo>
                  <a:lnTo>
                    <a:pt x="186" y="262"/>
                  </a:lnTo>
                  <a:lnTo>
                    <a:pt x="189" y="264"/>
                  </a:lnTo>
                  <a:lnTo>
                    <a:pt x="191" y="266"/>
                  </a:lnTo>
                  <a:lnTo>
                    <a:pt x="193" y="267"/>
                  </a:lnTo>
                  <a:lnTo>
                    <a:pt x="199" y="267"/>
                  </a:lnTo>
                  <a:lnTo>
                    <a:pt x="204" y="264"/>
                  </a:lnTo>
                  <a:lnTo>
                    <a:pt x="205" y="262"/>
                  </a:lnTo>
                  <a:lnTo>
                    <a:pt x="207" y="259"/>
                  </a:lnTo>
                  <a:lnTo>
                    <a:pt x="209" y="256"/>
                  </a:lnTo>
                  <a:lnTo>
                    <a:pt x="210" y="253"/>
                  </a:lnTo>
                  <a:lnTo>
                    <a:pt x="213" y="250"/>
                  </a:lnTo>
                  <a:lnTo>
                    <a:pt x="213" y="246"/>
                  </a:lnTo>
                  <a:lnTo>
                    <a:pt x="214" y="243"/>
                  </a:lnTo>
                  <a:lnTo>
                    <a:pt x="216" y="240"/>
                  </a:lnTo>
                  <a:lnTo>
                    <a:pt x="218" y="239"/>
                  </a:lnTo>
                  <a:lnTo>
                    <a:pt x="221" y="238"/>
                  </a:lnTo>
                  <a:lnTo>
                    <a:pt x="225" y="238"/>
                  </a:lnTo>
                  <a:lnTo>
                    <a:pt x="229" y="238"/>
                  </a:lnTo>
                  <a:lnTo>
                    <a:pt x="233" y="237"/>
                  </a:lnTo>
                  <a:lnTo>
                    <a:pt x="236" y="236"/>
                  </a:lnTo>
                  <a:lnTo>
                    <a:pt x="239" y="235"/>
                  </a:lnTo>
                  <a:lnTo>
                    <a:pt x="241" y="232"/>
                  </a:lnTo>
                  <a:lnTo>
                    <a:pt x="244" y="230"/>
                  </a:lnTo>
                  <a:lnTo>
                    <a:pt x="245" y="228"/>
                  </a:lnTo>
                  <a:lnTo>
                    <a:pt x="245" y="224"/>
                  </a:lnTo>
                  <a:lnTo>
                    <a:pt x="245" y="221"/>
                  </a:lnTo>
                  <a:lnTo>
                    <a:pt x="242" y="219"/>
                  </a:lnTo>
                  <a:lnTo>
                    <a:pt x="240" y="218"/>
                  </a:lnTo>
                  <a:lnTo>
                    <a:pt x="237" y="215"/>
                  </a:lnTo>
                  <a:lnTo>
                    <a:pt x="234" y="214"/>
                  </a:lnTo>
                  <a:lnTo>
                    <a:pt x="231" y="212"/>
                  </a:lnTo>
                  <a:lnTo>
                    <a:pt x="228" y="208"/>
                  </a:lnTo>
                  <a:lnTo>
                    <a:pt x="226" y="206"/>
                  </a:lnTo>
                  <a:lnTo>
                    <a:pt x="222" y="202"/>
                  </a:lnTo>
                  <a:lnTo>
                    <a:pt x="221" y="199"/>
                  </a:lnTo>
                  <a:lnTo>
                    <a:pt x="217" y="195"/>
                  </a:lnTo>
                  <a:lnTo>
                    <a:pt x="214" y="190"/>
                  </a:lnTo>
                  <a:lnTo>
                    <a:pt x="212" y="187"/>
                  </a:lnTo>
                  <a:lnTo>
                    <a:pt x="209" y="183"/>
                  </a:lnTo>
                  <a:lnTo>
                    <a:pt x="209" y="180"/>
                  </a:lnTo>
                  <a:lnTo>
                    <a:pt x="209" y="174"/>
                  </a:lnTo>
                  <a:lnTo>
                    <a:pt x="208" y="168"/>
                  </a:lnTo>
                  <a:lnTo>
                    <a:pt x="207" y="163"/>
                  </a:lnTo>
                  <a:lnTo>
                    <a:pt x="208" y="158"/>
                  </a:lnTo>
                  <a:lnTo>
                    <a:pt x="208" y="157"/>
                  </a:lnTo>
                  <a:lnTo>
                    <a:pt x="210" y="154"/>
                  </a:lnTo>
                  <a:lnTo>
                    <a:pt x="213" y="151"/>
                  </a:lnTo>
                  <a:lnTo>
                    <a:pt x="215" y="148"/>
                  </a:lnTo>
                  <a:lnTo>
                    <a:pt x="216" y="143"/>
                  </a:lnTo>
                  <a:lnTo>
                    <a:pt x="218" y="141"/>
                  </a:lnTo>
                  <a:lnTo>
                    <a:pt x="222" y="136"/>
                  </a:lnTo>
                  <a:lnTo>
                    <a:pt x="223" y="134"/>
                  </a:lnTo>
                  <a:lnTo>
                    <a:pt x="225" y="132"/>
                  </a:lnTo>
                  <a:lnTo>
                    <a:pt x="226" y="128"/>
                  </a:lnTo>
                  <a:lnTo>
                    <a:pt x="226" y="126"/>
                  </a:lnTo>
                  <a:lnTo>
                    <a:pt x="225" y="124"/>
                  </a:lnTo>
                  <a:lnTo>
                    <a:pt x="225" y="120"/>
                  </a:lnTo>
                  <a:lnTo>
                    <a:pt x="226" y="117"/>
                  </a:lnTo>
                  <a:lnTo>
                    <a:pt x="228" y="115"/>
                  </a:lnTo>
                  <a:lnTo>
                    <a:pt x="229" y="111"/>
                  </a:lnTo>
                  <a:lnTo>
                    <a:pt x="230" y="109"/>
                  </a:lnTo>
                  <a:lnTo>
                    <a:pt x="230" y="107"/>
                  </a:lnTo>
                  <a:lnTo>
                    <a:pt x="230" y="102"/>
                  </a:lnTo>
                  <a:lnTo>
                    <a:pt x="231" y="95"/>
                  </a:lnTo>
                  <a:lnTo>
                    <a:pt x="231" y="88"/>
                  </a:lnTo>
                  <a:lnTo>
                    <a:pt x="233" y="84"/>
                  </a:lnTo>
                  <a:lnTo>
                    <a:pt x="237" y="79"/>
                  </a:lnTo>
                  <a:lnTo>
                    <a:pt x="239" y="76"/>
                  </a:lnTo>
                  <a:lnTo>
                    <a:pt x="239" y="70"/>
                  </a:lnTo>
                  <a:lnTo>
                    <a:pt x="238" y="66"/>
                  </a:lnTo>
                  <a:lnTo>
                    <a:pt x="234" y="62"/>
                  </a:lnTo>
                  <a:lnTo>
                    <a:pt x="232" y="59"/>
                  </a:lnTo>
                  <a:lnTo>
                    <a:pt x="229" y="55"/>
                  </a:lnTo>
                  <a:lnTo>
                    <a:pt x="225" y="52"/>
                  </a:lnTo>
                  <a:lnTo>
                    <a:pt x="224" y="47"/>
                  </a:lnTo>
                  <a:lnTo>
                    <a:pt x="224" y="43"/>
                  </a:lnTo>
                  <a:lnTo>
                    <a:pt x="224" y="36"/>
                  </a:lnTo>
                  <a:lnTo>
                    <a:pt x="223" y="32"/>
                  </a:lnTo>
                  <a:lnTo>
                    <a:pt x="221" y="29"/>
                  </a:lnTo>
                  <a:lnTo>
                    <a:pt x="217" y="28"/>
                  </a:lnTo>
                  <a:lnTo>
                    <a:pt x="213" y="26"/>
                  </a:lnTo>
                  <a:lnTo>
                    <a:pt x="208" y="23"/>
                  </a:lnTo>
                  <a:lnTo>
                    <a:pt x="205" y="20"/>
                  </a:lnTo>
                  <a:lnTo>
                    <a:pt x="201" y="16"/>
                  </a:lnTo>
                  <a:lnTo>
                    <a:pt x="199" y="15"/>
                  </a:lnTo>
                  <a:lnTo>
                    <a:pt x="193" y="14"/>
                  </a:lnTo>
                  <a:lnTo>
                    <a:pt x="188" y="15"/>
                  </a:lnTo>
                  <a:lnTo>
                    <a:pt x="180" y="15"/>
                  </a:lnTo>
                  <a:lnTo>
                    <a:pt x="175" y="13"/>
                  </a:lnTo>
                  <a:lnTo>
                    <a:pt x="173" y="11"/>
                  </a:lnTo>
                  <a:lnTo>
                    <a:pt x="170" y="7"/>
                  </a:lnTo>
                  <a:lnTo>
                    <a:pt x="168" y="4"/>
                  </a:lnTo>
                  <a:lnTo>
                    <a:pt x="166" y="0"/>
                  </a:lnTo>
                  <a:lnTo>
                    <a:pt x="162" y="2"/>
                  </a:lnTo>
                  <a:lnTo>
                    <a:pt x="162" y="4"/>
                  </a:lnTo>
                  <a:lnTo>
                    <a:pt x="162" y="7"/>
                  </a:lnTo>
                  <a:lnTo>
                    <a:pt x="159" y="10"/>
                  </a:lnTo>
                  <a:lnTo>
                    <a:pt x="154" y="14"/>
                  </a:lnTo>
                  <a:lnTo>
                    <a:pt x="149" y="20"/>
                  </a:lnTo>
                  <a:lnTo>
                    <a:pt x="146" y="24"/>
                  </a:lnTo>
                  <a:lnTo>
                    <a:pt x="144" y="26"/>
                  </a:lnTo>
                  <a:lnTo>
                    <a:pt x="138" y="24"/>
                  </a:lnTo>
                  <a:lnTo>
                    <a:pt x="136" y="23"/>
                  </a:lnTo>
                  <a:lnTo>
                    <a:pt x="132" y="21"/>
                  </a:lnTo>
                  <a:lnTo>
                    <a:pt x="128" y="21"/>
                  </a:lnTo>
                  <a:lnTo>
                    <a:pt x="122" y="28"/>
                  </a:lnTo>
                  <a:lnTo>
                    <a:pt x="114" y="37"/>
                  </a:lnTo>
                  <a:lnTo>
                    <a:pt x="102" y="44"/>
                  </a:lnTo>
                  <a:lnTo>
                    <a:pt x="96" y="45"/>
                  </a:lnTo>
                  <a:lnTo>
                    <a:pt x="90" y="44"/>
                  </a:lnTo>
                  <a:lnTo>
                    <a:pt x="84" y="45"/>
                  </a:lnTo>
                  <a:lnTo>
                    <a:pt x="80" y="46"/>
                  </a:lnTo>
                  <a:lnTo>
                    <a:pt x="77" y="50"/>
                  </a:lnTo>
                  <a:lnTo>
                    <a:pt x="70" y="52"/>
                  </a:lnTo>
                  <a:lnTo>
                    <a:pt x="65" y="52"/>
                  </a:lnTo>
                  <a:lnTo>
                    <a:pt x="62" y="53"/>
                  </a:lnTo>
                  <a:lnTo>
                    <a:pt x="58" y="52"/>
                  </a:lnTo>
                  <a:lnTo>
                    <a:pt x="56" y="51"/>
                  </a:lnTo>
                  <a:lnTo>
                    <a:pt x="53" y="50"/>
                  </a:lnTo>
                  <a:lnTo>
                    <a:pt x="47" y="50"/>
                  </a:lnTo>
                  <a:lnTo>
                    <a:pt x="42" y="52"/>
                  </a:lnTo>
                  <a:lnTo>
                    <a:pt x="38" y="52"/>
                  </a:lnTo>
                  <a:lnTo>
                    <a:pt x="34" y="52"/>
                  </a:lnTo>
                  <a:lnTo>
                    <a:pt x="30" y="53"/>
                  </a:lnTo>
                  <a:lnTo>
                    <a:pt x="28" y="55"/>
                  </a:lnTo>
                  <a:lnTo>
                    <a:pt x="25" y="58"/>
                  </a:lnTo>
                  <a:lnTo>
                    <a:pt x="25" y="62"/>
                  </a:lnTo>
                  <a:lnTo>
                    <a:pt x="26" y="66"/>
                  </a:lnTo>
                  <a:lnTo>
                    <a:pt x="34" y="71"/>
                  </a:lnTo>
                  <a:lnTo>
                    <a:pt x="38" y="74"/>
                  </a:lnTo>
                  <a:lnTo>
                    <a:pt x="41" y="76"/>
                  </a:lnTo>
                  <a:lnTo>
                    <a:pt x="44" y="79"/>
                  </a:lnTo>
                  <a:lnTo>
                    <a:pt x="44" y="82"/>
                  </a:lnTo>
                  <a:lnTo>
                    <a:pt x="41" y="85"/>
                  </a:lnTo>
                  <a:lnTo>
                    <a:pt x="40" y="90"/>
                  </a:lnTo>
                  <a:lnTo>
                    <a:pt x="41" y="95"/>
                  </a:lnTo>
                  <a:lnTo>
                    <a:pt x="42" y="101"/>
                  </a:lnTo>
                  <a:lnTo>
                    <a:pt x="40" y="104"/>
                  </a:lnTo>
                  <a:lnTo>
                    <a:pt x="33" y="115"/>
                  </a:lnTo>
                  <a:lnTo>
                    <a:pt x="26" y="130"/>
                  </a:lnTo>
                  <a:lnTo>
                    <a:pt x="20" y="143"/>
                  </a:lnTo>
                  <a:lnTo>
                    <a:pt x="9" y="163"/>
                  </a:lnTo>
                  <a:lnTo>
                    <a:pt x="6" y="172"/>
                  </a:lnTo>
                  <a:lnTo>
                    <a:pt x="5" y="179"/>
                  </a:lnTo>
                  <a:lnTo>
                    <a:pt x="7" y="195"/>
                  </a:lnTo>
                  <a:lnTo>
                    <a:pt x="8" y="203"/>
                  </a:lnTo>
                  <a:lnTo>
                    <a:pt x="7" y="212"/>
                  </a:lnTo>
                  <a:lnTo>
                    <a:pt x="6" y="219"/>
                  </a:lnTo>
                  <a:lnTo>
                    <a:pt x="6" y="227"/>
                  </a:lnTo>
                  <a:lnTo>
                    <a:pt x="5" y="235"/>
                  </a:lnTo>
                  <a:lnTo>
                    <a:pt x="2" y="240"/>
                  </a:lnTo>
                  <a:lnTo>
                    <a:pt x="0" y="247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52" name="PB"/>
            <p:cNvSpPr>
              <a:spLocks/>
            </p:cNvSpPr>
            <p:nvPr/>
          </p:nvSpPr>
          <p:spPr bwMode="auto">
            <a:xfrm>
              <a:off x="5957173" y="2410278"/>
              <a:ext cx="339916" cy="320556"/>
            </a:xfrm>
            <a:custGeom>
              <a:avLst/>
              <a:gdLst>
                <a:gd name="T0" fmla="*/ 106 w 847"/>
                <a:gd name="T1" fmla="*/ 492 h 831"/>
                <a:gd name="T2" fmla="*/ 58 w 847"/>
                <a:gd name="T3" fmla="*/ 536 h 831"/>
                <a:gd name="T4" fmla="*/ 39 w 847"/>
                <a:gd name="T5" fmla="*/ 551 h 831"/>
                <a:gd name="T6" fmla="*/ 23 w 847"/>
                <a:gd name="T7" fmla="*/ 581 h 831"/>
                <a:gd name="T8" fmla="*/ 20 w 847"/>
                <a:gd name="T9" fmla="*/ 652 h 831"/>
                <a:gd name="T10" fmla="*/ 8 w 847"/>
                <a:gd name="T11" fmla="*/ 691 h 831"/>
                <a:gd name="T12" fmla="*/ 32 w 847"/>
                <a:gd name="T13" fmla="*/ 712 h 831"/>
                <a:gd name="T14" fmla="*/ 103 w 847"/>
                <a:gd name="T15" fmla="*/ 713 h 831"/>
                <a:gd name="T16" fmla="*/ 178 w 847"/>
                <a:gd name="T17" fmla="*/ 719 h 831"/>
                <a:gd name="T18" fmla="*/ 249 w 847"/>
                <a:gd name="T19" fmla="*/ 711 h 831"/>
                <a:gd name="T20" fmla="*/ 301 w 847"/>
                <a:gd name="T21" fmla="*/ 732 h 831"/>
                <a:gd name="T22" fmla="*/ 343 w 847"/>
                <a:gd name="T23" fmla="*/ 740 h 831"/>
                <a:gd name="T24" fmla="*/ 360 w 847"/>
                <a:gd name="T25" fmla="*/ 756 h 831"/>
                <a:gd name="T26" fmla="*/ 373 w 847"/>
                <a:gd name="T27" fmla="*/ 782 h 831"/>
                <a:gd name="T28" fmla="*/ 375 w 847"/>
                <a:gd name="T29" fmla="*/ 814 h 831"/>
                <a:gd name="T30" fmla="*/ 396 w 847"/>
                <a:gd name="T31" fmla="*/ 811 h 831"/>
                <a:gd name="T32" fmla="*/ 434 w 847"/>
                <a:gd name="T33" fmla="*/ 764 h 831"/>
                <a:gd name="T34" fmla="*/ 481 w 847"/>
                <a:gd name="T35" fmla="*/ 775 h 831"/>
                <a:gd name="T36" fmla="*/ 515 w 847"/>
                <a:gd name="T37" fmla="*/ 769 h 831"/>
                <a:gd name="T38" fmla="*/ 569 w 847"/>
                <a:gd name="T39" fmla="*/ 776 h 831"/>
                <a:gd name="T40" fmla="*/ 619 w 847"/>
                <a:gd name="T41" fmla="*/ 755 h 831"/>
                <a:gd name="T42" fmla="*/ 651 w 847"/>
                <a:gd name="T43" fmla="*/ 736 h 831"/>
                <a:gd name="T44" fmla="*/ 649 w 847"/>
                <a:gd name="T45" fmla="*/ 708 h 831"/>
                <a:gd name="T46" fmla="*/ 655 w 847"/>
                <a:gd name="T47" fmla="*/ 670 h 831"/>
                <a:gd name="T48" fmla="*/ 674 w 847"/>
                <a:gd name="T49" fmla="*/ 671 h 831"/>
                <a:gd name="T50" fmla="*/ 700 w 847"/>
                <a:gd name="T51" fmla="*/ 671 h 831"/>
                <a:gd name="T52" fmla="*/ 738 w 847"/>
                <a:gd name="T53" fmla="*/ 689 h 831"/>
                <a:gd name="T54" fmla="*/ 767 w 847"/>
                <a:gd name="T55" fmla="*/ 649 h 831"/>
                <a:gd name="T56" fmla="*/ 746 w 847"/>
                <a:gd name="T57" fmla="*/ 631 h 831"/>
                <a:gd name="T58" fmla="*/ 792 w 847"/>
                <a:gd name="T59" fmla="*/ 589 h 831"/>
                <a:gd name="T60" fmla="*/ 818 w 847"/>
                <a:gd name="T61" fmla="*/ 573 h 831"/>
                <a:gd name="T62" fmla="*/ 834 w 847"/>
                <a:gd name="T63" fmla="*/ 552 h 831"/>
                <a:gd name="T64" fmla="*/ 802 w 847"/>
                <a:gd name="T65" fmla="*/ 513 h 831"/>
                <a:gd name="T66" fmla="*/ 805 w 847"/>
                <a:gd name="T67" fmla="*/ 472 h 831"/>
                <a:gd name="T68" fmla="*/ 775 w 847"/>
                <a:gd name="T69" fmla="*/ 430 h 831"/>
                <a:gd name="T70" fmla="*/ 760 w 847"/>
                <a:gd name="T71" fmla="*/ 385 h 831"/>
                <a:gd name="T72" fmla="*/ 752 w 847"/>
                <a:gd name="T73" fmla="*/ 349 h 831"/>
                <a:gd name="T74" fmla="*/ 731 w 847"/>
                <a:gd name="T75" fmla="*/ 352 h 831"/>
                <a:gd name="T76" fmla="*/ 693 w 847"/>
                <a:gd name="T77" fmla="*/ 302 h 831"/>
                <a:gd name="T78" fmla="*/ 656 w 847"/>
                <a:gd name="T79" fmla="*/ 340 h 831"/>
                <a:gd name="T80" fmla="*/ 631 w 847"/>
                <a:gd name="T81" fmla="*/ 316 h 831"/>
                <a:gd name="T82" fmla="*/ 593 w 847"/>
                <a:gd name="T83" fmla="*/ 246 h 831"/>
                <a:gd name="T84" fmla="*/ 579 w 847"/>
                <a:gd name="T85" fmla="*/ 188 h 831"/>
                <a:gd name="T86" fmla="*/ 538 w 847"/>
                <a:gd name="T87" fmla="*/ 144 h 831"/>
                <a:gd name="T88" fmla="*/ 491 w 847"/>
                <a:gd name="T89" fmla="*/ 125 h 831"/>
                <a:gd name="T90" fmla="*/ 506 w 847"/>
                <a:gd name="T91" fmla="*/ 86 h 831"/>
                <a:gd name="T92" fmla="*/ 540 w 847"/>
                <a:gd name="T93" fmla="*/ 43 h 831"/>
                <a:gd name="T94" fmla="*/ 545 w 847"/>
                <a:gd name="T95" fmla="*/ 8 h 831"/>
                <a:gd name="T96" fmla="*/ 492 w 847"/>
                <a:gd name="T97" fmla="*/ 33 h 831"/>
                <a:gd name="T98" fmla="*/ 449 w 847"/>
                <a:gd name="T99" fmla="*/ 56 h 831"/>
                <a:gd name="T100" fmla="*/ 407 w 847"/>
                <a:gd name="T101" fmla="*/ 55 h 831"/>
                <a:gd name="T102" fmla="*/ 396 w 847"/>
                <a:gd name="T103" fmla="*/ 87 h 831"/>
                <a:gd name="T104" fmla="*/ 355 w 847"/>
                <a:gd name="T105" fmla="*/ 123 h 831"/>
                <a:gd name="T106" fmla="*/ 266 w 847"/>
                <a:gd name="T107" fmla="*/ 142 h 831"/>
                <a:gd name="T108" fmla="*/ 208 w 847"/>
                <a:gd name="T109" fmla="*/ 180 h 831"/>
                <a:gd name="T110" fmla="*/ 170 w 847"/>
                <a:gd name="T111" fmla="*/ 229 h 831"/>
                <a:gd name="T112" fmla="*/ 199 w 847"/>
                <a:gd name="T113" fmla="*/ 287 h 831"/>
                <a:gd name="T114" fmla="*/ 180 w 847"/>
                <a:gd name="T115" fmla="*/ 364 h 831"/>
                <a:gd name="T116" fmla="*/ 203 w 847"/>
                <a:gd name="T117" fmla="*/ 398 h 831"/>
                <a:gd name="T118" fmla="*/ 226 w 847"/>
                <a:gd name="T119" fmla="*/ 399 h 831"/>
                <a:gd name="T120" fmla="*/ 169 w 847"/>
                <a:gd name="T121" fmla="*/ 431 h 831"/>
                <a:gd name="T122" fmla="*/ 130 w 847"/>
                <a:gd name="T123" fmla="*/ 456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47" h="831">
                  <a:moveTo>
                    <a:pt x="129" y="462"/>
                  </a:moveTo>
                  <a:lnTo>
                    <a:pt x="127" y="461"/>
                  </a:lnTo>
                  <a:lnTo>
                    <a:pt x="123" y="462"/>
                  </a:lnTo>
                  <a:lnTo>
                    <a:pt x="119" y="467"/>
                  </a:lnTo>
                  <a:lnTo>
                    <a:pt x="115" y="472"/>
                  </a:lnTo>
                  <a:lnTo>
                    <a:pt x="112" y="478"/>
                  </a:lnTo>
                  <a:lnTo>
                    <a:pt x="108" y="480"/>
                  </a:lnTo>
                  <a:lnTo>
                    <a:pt x="105" y="484"/>
                  </a:lnTo>
                  <a:lnTo>
                    <a:pt x="105" y="486"/>
                  </a:lnTo>
                  <a:lnTo>
                    <a:pt x="107" y="489"/>
                  </a:lnTo>
                  <a:lnTo>
                    <a:pt x="106" y="492"/>
                  </a:lnTo>
                  <a:lnTo>
                    <a:pt x="103" y="494"/>
                  </a:lnTo>
                  <a:lnTo>
                    <a:pt x="100" y="494"/>
                  </a:lnTo>
                  <a:lnTo>
                    <a:pt x="96" y="495"/>
                  </a:lnTo>
                  <a:lnTo>
                    <a:pt x="92" y="497"/>
                  </a:lnTo>
                  <a:lnTo>
                    <a:pt x="88" y="504"/>
                  </a:lnTo>
                  <a:lnTo>
                    <a:pt x="83" y="510"/>
                  </a:lnTo>
                  <a:lnTo>
                    <a:pt x="82" y="517"/>
                  </a:lnTo>
                  <a:lnTo>
                    <a:pt x="75" y="520"/>
                  </a:lnTo>
                  <a:lnTo>
                    <a:pt x="63" y="524"/>
                  </a:lnTo>
                  <a:lnTo>
                    <a:pt x="59" y="529"/>
                  </a:lnTo>
                  <a:lnTo>
                    <a:pt x="58" y="536"/>
                  </a:lnTo>
                  <a:lnTo>
                    <a:pt x="60" y="542"/>
                  </a:lnTo>
                  <a:lnTo>
                    <a:pt x="61" y="547"/>
                  </a:lnTo>
                  <a:lnTo>
                    <a:pt x="60" y="550"/>
                  </a:lnTo>
                  <a:lnTo>
                    <a:pt x="56" y="551"/>
                  </a:lnTo>
                  <a:lnTo>
                    <a:pt x="52" y="549"/>
                  </a:lnTo>
                  <a:lnTo>
                    <a:pt x="50" y="547"/>
                  </a:lnTo>
                  <a:lnTo>
                    <a:pt x="48" y="549"/>
                  </a:lnTo>
                  <a:lnTo>
                    <a:pt x="47" y="552"/>
                  </a:lnTo>
                  <a:lnTo>
                    <a:pt x="44" y="552"/>
                  </a:lnTo>
                  <a:lnTo>
                    <a:pt x="41" y="550"/>
                  </a:lnTo>
                  <a:lnTo>
                    <a:pt x="39" y="551"/>
                  </a:lnTo>
                  <a:lnTo>
                    <a:pt x="36" y="555"/>
                  </a:lnTo>
                  <a:lnTo>
                    <a:pt x="36" y="559"/>
                  </a:lnTo>
                  <a:lnTo>
                    <a:pt x="33" y="561"/>
                  </a:lnTo>
                  <a:lnTo>
                    <a:pt x="29" y="563"/>
                  </a:lnTo>
                  <a:lnTo>
                    <a:pt x="26" y="564"/>
                  </a:lnTo>
                  <a:lnTo>
                    <a:pt x="19" y="565"/>
                  </a:lnTo>
                  <a:lnTo>
                    <a:pt x="17" y="571"/>
                  </a:lnTo>
                  <a:lnTo>
                    <a:pt x="18" y="574"/>
                  </a:lnTo>
                  <a:lnTo>
                    <a:pt x="23" y="576"/>
                  </a:lnTo>
                  <a:lnTo>
                    <a:pt x="24" y="579"/>
                  </a:lnTo>
                  <a:lnTo>
                    <a:pt x="23" y="581"/>
                  </a:lnTo>
                  <a:lnTo>
                    <a:pt x="18" y="587"/>
                  </a:lnTo>
                  <a:lnTo>
                    <a:pt x="12" y="592"/>
                  </a:lnTo>
                  <a:lnTo>
                    <a:pt x="7" y="595"/>
                  </a:lnTo>
                  <a:lnTo>
                    <a:pt x="7" y="600"/>
                  </a:lnTo>
                  <a:lnTo>
                    <a:pt x="9" y="603"/>
                  </a:lnTo>
                  <a:lnTo>
                    <a:pt x="13" y="607"/>
                  </a:lnTo>
                  <a:lnTo>
                    <a:pt x="21" y="614"/>
                  </a:lnTo>
                  <a:lnTo>
                    <a:pt x="26" y="627"/>
                  </a:lnTo>
                  <a:lnTo>
                    <a:pt x="27" y="637"/>
                  </a:lnTo>
                  <a:lnTo>
                    <a:pt x="26" y="644"/>
                  </a:lnTo>
                  <a:lnTo>
                    <a:pt x="20" y="652"/>
                  </a:lnTo>
                  <a:lnTo>
                    <a:pt x="20" y="654"/>
                  </a:lnTo>
                  <a:lnTo>
                    <a:pt x="24" y="657"/>
                  </a:lnTo>
                  <a:lnTo>
                    <a:pt x="24" y="661"/>
                  </a:lnTo>
                  <a:lnTo>
                    <a:pt x="25" y="664"/>
                  </a:lnTo>
                  <a:lnTo>
                    <a:pt x="21" y="671"/>
                  </a:lnTo>
                  <a:lnTo>
                    <a:pt x="20" y="673"/>
                  </a:lnTo>
                  <a:lnTo>
                    <a:pt x="18" y="677"/>
                  </a:lnTo>
                  <a:lnTo>
                    <a:pt x="17" y="680"/>
                  </a:lnTo>
                  <a:lnTo>
                    <a:pt x="15" y="684"/>
                  </a:lnTo>
                  <a:lnTo>
                    <a:pt x="11" y="687"/>
                  </a:lnTo>
                  <a:lnTo>
                    <a:pt x="8" y="691"/>
                  </a:lnTo>
                  <a:lnTo>
                    <a:pt x="5" y="694"/>
                  </a:lnTo>
                  <a:lnTo>
                    <a:pt x="1" y="700"/>
                  </a:lnTo>
                  <a:lnTo>
                    <a:pt x="0" y="704"/>
                  </a:lnTo>
                  <a:lnTo>
                    <a:pt x="0" y="707"/>
                  </a:lnTo>
                  <a:lnTo>
                    <a:pt x="2" y="713"/>
                  </a:lnTo>
                  <a:lnTo>
                    <a:pt x="4" y="716"/>
                  </a:lnTo>
                  <a:lnTo>
                    <a:pt x="8" y="716"/>
                  </a:lnTo>
                  <a:lnTo>
                    <a:pt x="13" y="713"/>
                  </a:lnTo>
                  <a:lnTo>
                    <a:pt x="19" y="712"/>
                  </a:lnTo>
                  <a:lnTo>
                    <a:pt x="25" y="712"/>
                  </a:lnTo>
                  <a:lnTo>
                    <a:pt x="32" y="712"/>
                  </a:lnTo>
                  <a:lnTo>
                    <a:pt x="39" y="712"/>
                  </a:lnTo>
                  <a:lnTo>
                    <a:pt x="44" y="713"/>
                  </a:lnTo>
                  <a:lnTo>
                    <a:pt x="50" y="712"/>
                  </a:lnTo>
                  <a:lnTo>
                    <a:pt x="55" y="712"/>
                  </a:lnTo>
                  <a:lnTo>
                    <a:pt x="61" y="712"/>
                  </a:lnTo>
                  <a:lnTo>
                    <a:pt x="73" y="712"/>
                  </a:lnTo>
                  <a:lnTo>
                    <a:pt x="77" y="713"/>
                  </a:lnTo>
                  <a:lnTo>
                    <a:pt x="84" y="715"/>
                  </a:lnTo>
                  <a:lnTo>
                    <a:pt x="92" y="713"/>
                  </a:lnTo>
                  <a:lnTo>
                    <a:pt x="97" y="713"/>
                  </a:lnTo>
                  <a:lnTo>
                    <a:pt x="103" y="713"/>
                  </a:lnTo>
                  <a:lnTo>
                    <a:pt x="109" y="713"/>
                  </a:lnTo>
                  <a:lnTo>
                    <a:pt x="116" y="713"/>
                  </a:lnTo>
                  <a:lnTo>
                    <a:pt x="123" y="715"/>
                  </a:lnTo>
                  <a:lnTo>
                    <a:pt x="130" y="716"/>
                  </a:lnTo>
                  <a:lnTo>
                    <a:pt x="139" y="716"/>
                  </a:lnTo>
                  <a:lnTo>
                    <a:pt x="147" y="717"/>
                  </a:lnTo>
                  <a:lnTo>
                    <a:pt x="155" y="717"/>
                  </a:lnTo>
                  <a:lnTo>
                    <a:pt x="160" y="717"/>
                  </a:lnTo>
                  <a:lnTo>
                    <a:pt x="165" y="718"/>
                  </a:lnTo>
                  <a:lnTo>
                    <a:pt x="171" y="718"/>
                  </a:lnTo>
                  <a:lnTo>
                    <a:pt x="178" y="719"/>
                  </a:lnTo>
                  <a:lnTo>
                    <a:pt x="187" y="720"/>
                  </a:lnTo>
                  <a:lnTo>
                    <a:pt x="192" y="721"/>
                  </a:lnTo>
                  <a:lnTo>
                    <a:pt x="194" y="724"/>
                  </a:lnTo>
                  <a:lnTo>
                    <a:pt x="199" y="725"/>
                  </a:lnTo>
                  <a:lnTo>
                    <a:pt x="202" y="725"/>
                  </a:lnTo>
                  <a:lnTo>
                    <a:pt x="211" y="726"/>
                  </a:lnTo>
                  <a:lnTo>
                    <a:pt x="217" y="721"/>
                  </a:lnTo>
                  <a:lnTo>
                    <a:pt x="224" y="717"/>
                  </a:lnTo>
                  <a:lnTo>
                    <a:pt x="233" y="711"/>
                  </a:lnTo>
                  <a:lnTo>
                    <a:pt x="237" y="710"/>
                  </a:lnTo>
                  <a:lnTo>
                    <a:pt x="249" y="711"/>
                  </a:lnTo>
                  <a:lnTo>
                    <a:pt x="253" y="709"/>
                  </a:lnTo>
                  <a:lnTo>
                    <a:pt x="264" y="709"/>
                  </a:lnTo>
                  <a:lnTo>
                    <a:pt x="269" y="710"/>
                  </a:lnTo>
                  <a:lnTo>
                    <a:pt x="274" y="712"/>
                  </a:lnTo>
                  <a:lnTo>
                    <a:pt x="277" y="715"/>
                  </a:lnTo>
                  <a:lnTo>
                    <a:pt x="281" y="717"/>
                  </a:lnTo>
                  <a:lnTo>
                    <a:pt x="285" y="720"/>
                  </a:lnTo>
                  <a:lnTo>
                    <a:pt x="291" y="724"/>
                  </a:lnTo>
                  <a:lnTo>
                    <a:pt x="297" y="726"/>
                  </a:lnTo>
                  <a:lnTo>
                    <a:pt x="298" y="727"/>
                  </a:lnTo>
                  <a:lnTo>
                    <a:pt x="301" y="732"/>
                  </a:lnTo>
                  <a:lnTo>
                    <a:pt x="306" y="736"/>
                  </a:lnTo>
                  <a:lnTo>
                    <a:pt x="311" y="739"/>
                  </a:lnTo>
                  <a:lnTo>
                    <a:pt x="315" y="741"/>
                  </a:lnTo>
                  <a:lnTo>
                    <a:pt x="321" y="741"/>
                  </a:lnTo>
                  <a:lnTo>
                    <a:pt x="329" y="736"/>
                  </a:lnTo>
                  <a:lnTo>
                    <a:pt x="332" y="734"/>
                  </a:lnTo>
                  <a:lnTo>
                    <a:pt x="335" y="731"/>
                  </a:lnTo>
                  <a:lnTo>
                    <a:pt x="337" y="731"/>
                  </a:lnTo>
                  <a:lnTo>
                    <a:pt x="339" y="732"/>
                  </a:lnTo>
                  <a:lnTo>
                    <a:pt x="341" y="734"/>
                  </a:lnTo>
                  <a:lnTo>
                    <a:pt x="343" y="740"/>
                  </a:lnTo>
                  <a:lnTo>
                    <a:pt x="341" y="743"/>
                  </a:lnTo>
                  <a:lnTo>
                    <a:pt x="338" y="748"/>
                  </a:lnTo>
                  <a:lnTo>
                    <a:pt x="336" y="750"/>
                  </a:lnTo>
                  <a:lnTo>
                    <a:pt x="339" y="756"/>
                  </a:lnTo>
                  <a:lnTo>
                    <a:pt x="341" y="757"/>
                  </a:lnTo>
                  <a:lnTo>
                    <a:pt x="346" y="759"/>
                  </a:lnTo>
                  <a:lnTo>
                    <a:pt x="351" y="764"/>
                  </a:lnTo>
                  <a:lnTo>
                    <a:pt x="354" y="765"/>
                  </a:lnTo>
                  <a:lnTo>
                    <a:pt x="357" y="764"/>
                  </a:lnTo>
                  <a:lnTo>
                    <a:pt x="359" y="760"/>
                  </a:lnTo>
                  <a:lnTo>
                    <a:pt x="360" y="756"/>
                  </a:lnTo>
                  <a:lnTo>
                    <a:pt x="361" y="751"/>
                  </a:lnTo>
                  <a:lnTo>
                    <a:pt x="365" y="750"/>
                  </a:lnTo>
                  <a:lnTo>
                    <a:pt x="369" y="751"/>
                  </a:lnTo>
                  <a:lnTo>
                    <a:pt x="371" y="753"/>
                  </a:lnTo>
                  <a:lnTo>
                    <a:pt x="376" y="761"/>
                  </a:lnTo>
                  <a:lnTo>
                    <a:pt x="377" y="766"/>
                  </a:lnTo>
                  <a:lnTo>
                    <a:pt x="379" y="769"/>
                  </a:lnTo>
                  <a:lnTo>
                    <a:pt x="381" y="775"/>
                  </a:lnTo>
                  <a:lnTo>
                    <a:pt x="381" y="779"/>
                  </a:lnTo>
                  <a:lnTo>
                    <a:pt x="379" y="781"/>
                  </a:lnTo>
                  <a:lnTo>
                    <a:pt x="373" y="782"/>
                  </a:lnTo>
                  <a:lnTo>
                    <a:pt x="370" y="785"/>
                  </a:lnTo>
                  <a:lnTo>
                    <a:pt x="371" y="789"/>
                  </a:lnTo>
                  <a:lnTo>
                    <a:pt x="372" y="792"/>
                  </a:lnTo>
                  <a:lnTo>
                    <a:pt x="373" y="796"/>
                  </a:lnTo>
                  <a:lnTo>
                    <a:pt x="372" y="799"/>
                  </a:lnTo>
                  <a:lnTo>
                    <a:pt x="369" y="799"/>
                  </a:lnTo>
                  <a:lnTo>
                    <a:pt x="365" y="799"/>
                  </a:lnTo>
                  <a:lnTo>
                    <a:pt x="364" y="801"/>
                  </a:lnTo>
                  <a:lnTo>
                    <a:pt x="367" y="805"/>
                  </a:lnTo>
                  <a:lnTo>
                    <a:pt x="370" y="807"/>
                  </a:lnTo>
                  <a:lnTo>
                    <a:pt x="375" y="814"/>
                  </a:lnTo>
                  <a:lnTo>
                    <a:pt x="378" y="820"/>
                  </a:lnTo>
                  <a:lnTo>
                    <a:pt x="379" y="823"/>
                  </a:lnTo>
                  <a:lnTo>
                    <a:pt x="381" y="829"/>
                  </a:lnTo>
                  <a:lnTo>
                    <a:pt x="384" y="831"/>
                  </a:lnTo>
                  <a:lnTo>
                    <a:pt x="389" y="830"/>
                  </a:lnTo>
                  <a:lnTo>
                    <a:pt x="394" y="828"/>
                  </a:lnTo>
                  <a:lnTo>
                    <a:pt x="397" y="828"/>
                  </a:lnTo>
                  <a:lnTo>
                    <a:pt x="399" y="825"/>
                  </a:lnTo>
                  <a:lnTo>
                    <a:pt x="396" y="819"/>
                  </a:lnTo>
                  <a:lnTo>
                    <a:pt x="395" y="814"/>
                  </a:lnTo>
                  <a:lnTo>
                    <a:pt x="396" y="811"/>
                  </a:lnTo>
                  <a:lnTo>
                    <a:pt x="399" y="808"/>
                  </a:lnTo>
                  <a:lnTo>
                    <a:pt x="401" y="805"/>
                  </a:lnTo>
                  <a:lnTo>
                    <a:pt x="402" y="801"/>
                  </a:lnTo>
                  <a:lnTo>
                    <a:pt x="409" y="792"/>
                  </a:lnTo>
                  <a:lnTo>
                    <a:pt x="415" y="788"/>
                  </a:lnTo>
                  <a:lnTo>
                    <a:pt x="421" y="783"/>
                  </a:lnTo>
                  <a:lnTo>
                    <a:pt x="423" y="780"/>
                  </a:lnTo>
                  <a:lnTo>
                    <a:pt x="427" y="773"/>
                  </a:lnTo>
                  <a:lnTo>
                    <a:pt x="431" y="771"/>
                  </a:lnTo>
                  <a:lnTo>
                    <a:pt x="433" y="767"/>
                  </a:lnTo>
                  <a:lnTo>
                    <a:pt x="434" y="764"/>
                  </a:lnTo>
                  <a:lnTo>
                    <a:pt x="435" y="761"/>
                  </a:lnTo>
                  <a:lnTo>
                    <a:pt x="437" y="760"/>
                  </a:lnTo>
                  <a:lnTo>
                    <a:pt x="444" y="760"/>
                  </a:lnTo>
                  <a:lnTo>
                    <a:pt x="448" y="764"/>
                  </a:lnTo>
                  <a:lnTo>
                    <a:pt x="451" y="766"/>
                  </a:lnTo>
                  <a:lnTo>
                    <a:pt x="453" y="767"/>
                  </a:lnTo>
                  <a:lnTo>
                    <a:pt x="460" y="768"/>
                  </a:lnTo>
                  <a:lnTo>
                    <a:pt x="467" y="769"/>
                  </a:lnTo>
                  <a:lnTo>
                    <a:pt x="471" y="771"/>
                  </a:lnTo>
                  <a:lnTo>
                    <a:pt x="476" y="773"/>
                  </a:lnTo>
                  <a:lnTo>
                    <a:pt x="481" y="775"/>
                  </a:lnTo>
                  <a:lnTo>
                    <a:pt x="487" y="774"/>
                  </a:lnTo>
                  <a:lnTo>
                    <a:pt x="488" y="774"/>
                  </a:lnTo>
                  <a:lnTo>
                    <a:pt x="489" y="771"/>
                  </a:lnTo>
                  <a:lnTo>
                    <a:pt x="491" y="767"/>
                  </a:lnTo>
                  <a:lnTo>
                    <a:pt x="496" y="766"/>
                  </a:lnTo>
                  <a:lnTo>
                    <a:pt x="499" y="767"/>
                  </a:lnTo>
                  <a:lnTo>
                    <a:pt x="503" y="769"/>
                  </a:lnTo>
                  <a:lnTo>
                    <a:pt x="505" y="772"/>
                  </a:lnTo>
                  <a:lnTo>
                    <a:pt x="508" y="773"/>
                  </a:lnTo>
                  <a:lnTo>
                    <a:pt x="509" y="772"/>
                  </a:lnTo>
                  <a:lnTo>
                    <a:pt x="515" y="769"/>
                  </a:lnTo>
                  <a:lnTo>
                    <a:pt x="522" y="769"/>
                  </a:lnTo>
                  <a:lnTo>
                    <a:pt x="529" y="771"/>
                  </a:lnTo>
                  <a:lnTo>
                    <a:pt x="532" y="771"/>
                  </a:lnTo>
                  <a:lnTo>
                    <a:pt x="536" y="771"/>
                  </a:lnTo>
                  <a:lnTo>
                    <a:pt x="540" y="767"/>
                  </a:lnTo>
                  <a:lnTo>
                    <a:pt x="545" y="766"/>
                  </a:lnTo>
                  <a:lnTo>
                    <a:pt x="549" y="767"/>
                  </a:lnTo>
                  <a:lnTo>
                    <a:pt x="555" y="768"/>
                  </a:lnTo>
                  <a:lnTo>
                    <a:pt x="560" y="772"/>
                  </a:lnTo>
                  <a:lnTo>
                    <a:pt x="564" y="774"/>
                  </a:lnTo>
                  <a:lnTo>
                    <a:pt x="569" y="776"/>
                  </a:lnTo>
                  <a:lnTo>
                    <a:pt x="573" y="779"/>
                  </a:lnTo>
                  <a:lnTo>
                    <a:pt x="578" y="780"/>
                  </a:lnTo>
                  <a:lnTo>
                    <a:pt x="581" y="780"/>
                  </a:lnTo>
                  <a:lnTo>
                    <a:pt x="585" y="779"/>
                  </a:lnTo>
                  <a:lnTo>
                    <a:pt x="589" y="775"/>
                  </a:lnTo>
                  <a:lnTo>
                    <a:pt x="596" y="773"/>
                  </a:lnTo>
                  <a:lnTo>
                    <a:pt x="604" y="771"/>
                  </a:lnTo>
                  <a:lnTo>
                    <a:pt x="608" y="767"/>
                  </a:lnTo>
                  <a:lnTo>
                    <a:pt x="610" y="764"/>
                  </a:lnTo>
                  <a:lnTo>
                    <a:pt x="616" y="758"/>
                  </a:lnTo>
                  <a:lnTo>
                    <a:pt x="619" y="755"/>
                  </a:lnTo>
                  <a:lnTo>
                    <a:pt x="624" y="753"/>
                  </a:lnTo>
                  <a:lnTo>
                    <a:pt x="625" y="753"/>
                  </a:lnTo>
                  <a:lnTo>
                    <a:pt x="628" y="755"/>
                  </a:lnTo>
                  <a:lnTo>
                    <a:pt x="633" y="755"/>
                  </a:lnTo>
                  <a:lnTo>
                    <a:pt x="636" y="752"/>
                  </a:lnTo>
                  <a:lnTo>
                    <a:pt x="641" y="750"/>
                  </a:lnTo>
                  <a:lnTo>
                    <a:pt x="649" y="748"/>
                  </a:lnTo>
                  <a:lnTo>
                    <a:pt x="653" y="747"/>
                  </a:lnTo>
                  <a:lnTo>
                    <a:pt x="656" y="744"/>
                  </a:lnTo>
                  <a:lnTo>
                    <a:pt x="655" y="741"/>
                  </a:lnTo>
                  <a:lnTo>
                    <a:pt x="651" y="736"/>
                  </a:lnTo>
                  <a:lnTo>
                    <a:pt x="647" y="733"/>
                  </a:lnTo>
                  <a:lnTo>
                    <a:pt x="643" y="729"/>
                  </a:lnTo>
                  <a:lnTo>
                    <a:pt x="640" y="727"/>
                  </a:lnTo>
                  <a:lnTo>
                    <a:pt x="639" y="725"/>
                  </a:lnTo>
                  <a:lnTo>
                    <a:pt x="637" y="721"/>
                  </a:lnTo>
                  <a:lnTo>
                    <a:pt x="640" y="720"/>
                  </a:lnTo>
                  <a:lnTo>
                    <a:pt x="643" y="721"/>
                  </a:lnTo>
                  <a:lnTo>
                    <a:pt x="645" y="721"/>
                  </a:lnTo>
                  <a:lnTo>
                    <a:pt x="649" y="717"/>
                  </a:lnTo>
                  <a:lnTo>
                    <a:pt x="649" y="711"/>
                  </a:lnTo>
                  <a:lnTo>
                    <a:pt x="649" y="708"/>
                  </a:lnTo>
                  <a:lnTo>
                    <a:pt x="650" y="705"/>
                  </a:lnTo>
                  <a:lnTo>
                    <a:pt x="650" y="702"/>
                  </a:lnTo>
                  <a:lnTo>
                    <a:pt x="651" y="697"/>
                  </a:lnTo>
                  <a:lnTo>
                    <a:pt x="652" y="688"/>
                  </a:lnTo>
                  <a:lnTo>
                    <a:pt x="651" y="685"/>
                  </a:lnTo>
                  <a:lnTo>
                    <a:pt x="653" y="681"/>
                  </a:lnTo>
                  <a:lnTo>
                    <a:pt x="657" y="678"/>
                  </a:lnTo>
                  <a:lnTo>
                    <a:pt x="660" y="676"/>
                  </a:lnTo>
                  <a:lnTo>
                    <a:pt x="660" y="675"/>
                  </a:lnTo>
                  <a:lnTo>
                    <a:pt x="659" y="671"/>
                  </a:lnTo>
                  <a:lnTo>
                    <a:pt x="655" y="670"/>
                  </a:lnTo>
                  <a:lnTo>
                    <a:pt x="651" y="670"/>
                  </a:lnTo>
                  <a:lnTo>
                    <a:pt x="648" y="668"/>
                  </a:lnTo>
                  <a:lnTo>
                    <a:pt x="647" y="667"/>
                  </a:lnTo>
                  <a:lnTo>
                    <a:pt x="647" y="663"/>
                  </a:lnTo>
                  <a:lnTo>
                    <a:pt x="648" y="661"/>
                  </a:lnTo>
                  <a:lnTo>
                    <a:pt x="652" y="661"/>
                  </a:lnTo>
                  <a:lnTo>
                    <a:pt x="656" y="662"/>
                  </a:lnTo>
                  <a:lnTo>
                    <a:pt x="660" y="665"/>
                  </a:lnTo>
                  <a:lnTo>
                    <a:pt x="664" y="668"/>
                  </a:lnTo>
                  <a:lnTo>
                    <a:pt x="667" y="670"/>
                  </a:lnTo>
                  <a:lnTo>
                    <a:pt x="674" y="671"/>
                  </a:lnTo>
                  <a:lnTo>
                    <a:pt x="676" y="673"/>
                  </a:lnTo>
                  <a:lnTo>
                    <a:pt x="680" y="676"/>
                  </a:lnTo>
                  <a:lnTo>
                    <a:pt x="683" y="677"/>
                  </a:lnTo>
                  <a:lnTo>
                    <a:pt x="683" y="675"/>
                  </a:lnTo>
                  <a:lnTo>
                    <a:pt x="683" y="671"/>
                  </a:lnTo>
                  <a:lnTo>
                    <a:pt x="682" y="667"/>
                  </a:lnTo>
                  <a:lnTo>
                    <a:pt x="682" y="664"/>
                  </a:lnTo>
                  <a:lnTo>
                    <a:pt x="688" y="664"/>
                  </a:lnTo>
                  <a:lnTo>
                    <a:pt x="693" y="668"/>
                  </a:lnTo>
                  <a:lnTo>
                    <a:pt x="698" y="670"/>
                  </a:lnTo>
                  <a:lnTo>
                    <a:pt x="700" y="671"/>
                  </a:lnTo>
                  <a:lnTo>
                    <a:pt x="703" y="669"/>
                  </a:lnTo>
                  <a:lnTo>
                    <a:pt x="705" y="665"/>
                  </a:lnTo>
                  <a:lnTo>
                    <a:pt x="709" y="663"/>
                  </a:lnTo>
                  <a:lnTo>
                    <a:pt x="713" y="663"/>
                  </a:lnTo>
                  <a:lnTo>
                    <a:pt x="717" y="664"/>
                  </a:lnTo>
                  <a:lnTo>
                    <a:pt x="721" y="668"/>
                  </a:lnTo>
                  <a:lnTo>
                    <a:pt x="724" y="672"/>
                  </a:lnTo>
                  <a:lnTo>
                    <a:pt x="727" y="677"/>
                  </a:lnTo>
                  <a:lnTo>
                    <a:pt x="729" y="681"/>
                  </a:lnTo>
                  <a:lnTo>
                    <a:pt x="732" y="687"/>
                  </a:lnTo>
                  <a:lnTo>
                    <a:pt x="738" y="689"/>
                  </a:lnTo>
                  <a:lnTo>
                    <a:pt x="743" y="689"/>
                  </a:lnTo>
                  <a:lnTo>
                    <a:pt x="746" y="688"/>
                  </a:lnTo>
                  <a:lnTo>
                    <a:pt x="748" y="684"/>
                  </a:lnTo>
                  <a:lnTo>
                    <a:pt x="752" y="677"/>
                  </a:lnTo>
                  <a:lnTo>
                    <a:pt x="754" y="673"/>
                  </a:lnTo>
                  <a:lnTo>
                    <a:pt x="755" y="669"/>
                  </a:lnTo>
                  <a:lnTo>
                    <a:pt x="759" y="665"/>
                  </a:lnTo>
                  <a:lnTo>
                    <a:pt x="762" y="662"/>
                  </a:lnTo>
                  <a:lnTo>
                    <a:pt x="764" y="657"/>
                  </a:lnTo>
                  <a:lnTo>
                    <a:pt x="767" y="654"/>
                  </a:lnTo>
                  <a:lnTo>
                    <a:pt x="767" y="649"/>
                  </a:lnTo>
                  <a:lnTo>
                    <a:pt x="767" y="644"/>
                  </a:lnTo>
                  <a:lnTo>
                    <a:pt x="764" y="644"/>
                  </a:lnTo>
                  <a:lnTo>
                    <a:pt x="764" y="641"/>
                  </a:lnTo>
                  <a:lnTo>
                    <a:pt x="763" y="638"/>
                  </a:lnTo>
                  <a:lnTo>
                    <a:pt x="759" y="637"/>
                  </a:lnTo>
                  <a:lnTo>
                    <a:pt x="754" y="638"/>
                  </a:lnTo>
                  <a:lnTo>
                    <a:pt x="751" y="640"/>
                  </a:lnTo>
                  <a:lnTo>
                    <a:pt x="747" y="641"/>
                  </a:lnTo>
                  <a:lnTo>
                    <a:pt x="746" y="641"/>
                  </a:lnTo>
                  <a:lnTo>
                    <a:pt x="743" y="639"/>
                  </a:lnTo>
                  <a:lnTo>
                    <a:pt x="746" y="631"/>
                  </a:lnTo>
                  <a:lnTo>
                    <a:pt x="749" y="630"/>
                  </a:lnTo>
                  <a:lnTo>
                    <a:pt x="753" y="628"/>
                  </a:lnTo>
                  <a:lnTo>
                    <a:pt x="754" y="625"/>
                  </a:lnTo>
                  <a:lnTo>
                    <a:pt x="762" y="619"/>
                  </a:lnTo>
                  <a:lnTo>
                    <a:pt x="776" y="614"/>
                  </a:lnTo>
                  <a:lnTo>
                    <a:pt x="781" y="612"/>
                  </a:lnTo>
                  <a:lnTo>
                    <a:pt x="785" y="608"/>
                  </a:lnTo>
                  <a:lnTo>
                    <a:pt x="788" y="604"/>
                  </a:lnTo>
                  <a:lnTo>
                    <a:pt x="791" y="599"/>
                  </a:lnTo>
                  <a:lnTo>
                    <a:pt x="792" y="595"/>
                  </a:lnTo>
                  <a:lnTo>
                    <a:pt x="792" y="589"/>
                  </a:lnTo>
                  <a:lnTo>
                    <a:pt x="794" y="581"/>
                  </a:lnTo>
                  <a:lnTo>
                    <a:pt x="799" y="580"/>
                  </a:lnTo>
                  <a:lnTo>
                    <a:pt x="802" y="581"/>
                  </a:lnTo>
                  <a:lnTo>
                    <a:pt x="811" y="581"/>
                  </a:lnTo>
                  <a:lnTo>
                    <a:pt x="817" y="583"/>
                  </a:lnTo>
                  <a:lnTo>
                    <a:pt x="820" y="585"/>
                  </a:lnTo>
                  <a:lnTo>
                    <a:pt x="825" y="584"/>
                  </a:lnTo>
                  <a:lnTo>
                    <a:pt x="825" y="582"/>
                  </a:lnTo>
                  <a:lnTo>
                    <a:pt x="821" y="577"/>
                  </a:lnTo>
                  <a:lnTo>
                    <a:pt x="819" y="575"/>
                  </a:lnTo>
                  <a:lnTo>
                    <a:pt x="818" y="573"/>
                  </a:lnTo>
                  <a:lnTo>
                    <a:pt x="820" y="572"/>
                  </a:lnTo>
                  <a:lnTo>
                    <a:pt x="827" y="568"/>
                  </a:lnTo>
                  <a:lnTo>
                    <a:pt x="834" y="566"/>
                  </a:lnTo>
                  <a:lnTo>
                    <a:pt x="842" y="565"/>
                  </a:lnTo>
                  <a:lnTo>
                    <a:pt x="847" y="563"/>
                  </a:lnTo>
                  <a:lnTo>
                    <a:pt x="845" y="559"/>
                  </a:lnTo>
                  <a:lnTo>
                    <a:pt x="845" y="557"/>
                  </a:lnTo>
                  <a:lnTo>
                    <a:pt x="842" y="556"/>
                  </a:lnTo>
                  <a:lnTo>
                    <a:pt x="836" y="556"/>
                  </a:lnTo>
                  <a:lnTo>
                    <a:pt x="834" y="555"/>
                  </a:lnTo>
                  <a:lnTo>
                    <a:pt x="834" y="552"/>
                  </a:lnTo>
                  <a:lnTo>
                    <a:pt x="835" y="549"/>
                  </a:lnTo>
                  <a:lnTo>
                    <a:pt x="839" y="545"/>
                  </a:lnTo>
                  <a:lnTo>
                    <a:pt x="842" y="542"/>
                  </a:lnTo>
                  <a:lnTo>
                    <a:pt x="842" y="535"/>
                  </a:lnTo>
                  <a:lnTo>
                    <a:pt x="840" y="531"/>
                  </a:lnTo>
                  <a:lnTo>
                    <a:pt x="835" y="526"/>
                  </a:lnTo>
                  <a:lnTo>
                    <a:pt x="825" y="521"/>
                  </a:lnTo>
                  <a:lnTo>
                    <a:pt x="816" y="519"/>
                  </a:lnTo>
                  <a:lnTo>
                    <a:pt x="811" y="518"/>
                  </a:lnTo>
                  <a:lnTo>
                    <a:pt x="807" y="516"/>
                  </a:lnTo>
                  <a:lnTo>
                    <a:pt x="802" y="513"/>
                  </a:lnTo>
                  <a:lnTo>
                    <a:pt x="797" y="511"/>
                  </a:lnTo>
                  <a:lnTo>
                    <a:pt x="793" y="508"/>
                  </a:lnTo>
                  <a:lnTo>
                    <a:pt x="789" y="507"/>
                  </a:lnTo>
                  <a:lnTo>
                    <a:pt x="787" y="502"/>
                  </a:lnTo>
                  <a:lnTo>
                    <a:pt x="787" y="495"/>
                  </a:lnTo>
                  <a:lnTo>
                    <a:pt x="787" y="491"/>
                  </a:lnTo>
                  <a:lnTo>
                    <a:pt x="789" y="487"/>
                  </a:lnTo>
                  <a:lnTo>
                    <a:pt x="795" y="484"/>
                  </a:lnTo>
                  <a:lnTo>
                    <a:pt x="800" y="480"/>
                  </a:lnTo>
                  <a:lnTo>
                    <a:pt x="803" y="476"/>
                  </a:lnTo>
                  <a:lnTo>
                    <a:pt x="805" y="472"/>
                  </a:lnTo>
                  <a:lnTo>
                    <a:pt x="803" y="469"/>
                  </a:lnTo>
                  <a:lnTo>
                    <a:pt x="801" y="467"/>
                  </a:lnTo>
                  <a:lnTo>
                    <a:pt x="800" y="464"/>
                  </a:lnTo>
                  <a:lnTo>
                    <a:pt x="800" y="457"/>
                  </a:lnTo>
                  <a:lnTo>
                    <a:pt x="801" y="452"/>
                  </a:lnTo>
                  <a:lnTo>
                    <a:pt x="799" y="449"/>
                  </a:lnTo>
                  <a:lnTo>
                    <a:pt x="797" y="446"/>
                  </a:lnTo>
                  <a:lnTo>
                    <a:pt x="795" y="445"/>
                  </a:lnTo>
                  <a:lnTo>
                    <a:pt x="791" y="440"/>
                  </a:lnTo>
                  <a:lnTo>
                    <a:pt x="786" y="437"/>
                  </a:lnTo>
                  <a:lnTo>
                    <a:pt x="775" y="430"/>
                  </a:lnTo>
                  <a:lnTo>
                    <a:pt x="765" y="420"/>
                  </a:lnTo>
                  <a:lnTo>
                    <a:pt x="763" y="416"/>
                  </a:lnTo>
                  <a:lnTo>
                    <a:pt x="761" y="409"/>
                  </a:lnTo>
                  <a:lnTo>
                    <a:pt x="760" y="406"/>
                  </a:lnTo>
                  <a:lnTo>
                    <a:pt x="762" y="400"/>
                  </a:lnTo>
                  <a:lnTo>
                    <a:pt x="765" y="397"/>
                  </a:lnTo>
                  <a:lnTo>
                    <a:pt x="767" y="395"/>
                  </a:lnTo>
                  <a:lnTo>
                    <a:pt x="764" y="389"/>
                  </a:lnTo>
                  <a:lnTo>
                    <a:pt x="765" y="393"/>
                  </a:lnTo>
                  <a:lnTo>
                    <a:pt x="764" y="389"/>
                  </a:lnTo>
                  <a:lnTo>
                    <a:pt x="760" y="385"/>
                  </a:lnTo>
                  <a:lnTo>
                    <a:pt x="759" y="382"/>
                  </a:lnTo>
                  <a:lnTo>
                    <a:pt x="760" y="379"/>
                  </a:lnTo>
                  <a:lnTo>
                    <a:pt x="762" y="374"/>
                  </a:lnTo>
                  <a:lnTo>
                    <a:pt x="764" y="371"/>
                  </a:lnTo>
                  <a:lnTo>
                    <a:pt x="767" y="359"/>
                  </a:lnTo>
                  <a:lnTo>
                    <a:pt x="764" y="350"/>
                  </a:lnTo>
                  <a:lnTo>
                    <a:pt x="763" y="350"/>
                  </a:lnTo>
                  <a:lnTo>
                    <a:pt x="761" y="351"/>
                  </a:lnTo>
                  <a:lnTo>
                    <a:pt x="757" y="351"/>
                  </a:lnTo>
                  <a:lnTo>
                    <a:pt x="755" y="350"/>
                  </a:lnTo>
                  <a:lnTo>
                    <a:pt x="752" y="349"/>
                  </a:lnTo>
                  <a:lnTo>
                    <a:pt x="748" y="349"/>
                  </a:lnTo>
                  <a:lnTo>
                    <a:pt x="745" y="350"/>
                  </a:lnTo>
                  <a:lnTo>
                    <a:pt x="745" y="352"/>
                  </a:lnTo>
                  <a:lnTo>
                    <a:pt x="744" y="357"/>
                  </a:lnTo>
                  <a:lnTo>
                    <a:pt x="744" y="360"/>
                  </a:lnTo>
                  <a:lnTo>
                    <a:pt x="743" y="363"/>
                  </a:lnTo>
                  <a:lnTo>
                    <a:pt x="740" y="363"/>
                  </a:lnTo>
                  <a:lnTo>
                    <a:pt x="735" y="364"/>
                  </a:lnTo>
                  <a:lnTo>
                    <a:pt x="733" y="360"/>
                  </a:lnTo>
                  <a:lnTo>
                    <a:pt x="732" y="356"/>
                  </a:lnTo>
                  <a:lnTo>
                    <a:pt x="731" y="352"/>
                  </a:lnTo>
                  <a:lnTo>
                    <a:pt x="730" y="349"/>
                  </a:lnTo>
                  <a:lnTo>
                    <a:pt x="728" y="345"/>
                  </a:lnTo>
                  <a:lnTo>
                    <a:pt x="721" y="342"/>
                  </a:lnTo>
                  <a:lnTo>
                    <a:pt x="715" y="339"/>
                  </a:lnTo>
                  <a:lnTo>
                    <a:pt x="707" y="328"/>
                  </a:lnTo>
                  <a:lnTo>
                    <a:pt x="699" y="318"/>
                  </a:lnTo>
                  <a:lnTo>
                    <a:pt x="700" y="315"/>
                  </a:lnTo>
                  <a:lnTo>
                    <a:pt x="697" y="310"/>
                  </a:lnTo>
                  <a:lnTo>
                    <a:pt x="695" y="307"/>
                  </a:lnTo>
                  <a:lnTo>
                    <a:pt x="693" y="304"/>
                  </a:lnTo>
                  <a:lnTo>
                    <a:pt x="693" y="302"/>
                  </a:lnTo>
                  <a:lnTo>
                    <a:pt x="690" y="300"/>
                  </a:lnTo>
                  <a:lnTo>
                    <a:pt x="687" y="301"/>
                  </a:lnTo>
                  <a:lnTo>
                    <a:pt x="682" y="304"/>
                  </a:lnTo>
                  <a:lnTo>
                    <a:pt x="681" y="308"/>
                  </a:lnTo>
                  <a:lnTo>
                    <a:pt x="677" y="313"/>
                  </a:lnTo>
                  <a:lnTo>
                    <a:pt x="674" y="319"/>
                  </a:lnTo>
                  <a:lnTo>
                    <a:pt x="673" y="324"/>
                  </a:lnTo>
                  <a:lnTo>
                    <a:pt x="672" y="329"/>
                  </a:lnTo>
                  <a:lnTo>
                    <a:pt x="668" y="333"/>
                  </a:lnTo>
                  <a:lnTo>
                    <a:pt x="664" y="335"/>
                  </a:lnTo>
                  <a:lnTo>
                    <a:pt x="656" y="340"/>
                  </a:lnTo>
                  <a:lnTo>
                    <a:pt x="652" y="341"/>
                  </a:lnTo>
                  <a:lnTo>
                    <a:pt x="647" y="343"/>
                  </a:lnTo>
                  <a:lnTo>
                    <a:pt x="641" y="344"/>
                  </a:lnTo>
                  <a:lnTo>
                    <a:pt x="635" y="344"/>
                  </a:lnTo>
                  <a:lnTo>
                    <a:pt x="629" y="344"/>
                  </a:lnTo>
                  <a:lnTo>
                    <a:pt x="621" y="343"/>
                  </a:lnTo>
                  <a:lnTo>
                    <a:pt x="615" y="336"/>
                  </a:lnTo>
                  <a:lnTo>
                    <a:pt x="617" y="329"/>
                  </a:lnTo>
                  <a:lnTo>
                    <a:pt x="623" y="326"/>
                  </a:lnTo>
                  <a:lnTo>
                    <a:pt x="626" y="323"/>
                  </a:lnTo>
                  <a:lnTo>
                    <a:pt x="631" y="316"/>
                  </a:lnTo>
                  <a:lnTo>
                    <a:pt x="631" y="312"/>
                  </a:lnTo>
                  <a:lnTo>
                    <a:pt x="631" y="308"/>
                  </a:lnTo>
                  <a:lnTo>
                    <a:pt x="627" y="301"/>
                  </a:lnTo>
                  <a:lnTo>
                    <a:pt x="623" y="295"/>
                  </a:lnTo>
                  <a:lnTo>
                    <a:pt x="620" y="291"/>
                  </a:lnTo>
                  <a:lnTo>
                    <a:pt x="618" y="284"/>
                  </a:lnTo>
                  <a:lnTo>
                    <a:pt x="615" y="279"/>
                  </a:lnTo>
                  <a:lnTo>
                    <a:pt x="611" y="275"/>
                  </a:lnTo>
                  <a:lnTo>
                    <a:pt x="605" y="264"/>
                  </a:lnTo>
                  <a:lnTo>
                    <a:pt x="599" y="255"/>
                  </a:lnTo>
                  <a:lnTo>
                    <a:pt x="593" y="246"/>
                  </a:lnTo>
                  <a:lnTo>
                    <a:pt x="587" y="232"/>
                  </a:lnTo>
                  <a:lnTo>
                    <a:pt x="583" y="225"/>
                  </a:lnTo>
                  <a:lnTo>
                    <a:pt x="578" y="215"/>
                  </a:lnTo>
                  <a:lnTo>
                    <a:pt x="572" y="206"/>
                  </a:lnTo>
                  <a:lnTo>
                    <a:pt x="571" y="199"/>
                  </a:lnTo>
                  <a:lnTo>
                    <a:pt x="573" y="197"/>
                  </a:lnTo>
                  <a:lnTo>
                    <a:pt x="576" y="196"/>
                  </a:lnTo>
                  <a:lnTo>
                    <a:pt x="579" y="196"/>
                  </a:lnTo>
                  <a:lnTo>
                    <a:pt x="581" y="196"/>
                  </a:lnTo>
                  <a:lnTo>
                    <a:pt x="580" y="192"/>
                  </a:lnTo>
                  <a:lnTo>
                    <a:pt x="579" y="188"/>
                  </a:lnTo>
                  <a:lnTo>
                    <a:pt x="577" y="183"/>
                  </a:lnTo>
                  <a:lnTo>
                    <a:pt x="575" y="177"/>
                  </a:lnTo>
                  <a:lnTo>
                    <a:pt x="572" y="173"/>
                  </a:lnTo>
                  <a:lnTo>
                    <a:pt x="569" y="168"/>
                  </a:lnTo>
                  <a:lnTo>
                    <a:pt x="565" y="160"/>
                  </a:lnTo>
                  <a:lnTo>
                    <a:pt x="563" y="157"/>
                  </a:lnTo>
                  <a:lnTo>
                    <a:pt x="557" y="151"/>
                  </a:lnTo>
                  <a:lnTo>
                    <a:pt x="552" y="149"/>
                  </a:lnTo>
                  <a:lnTo>
                    <a:pt x="548" y="148"/>
                  </a:lnTo>
                  <a:lnTo>
                    <a:pt x="543" y="145"/>
                  </a:lnTo>
                  <a:lnTo>
                    <a:pt x="538" y="144"/>
                  </a:lnTo>
                  <a:lnTo>
                    <a:pt x="535" y="143"/>
                  </a:lnTo>
                  <a:lnTo>
                    <a:pt x="530" y="141"/>
                  </a:lnTo>
                  <a:lnTo>
                    <a:pt x="525" y="140"/>
                  </a:lnTo>
                  <a:lnTo>
                    <a:pt x="521" y="137"/>
                  </a:lnTo>
                  <a:lnTo>
                    <a:pt x="517" y="136"/>
                  </a:lnTo>
                  <a:lnTo>
                    <a:pt x="508" y="135"/>
                  </a:lnTo>
                  <a:lnTo>
                    <a:pt x="505" y="133"/>
                  </a:lnTo>
                  <a:lnTo>
                    <a:pt x="500" y="131"/>
                  </a:lnTo>
                  <a:lnTo>
                    <a:pt x="499" y="129"/>
                  </a:lnTo>
                  <a:lnTo>
                    <a:pt x="496" y="126"/>
                  </a:lnTo>
                  <a:lnTo>
                    <a:pt x="491" y="125"/>
                  </a:lnTo>
                  <a:lnTo>
                    <a:pt x="487" y="124"/>
                  </a:lnTo>
                  <a:lnTo>
                    <a:pt x="484" y="121"/>
                  </a:lnTo>
                  <a:lnTo>
                    <a:pt x="483" y="119"/>
                  </a:lnTo>
                  <a:lnTo>
                    <a:pt x="483" y="117"/>
                  </a:lnTo>
                  <a:lnTo>
                    <a:pt x="483" y="110"/>
                  </a:lnTo>
                  <a:lnTo>
                    <a:pt x="487" y="99"/>
                  </a:lnTo>
                  <a:lnTo>
                    <a:pt x="490" y="95"/>
                  </a:lnTo>
                  <a:lnTo>
                    <a:pt x="492" y="93"/>
                  </a:lnTo>
                  <a:lnTo>
                    <a:pt x="497" y="91"/>
                  </a:lnTo>
                  <a:lnTo>
                    <a:pt x="501" y="88"/>
                  </a:lnTo>
                  <a:lnTo>
                    <a:pt x="506" y="86"/>
                  </a:lnTo>
                  <a:lnTo>
                    <a:pt x="511" y="81"/>
                  </a:lnTo>
                  <a:lnTo>
                    <a:pt x="519" y="76"/>
                  </a:lnTo>
                  <a:lnTo>
                    <a:pt x="521" y="67"/>
                  </a:lnTo>
                  <a:lnTo>
                    <a:pt x="524" y="63"/>
                  </a:lnTo>
                  <a:lnTo>
                    <a:pt x="527" y="61"/>
                  </a:lnTo>
                  <a:lnTo>
                    <a:pt x="530" y="57"/>
                  </a:lnTo>
                  <a:lnTo>
                    <a:pt x="532" y="55"/>
                  </a:lnTo>
                  <a:lnTo>
                    <a:pt x="536" y="55"/>
                  </a:lnTo>
                  <a:lnTo>
                    <a:pt x="539" y="53"/>
                  </a:lnTo>
                  <a:lnTo>
                    <a:pt x="540" y="51"/>
                  </a:lnTo>
                  <a:lnTo>
                    <a:pt x="540" y="43"/>
                  </a:lnTo>
                  <a:lnTo>
                    <a:pt x="544" y="38"/>
                  </a:lnTo>
                  <a:lnTo>
                    <a:pt x="548" y="38"/>
                  </a:lnTo>
                  <a:lnTo>
                    <a:pt x="552" y="37"/>
                  </a:lnTo>
                  <a:lnTo>
                    <a:pt x="557" y="37"/>
                  </a:lnTo>
                  <a:lnTo>
                    <a:pt x="560" y="37"/>
                  </a:lnTo>
                  <a:lnTo>
                    <a:pt x="561" y="32"/>
                  </a:lnTo>
                  <a:lnTo>
                    <a:pt x="561" y="29"/>
                  </a:lnTo>
                  <a:lnTo>
                    <a:pt x="559" y="24"/>
                  </a:lnTo>
                  <a:lnTo>
                    <a:pt x="555" y="20"/>
                  </a:lnTo>
                  <a:lnTo>
                    <a:pt x="551" y="14"/>
                  </a:lnTo>
                  <a:lnTo>
                    <a:pt x="545" y="8"/>
                  </a:lnTo>
                  <a:lnTo>
                    <a:pt x="531" y="0"/>
                  </a:lnTo>
                  <a:lnTo>
                    <a:pt x="525" y="6"/>
                  </a:lnTo>
                  <a:lnTo>
                    <a:pt x="521" y="9"/>
                  </a:lnTo>
                  <a:lnTo>
                    <a:pt x="517" y="13"/>
                  </a:lnTo>
                  <a:lnTo>
                    <a:pt x="514" y="15"/>
                  </a:lnTo>
                  <a:lnTo>
                    <a:pt x="509" y="17"/>
                  </a:lnTo>
                  <a:lnTo>
                    <a:pt x="506" y="22"/>
                  </a:lnTo>
                  <a:lnTo>
                    <a:pt x="503" y="25"/>
                  </a:lnTo>
                  <a:lnTo>
                    <a:pt x="499" y="28"/>
                  </a:lnTo>
                  <a:lnTo>
                    <a:pt x="496" y="30"/>
                  </a:lnTo>
                  <a:lnTo>
                    <a:pt x="492" y="33"/>
                  </a:lnTo>
                  <a:lnTo>
                    <a:pt x="489" y="38"/>
                  </a:lnTo>
                  <a:lnTo>
                    <a:pt x="484" y="44"/>
                  </a:lnTo>
                  <a:lnTo>
                    <a:pt x="481" y="45"/>
                  </a:lnTo>
                  <a:lnTo>
                    <a:pt x="476" y="48"/>
                  </a:lnTo>
                  <a:lnTo>
                    <a:pt x="473" y="52"/>
                  </a:lnTo>
                  <a:lnTo>
                    <a:pt x="469" y="55"/>
                  </a:lnTo>
                  <a:lnTo>
                    <a:pt x="466" y="57"/>
                  </a:lnTo>
                  <a:lnTo>
                    <a:pt x="461" y="59"/>
                  </a:lnTo>
                  <a:lnTo>
                    <a:pt x="457" y="59"/>
                  </a:lnTo>
                  <a:lnTo>
                    <a:pt x="453" y="57"/>
                  </a:lnTo>
                  <a:lnTo>
                    <a:pt x="449" y="56"/>
                  </a:lnTo>
                  <a:lnTo>
                    <a:pt x="447" y="54"/>
                  </a:lnTo>
                  <a:lnTo>
                    <a:pt x="442" y="52"/>
                  </a:lnTo>
                  <a:lnTo>
                    <a:pt x="439" y="52"/>
                  </a:lnTo>
                  <a:lnTo>
                    <a:pt x="435" y="54"/>
                  </a:lnTo>
                  <a:lnTo>
                    <a:pt x="433" y="57"/>
                  </a:lnTo>
                  <a:lnTo>
                    <a:pt x="429" y="59"/>
                  </a:lnTo>
                  <a:lnTo>
                    <a:pt x="427" y="57"/>
                  </a:lnTo>
                  <a:lnTo>
                    <a:pt x="421" y="56"/>
                  </a:lnTo>
                  <a:lnTo>
                    <a:pt x="415" y="55"/>
                  </a:lnTo>
                  <a:lnTo>
                    <a:pt x="411" y="55"/>
                  </a:lnTo>
                  <a:lnTo>
                    <a:pt x="407" y="55"/>
                  </a:lnTo>
                  <a:lnTo>
                    <a:pt x="404" y="55"/>
                  </a:lnTo>
                  <a:lnTo>
                    <a:pt x="400" y="53"/>
                  </a:lnTo>
                  <a:lnTo>
                    <a:pt x="401" y="61"/>
                  </a:lnTo>
                  <a:lnTo>
                    <a:pt x="402" y="65"/>
                  </a:lnTo>
                  <a:lnTo>
                    <a:pt x="405" y="68"/>
                  </a:lnTo>
                  <a:lnTo>
                    <a:pt x="412" y="73"/>
                  </a:lnTo>
                  <a:lnTo>
                    <a:pt x="415" y="77"/>
                  </a:lnTo>
                  <a:lnTo>
                    <a:pt x="412" y="80"/>
                  </a:lnTo>
                  <a:lnTo>
                    <a:pt x="408" y="84"/>
                  </a:lnTo>
                  <a:lnTo>
                    <a:pt x="402" y="86"/>
                  </a:lnTo>
                  <a:lnTo>
                    <a:pt x="396" y="87"/>
                  </a:lnTo>
                  <a:lnTo>
                    <a:pt x="392" y="92"/>
                  </a:lnTo>
                  <a:lnTo>
                    <a:pt x="388" y="97"/>
                  </a:lnTo>
                  <a:lnTo>
                    <a:pt x="385" y="103"/>
                  </a:lnTo>
                  <a:lnTo>
                    <a:pt x="380" y="112"/>
                  </a:lnTo>
                  <a:lnTo>
                    <a:pt x="377" y="116"/>
                  </a:lnTo>
                  <a:lnTo>
                    <a:pt x="375" y="117"/>
                  </a:lnTo>
                  <a:lnTo>
                    <a:pt x="370" y="116"/>
                  </a:lnTo>
                  <a:lnTo>
                    <a:pt x="367" y="116"/>
                  </a:lnTo>
                  <a:lnTo>
                    <a:pt x="365" y="117"/>
                  </a:lnTo>
                  <a:lnTo>
                    <a:pt x="362" y="121"/>
                  </a:lnTo>
                  <a:lnTo>
                    <a:pt x="355" y="123"/>
                  </a:lnTo>
                  <a:lnTo>
                    <a:pt x="341" y="124"/>
                  </a:lnTo>
                  <a:lnTo>
                    <a:pt x="330" y="126"/>
                  </a:lnTo>
                  <a:lnTo>
                    <a:pt x="325" y="128"/>
                  </a:lnTo>
                  <a:lnTo>
                    <a:pt x="320" y="131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8" y="132"/>
                  </a:lnTo>
                  <a:lnTo>
                    <a:pt x="291" y="133"/>
                  </a:lnTo>
                  <a:lnTo>
                    <a:pt x="282" y="136"/>
                  </a:lnTo>
                  <a:lnTo>
                    <a:pt x="273" y="137"/>
                  </a:lnTo>
                  <a:lnTo>
                    <a:pt x="266" y="142"/>
                  </a:lnTo>
                  <a:lnTo>
                    <a:pt x="261" y="149"/>
                  </a:lnTo>
                  <a:lnTo>
                    <a:pt x="257" y="155"/>
                  </a:lnTo>
                  <a:lnTo>
                    <a:pt x="251" y="158"/>
                  </a:lnTo>
                  <a:lnTo>
                    <a:pt x="243" y="159"/>
                  </a:lnTo>
                  <a:lnTo>
                    <a:pt x="237" y="164"/>
                  </a:lnTo>
                  <a:lnTo>
                    <a:pt x="229" y="168"/>
                  </a:lnTo>
                  <a:lnTo>
                    <a:pt x="220" y="171"/>
                  </a:lnTo>
                  <a:lnTo>
                    <a:pt x="215" y="173"/>
                  </a:lnTo>
                  <a:lnTo>
                    <a:pt x="212" y="176"/>
                  </a:lnTo>
                  <a:lnTo>
                    <a:pt x="211" y="179"/>
                  </a:lnTo>
                  <a:lnTo>
                    <a:pt x="208" y="180"/>
                  </a:lnTo>
                  <a:lnTo>
                    <a:pt x="204" y="180"/>
                  </a:lnTo>
                  <a:lnTo>
                    <a:pt x="200" y="181"/>
                  </a:lnTo>
                  <a:lnTo>
                    <a:pt x="196" y="185"/>
                  </a:lnTo>
                  <a:lnTo>
                    <a:pt x="193" y="192"/>
                  </a:lnTo>
                  <a:lnTo>
                    <a:pt x="192" y="199"/>
                  </a:lnTo>
                  <a:lnTo>
                    <a:pt x="188" y="211"/>
                  </a:lnTo>
                  <a:lnTo>
                    <a:pt x="185" y="219"/>
                  </a:lnTo>
                  <a:lnTo>
                    <a:pt x="179" y="222"/>
                  </a:lnTo>
                  <a:lnTo>
                    <a:pt x="175" y="223"/>
                  </a:lnTo>
                  <a:lnTo>
                    <a:pt x="171" y="225"/>
                  </a:lnTo>
                  <a:lnTo>
                    <a:pt x="170" y="229"/>
                  </a:lnTo>
                  <a:lnTo>
                    <a:pt x="173" y="232"/>
                  </a:lnTo>
                  <a:lnTo>
                    <a:pt x="176" y="236"/>
                  </a:lnTo>
                  <a:lnTo>
                    <a:pt x="179" y="244"/>
                  </a:lnTo>
                  <a:lnTo>
                    <a:pt x="181" y="253"/>
                  </a:lnTo>
                  <a:lnTo>
                    <a:pt x="187" y="261"/>
                  </a:lnTo>
                  <a:lnTo>
                    <a:pt x="196" y="269"/>
                  </a:lnTo>
                  <a:lnTo>
                    <a:pt x="200" y="272"/>
                  </a:lnTo>
                  <a:lnTo>
                    <a:pt x="202" y="277"/>
                  </a:lnTo>
                  <a:lnTo>
                    <a:pt x="201" y="280"/>
                  </a:lnTo>
                  <a:lnTo>
                    <a:pt x="199" y="285"/>
                  </a:lnTo>
                  <a:lnTo>
                    <a:pt x="199" y="287"/>
                  </a:lnTo>
                  <a:lnTo>
                    <a:pt x="200" y="289"/>
                  </a:lnTo>
                  <a:lnTo>
                    <a:pt x="202" y="292"/>
                  </a:lnTo>
                  <a:lnTo>
                    <a:pt x="208" y="296"/>
                  </a:lnTo>
                  <a:lnTo>
                    <a:pt x="210" y="300"/>
                  </a:lnTo>
                  <a:lnTo>
                    <a:pt x="207" y="305"/>
                  </a:lnTo>
                  <a:lnTo>
                    <a:pt x="199" y="315"/>
                  </a:lnTo>
                  <a:lnTo>
                    <a:pt x="184" y="327"/>
                  </a:lnTo>
                  <a:lnTo>
                    <a:pt x="181" y="333"/>
                  </a:lnTo>
                  <a:lnTo>
                    <a:pt x="181" y="340"/>
                  </a:lnTo>
                  <a:lnTo>
                    <a:pt x="180" y="357"/>
                  </a:lnTo>
                  <a:lnTo>
                    <a:pt x="180" y="364"/>
                  </a:lnTo>
                  <a:lnTo>
                    <a:pt x="178" y="371"/>
                  </a:lnTo>
                  <a:lnTo>
                    <a:pt x="175" y="379"/>
                  </a:lnTo>
                  <a:lnTo>
                    <a:pt x="176" y="387"/>
                  </a:lnTo>
                  <a:lnTo>
                    <a:pt x="180" y="390"/>
                  </a:lnTo>
                  <a:lnTo>
                    <a:pt x="183" y="392"/>
                  </a:lnTo>
                  <a:lnTo>
                    <a:pt x="185" y="393"/>
                  </a:lnTo>
                  <a:lnTo>
                    <a:pt x="187" y="398"/>
                  </a:lnTo>
                  <a:lnTo>
                    <a:pt x="189" y="400"/>
                  </a:lnTo>
                  <a:lnTo>
                    <a:pt x="193" y="401"/>
                  </a:lnTo>
                  <a:lnTo>
                    <a:pt x="199" y="401"/>
                  </a:lnTo>
                  <a:lnTo>
                    <a:pt x="203" y="398"/>
                  </a:lnTo>
                  <a:lnTo>
                    <a:pt x="204" y="396"/>
                  </a:lnTo>
                  <a:lnTo>
                    <a:pt x="201" y="393"/>
                  </a:lnTo>
                  <a:lnTo>
                    <a:pt x="201" y="390"/>
                  </a:lnTo>
                  <a:lnTo>
                    <a:pt x="202" y="389"/>
                  </a:lnTo>
                  <a:lnTo>
                    <a:pt x="204" y="389"/>
                  </a:lnTo>
                  <a:lnTo>
                    <a:pt x="209" y="389"/>
                  </a:lnTo>
                  <a:lnTo>
                    <a:pt x="213" y="390"/>
                  </a:lnTo>
                  <a:lnTo>
                    <a:pt x="218" y="390"/>
                  </a:lnTo>
                  <a:lnTo>
                    <a:pt x="225" y="392"/>
                  </a:lnTo>
                  <a:lnTo>
                    <a:pt x="227" y="395"/>
                  </a:lnTo>
                  <a:lnTo>
                    <a:pt x="226" y="399"/>
                  </a:lnTo>
                  <a:lnTo>
                    <a:pt x="225" y="404"/>
                  </a:lnTo>
                  <a:lnTo>
                    <a:pt x="223" y="407"/>
                  </a:lnTo>
                  <a:lnTo>
                    <a:pt x="216" y="411"/>
                  </a:lnTo>
                  <a:lnTo>
                    <a:pt x="204" y="411"/>
                  </a:lnTo>
                  <a:lnTo>
                    <a:pt x="196" y="411"/>
                  </a:lnTo>
                  <a:lnTo>
                    <a:pt x="191" y="412"/>
                  </a:lnTo>
                  <a:lnTo>
                    <a:pt x="187" y="412"/>
                  </a:lnTo>
                  <a:lnTo>
                    <a:pt x="184" y="415"/>
                  </a:lnTo>
                  <a:lnTo>
                    <a:pt x="180" y="422"/>
                  </a:lnTo>
                  <a:lnTo>
                    <a:pt x="173" y="429"/>
                  </a:lnTo>
                  <a:lnTo>
                    <a:pt x="169" y="431"/>
                  </a:lnTo>
                  <a:lnTo>
                    <a:pt x="159" y="433"/>
                  </a:lnTo>
                  <a:lnTo>
                    <a:pt x="148" y="438"/>
                  </a:lnTo>
                  <a:lnTo>
                    <a:pt x="146" y="440"/>
                  </a:lnTo>
                  <a:lnTo>
                    <a:pt x="145" y="445"/>
                  </a:lnTo>
                  <a:lnTo>
                    <a:pt x="144" y="447"/>
                  </a:lnTo>
                  <a:lnTo>
                    <a:pt x="143" y="449"/>
                  </a:lnTo>
                  <a:lnTo>
                    <a:pt x="140" y="449"/>
                  </a:lnTo>
                  <a:lnTo>
                    <a:pt x="138" y="451"/>
                  </a:lnTo>
                  <a:lnTo>
                    <a:pt x="133" y="453"/>
                  </a:lnTo>
                  <a:lnTo>
                    <a:pt x="131" y="454"/>
                  </a:lnTo>
                  <a:lnTo>
                    <a:pt x="130" y="456"/>
                  </a:lnTo>
                  <a:lnTo>
                    <a:pt x="133" y="460"/>
                  </a:lnTo>
                  <a:lnTo>
                    <a:pt x="129" y="462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53" name="CT"/>
            <p:cNvSpPr>
              <a:spLocks/>
            </p:cNvSpPr>
            <p:nvPr/>
          </p:nvSpPr>
          <p:spPr bwMode="auto">
            <a:xfrm>
              <a:off x="6632736" y="3307672"/>
              <a:ext cx="491084" cy="678195"/>
            </a:xfrm>
            <a:custGeom>
              <a:avLst/>
              <a:gdLst>
                <a:gd name="T0" fmla="*/ 313 w 1225"/>
                <a:gd name="T1" fmla="*/ 509 h 1755"/>
                <a:gd name="T2" fmla="*/ 278 w 1225"/>
                <a:gd name="T3" fmla="*/ 574 h 1755"/>
                <a:gd name="T4" fmla="*/ 246 w 1225"/>
                <a:gd name="T5" fmla="*/ 625 h 1755"/>
                <a:gd name="T6" fmla="*/ 211 w 1225"/>
                <a:gd name="T7" fmla="*/ 681 h 1755"/>
                <a:gd name="T8" fmla="*/ 202 w 1225"/>
                <a:gd name="T9" fmla="*/ 749 h 1755"/>
                <a:gd name="T10" fmla="*/ 136 w 1225"/>
                <a:gd name="T11" fmla="*/ 837 h 1755"/>
                <a:gd name="T12" fmla="*/ 168 w 1225"/>
                <a:gd name="T13" fmla="*/ 947 h 1755"/>
                <a:gd name="T14" fmla="*/ 188 w 1225"/>
                <a:gd name="T15" fmla="*/ 984 h 1755"/>
                <a:gd name="T16" fmla="*/ 127 w 1225"/>
                <a:gd name="T17" fmla="*/ 1072 h 1755"/>
                <a:gd name="T18" fmla="*/ 162 w 1225"/>
                <a:gd name="T19" fmla="*/ 1116 h 1755"/>
                <a:gd name="T20" fmla="*/ 137 w 1225"/>
                <a:gd name="T21" fmla="*/ 1155 h 1755"/>
                <a:gd name="T22" fmla="*/ 151 w 1225"/>
                <a:gd name="T23" fmla="*/ 1204 h 1755"/>
                <a:gd name="T24" fmla="*/ 196 w 1225"/>
                <a:gd name="T25" fmla="*/ 1229 h 1755"/>
                <a:gd name="T26" fmla="*/ 255 w 1225"/>
                <a:gd name="T27" fmla="*/ 1280 h 1755"/>
                <a:gd name="T28" fmla="*/ 204 w 1225"/>
                <a:gd name="T29" fmla="*/ 1341 h 1755"/>
                <a:gd name="T30" fmla="*/ 118 w 1225"/>
                <a:gd name="T31" fmla="*/ 1355 h 1755"/>
                <a:gd name="T32" fmla="*/ 92 w 1225"/>
                <a:gd name="T33" fmla="*/ 1476 h 1755"/>
                <a:gd name="T34" fmla="*/ 10 w 1225"/>
                <a:gd name="T35" fmla="*/ 1479 h 1755"/>
                <a:gd name="T36" fmla="*/ 90 w 1225"/>
                <a:gd name="T37" fmla="*/ 1528 h 1755"/>
                <a:gd name="T38" fmla="*/ 215 w 1225"/>
                <a:gd name="T39" fmla="*/ 1633 h 1755"/>
                <a:gd name="T40" fmla="*/ 284 w 1225"/>
                <a:gd name="T41" fmla="*/ 1649 h 1755"/>
                <a:gd name="T42" fmla="*/ 335 w 1225"/>
                <a:gd name="T43" fmla="*/ 1739 h 1755"/>
                <a:gd name="T44" fmla="*/ 423 w 1225"/>
                <a:gd name="T45" fmla="*/ 1676 h 1755"/>
                <a:gd name="T46" fmla="*/ 470 w 1225"/>
                <a:gd name="T47" fmla="*/ 1603 h 1755"/>
                <a:gd name="T48" fmla="*/ 524 w 1225"/>
                <a:gd name="T49" fmla="*/ 1557 h 1755"/>
                <a:gd name="T50" fmla="*/ 566 w 1225"/>
                <a:gd name="T51" fmla="*/ 1502 h 1755"/>
                <a:gd name="T52" fmla="*/ 633 w 1225"/>
                <a:gd name="T53" fmla="*/ 1435 h 1755"/>
                <a:gd name="T54" fmla="*/ 615 w 1225"/>
                <a:gd name="T55" fmla="*/ 1331 h 1755"/>
                <a:gd name="T56" fmla="*/ 576 w 1225"/>
                <a:gd name="T57" fmla="*/ 1284 h 1755"/>
                <a:gd name="T58" fmla="*/ 555 w 1225"/>
                <a:gd name="T59" fmla="*/ 1191 h 1755"/>
                <a:gd name="T60" fmla="*/ 552 w 1225"/>
                <a:gd name="T61" fmla="*/ 1118 h 1755"/>
                <a:gd name="T62" fmla="*/ 633 w 1225"/>
                <a:gd name="T63" fmla="*/ 1152 h 1755"/>
                <a:gd name="T64" fmla="*/ 721 w 1225"/>
                <a:gd name="T65" fmla="*/ 1208 h 1755"/>
                <a:gd name="T66" fmla="*/ 714 w 1225"/>
                <a:gd name="T67" fmla="*/ 1147 h 1755"/>
                <a:gd name="T68" fmla="*/ 670 w 1225"/>
                <a:gd name="T69" fmla="*/ 1013 h 1755"/>
                <a:gd name="T70" fmla="*/ 697 w 1225"/>
                <a:gd name="T71" fmla="*/ 908 h 1755"/>
                <a:gd name="T72" fmla="*/ 832 w 1225"/>
                <a:gd name="T73" fmla="*/ 815 h 1755"/>
                <a:gd name="T74" fmla="*/ 935 w 1225"/>
                <a:gd name="T75" fmla="*/ 767 h 1755"/>
                <a:gd name="T76" fmla="*/ 982 w 1225"/>
                <a:gd name="T77" fmla="*/ 659 h 1755"/>
                <a:gd name="T78" fmla="*/ 979 w 1225"/>
                <a:gd name="T79" fmla="*/ 582 h 1755"/>
                <a:gd name="T80" fmla="*/ 1074 w 1225"/>
                <a:gd name="T81" fmla="*/ 497 h 1755"/>
                <a:gd name="T82" fmla="*/ 1119 w 1225"/>
                <a:gd name="T83" fmla="*/ 430 h 1755"/>
                <a:gd name="T84" fmla="*/ 1217 w 1225"/>
                <a:gd name="T85" fmla="*/ 321 h 1755"/>
                <a:gd name="T86" fmla="*/ 1130 w 1225"/>
                <a:gd name="T87" fmla="*/ 236 h 1755"/>
                <a:gd name="T88" fmla="*/ 1052 w 1225"/>
                <a:gd name="T89" fmla="*/ 151 h 1755"/>
                <a:gd name="T90" fmla="*/ 936 w 1225"/>
                <a:gd name="T91" fmla="*/ 0 h 1755"/>
                <a:gd name="T92" fmla="*/ 822 w 1225"/>
                <a:gd name="T93" fmla="*/ 75 h 1755"/>
                <a:gd name="T94" fmla="*/ 740 w 1225"/>
                <a:gd name="T95" fmla="*/ 68 h 1755"/>
                <a:gd name="T96" fmla="*/ 682 w 1225"/>
                <a:gd name="T97" fmla="*/ 99 h 1755"/>
                <a:gd name="T98" fmla="*/ 574 w 1225"/>
                <a:gd name="T99" fmla="*/ 95 h 1755"/>
                <a:gd name="T100" fmla="*/ 486 w 1225"/>
                <a:gd name="T101" fmla="*/ 87 h 1755"/>
                <a:gd name="T102" fmla="*/ 457 w 1225"/>
                <a:gd name="T103" fmla="*/ 101 h 1755"/>
                <a:gd name="T104" fmla="*/ 449 w 1225"/>
                <a:gd name="T105" fmla="*/ 137 h 1755"/>
                <a:gd name="T106" fmla="*/ 455 w 1225"/>
                <a:gd name="T107" fmla="*/ 182 h 1755"/>
                <a:gd name="T108" fmla="*/ 508 w 1225"/>
                <a:gd name="T109" fmla="*/ 172 h 1755"/>
                <a:gd name="T110" fmla="*/ 568 w 1225"/>
                <a:gd name="T111" fmla="*/ 216 h 1755"/>
                <a:gd name="T112" fmla="*/ 599 w 1225"/>
                <a:gd name="T113" fmla="*/ 261 h 1755"/>
                <a:gd name="T114" fmla="*/ 558 w 1225"/>
                <a:gd name="T115" fmla="*/ 297 h 1755"/>
                <a:gd name="T116" fmla="*/ 512 w 1225"/>
                <a:gd name="T117" fmla="*/ 350 h 1755"/>
                <a:gd name="T118" fmla="*/ 495 w 1225"/>
                <a:gd name="T119" fmla="*/ 409 h 1755"/>
                <a:gd name="T120" fmla="*/ 436 w 1225"/>
                <a:gd name="T121" fmla="*/ 445 h 1755"/>
                <a:gd name="T122" fmla="*/ 392 w 1225"/>
                <a:gd name="T123" fmla="*/ 457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5" h="1755">
                  <a:moveTo>
                    <a:pt x="346" y="463"/>
                  </a:moveTo>
                  <a:lnTo>
                    <a:pt x="339" y="462"/>
                  </a:lnTo>
                  <a:lnTo>
                    <a:pt x="338" y="460"/>
                  </a:lnTo>
                  <a:lnTo>
                    <a:pt x="337" y="459"/>
                  </a:lnTo>
                  <a:lnTo>
                    <a:pt x="335" y="457"/>
                  </a:lnTo>
                  <a:lnTo>
                    <a:pt x="334" y="456"/>
                  </a:lnTo>
                  <a:lnTo>
                    <a:pt x="330" y="454"/>
                  </a:lnTo>
                  <a:lnTo>
                    <a:pt x="327" y="454"/>
                  </a:lnTo>
                  <a:lnTo>
                    <a:pt x="326" y="456"/>
                  </a:lnTo>
                  <a:lnTo>
                    <a:pt x="326" y="459"/>
                  </a:lnTo>
                  <a:lnTo>
                    <a:pt x="324" y="462"/>
                  </a:lnTo>
                  <a:lnTo>
                    <a:pt x="323" y="464"/>
                  </a:lnTo>
                  <a:lnTo>
                    <a:pt x="321" y="465"/>
                  </a:lnTo>
                  <a:lnTo>
                    <a:pt x="319" y="469"/>
                  </a:lnTo>
                  <a:lnTo>
                    <a:pt x="316" y="469"/>
                  </a:lnTo>
                  <a:lnTo>
                    <a:pt x="313" y="475"/>
                  </a:lnTo>
                  <a:lnTo>
                    <a:pt x="312" y="478"/>
                  </a:lnTo>
                  <a:lnTo>
                    <a:pt x="312" y="481"/>
                  </a:lnTo>
                  <a:lnTo>
                    <a:pt x="312" y="484"/>
                  </a:lnTo>
                  <a:lnTo>
                    <a:pt x="313" y="486"/>
                  </a:lnTo>
                  <a:lnTo>
                    <a:pt x="313" y="488"/>
                  </a:lnTo>
                  <a:lnTo>
                    <a:pt x="313" y="492"/>
                  </a:lnTo>
                  <a:lnTo>
                    <a:pt x="313" y="495"/>
                  </a:lnTo>
                  <a:lnTo>
                    <a:pt x="314" y="505"/>
                  </a:lnTo>
                  <a:lnTo>
                    <a:pt x="313" y="509"/>
                  </a:lnTo>
                  <a:lnTo>
                    <a:pt x="313" y="512"/>
                  </a:lnTo>
                  <a:lnTo>
                    <a:pt x="311" y="517"/>
                  </a:lnTo>
                  <a:lnTo>
                    <a:pt x="308" y="519"/>
                  </a:lnTo>
                  <a:lnTo>
                    <a:pt x="305" y="520"/>
                  </a:lnTo>
                  <a:lnTo>
                    <a:pt x="303" y="523"/>
                  </a:lnTo>
                  <a:lnTo>
                    <a:pt x="300" y="525"/>
                  </a:lnTo>
                  <a:lnTo>
                    <a:pt x="297" y="526"/>
                  </a:lnTo>
                  <a:lnTo>
                    <a:pt x="296" y="527"/>
                  </a:lnTo>
                  <a:lnTo>
                    <a:pt x="292" y="528"/>
                  </a:lnTo>
                  <a:lnTo>
                    <a:pt x="291" y="532"/>
                  </a:lnTo>
                  <a:lnTo>
                    <a:pt x="290" y="534"/>
                  </a:lnTo>
                  <a:lnTo>
                    <a:pt x="289" y="536"/>
                  </a:lnTo>
                  <a:lnTo>
                    <a:pt x="289" y="539"/>
                  </a:lnTo>
                  <a:lnTo>
                    <a:pt x="289" y="542"/>
                  </a:lnTo>
                  <a:lnTo>
                    <a:pt x="289" y="545"/>
                  </a:lnTo>
                  <a:lnTo>
                    <a:pt x="288" y="549"/>
                  </a:lnTo>
                  <a:lnTo>
                    <a:pt x="288" y="551"/>
                  </a:lnTo>
                  <a:lnTo>
                    <a:pt x="286" y="553"/>
                  </a:lnTo>
                  <a:lnTo>
                    <a:pt x="284" y="555"/>
                  </a:lnTo>
                  <a:lnTo>
                    <a:pt x="280" y="558"/>
                  </a:lnTo>
                  <a:lnTo>
                    <a:pt x="280" y="561"/>
                  </a:lnTo>
                  <a:lnTo>
                    <a:pt x="280" y="565"/>
                  </a:lnTo>
                  <a:lnTo>
                    <a:pt x="281" y="567"/>
                  </a:lnTo>
                  <a:lnTo>
                    <a:pt x="280" y="573"/>
                  </a:lnTo>
                  <a:lnTo>
                    <a:pt x="278" y="574"/>
                  </a:lnTo>
                  <a:lnTo>
                    <a:pt x="274" y="574"/>
                  </a:lnTo>
                  <a:lnTo>
                    <a:pt x="272" y="572"/>
                  </a:lnTo>
                  <a:lnTo>
                    <a:pt x="271" y="569"/>
                  </a:lnTo>
                  <a:lnTo>
                    <a:pt x="270" y="566"/>
                  </a:lnTo>
                  <a:lnTo>
                    <a:pt x="268" y="564"/>
                  </a:lnTo>
                  <a:lnTo>
                    <a:pt x="267" y="561"/>
                  </a:lnTo>
                  <a:lnTo>
                    <a:pt x="266" y="559"/>
                  </a:lnTo>
                  <a:lnTo>
                    <a:pt x="264" y="557"/>
                  </a:lnTo>
                  <a:lnTo>
                    <a:pt x="260" y="557"/>
                  </a:lnTo>
                  <a:lnTo>
                    <a:pt x="257" y="560"/>
                  </a:lnTo>
                  <a:lnTo>
                    <a:pt x="254" y="566"/>
                  </a:lnTo>
                  <a:lnTo>
                    <a:pt x="246" y="580"/>
                  </a:lnTo>
                  <a:lnTo>
                    <a:pt x="243" y="585"/>
                  </a:lnTo>
                  <a:lnTo>
                    <a:pt x="240" y="590"/>
                  </a:lnTo>
                  <a:lnTo>
                    <a:pt x="238" y="593"/>
                  </a:lnTo>
                  <a:lnTo>
                    <a:pt x="236" y="597"/>
                  </a:lnTo>
                  <a:lnTo>
                    <a:pt x="238" y="599"/>
                  </a:lnTo>
                  <a:lnTo>
                    <a:pt x="240" y="603"/>
                  </a:lnTo>
                  <a:lnTo>
                    <a:pt x="242" y="605"/>
                  </a:lnTo>
                  <a:lnTo>
                    <a:pt x="246" y="608"/>
                  </a:lnTo>
                  <a:lnTo>
                    <a:pt x="247" y="613"/>
                  </a:lnTo>
                  <a:lnTo>
                    <a:pt x="248" y="617"/>
                  </a:lnTo>
                  <a:lnTo>
                    <a:pt x="248" y="622"/>
                  </a:lnTo>
                  <a:lnTo>
                    <a:pt x="247" y="623"/>
                  </a:lnTo>
                  <a:lnTo>
                    <a:pt x="246" y="625"/>
                  </a:lnTo>
                  <a:lnTo>
                    <a:pt x="244" y="630"/>
                  </a:lnTo>
                  <a:lnTo>
                    <a:pt x="244" y="635"/>
                  </a:lnTo>
                  <a:lnTo>
                    <a:pt x="244" y="638"/>
                  </a:lnTo>
                  <a:lnTo>
                    <a:pt x="246" y="639"/>
                  </a:lnTo>
                  <a:lnTo>
                    <a:pt x="246" y="643"/>
                  </a:lnTo>
                  <a:lnTo>
                    <a:pt x="246" y="649"/>
                  </a:lnTo>
                  <a:lnTo>
                    <a:pt x="244" y="652"/>
                  </a:lnTo>
                  <a:lnTo>
                    <a:pt x="242" y="653"/>
                  </a:lnTo>
                  <a:lnTo>
                    <a:pt x="239" y="653"/>
                  </a:lnTo>
                  <a:lnTo>
                    <a:pt x="235" y="653"/>
                  </a:lnTo>
                  <a:lnTo>
                    <a:pt x="231" y="651"/>
                  </a:lnTo>
                  <a:lnTo>
                    <a:pt x="226" y="651"/>
                  </a:lnTo>
                  <a:lnTo>
                    <a:pt x="223" y="652"/>
                  </a:lnTo>
                  <a:lnTo>
                    <a:pt x="218" y="653"/>
                  </a:lnTo>
                  <a:lnTo>
                    <a:pt x="217" y="654"/>
                  </a:lnTo>
                  <a:lnTo>
                    <a:pt x="215" y="656"/>
                  </a:lnTo>
                  <a:lnTo>
                    <a:pt x="212" y="659"/>
                  </a:lnTo>
                  <a:lnTo>
                    <a:pt x="212" y="661"/>
                  </a:lnTo>
                  <a:lnTo>
                    <a:pt x="212" y="663"/>
                  </a:lnTo>
                  <a:lnTo>
                    <a:pt x="215" y="665"/>
                  </a:lnTo>
                  <a:lnTo>
                    <a:pt x="215" y="669"/>
                  </a:lnTo>
                  <a:lnTo>
                    <a:pt x="215" y="672"/>
                  </a:lnTo>
                  <a:lnTo>
                    <a:pt x="214" y="676"/>
                  </a:lnTo>
                  <a:lnTo>
                    <a:pt x="212" y="679"/>
                  </a:lnTo>
                  <a:lnTo>
                    <a:pt x="211" y="681"/>
                  </a:lnTo>
                  <a:lnTo>
                    <a:pt x="210" y="689"/>
                  </a:lnTo>
                  <a:lnTo>
                    <a:pt x="210" y="694"/>
                  </a:lnTo>
                  <a:lnTo>
                    <a:pt x="209" y="695"/>
                  </a:lnTo>
                  <a:lnTo>
                    <a:pt x="208" y="697"/>
                  </a:lnTo>
                  <a:lnTo>
                    <a:pt x="206" y="699"/>
                  </a:lnTo>
                  <a:lnTo>
                    <a:pt x="206" y="702"/>
                  </a:lnTo>
                  <a:lnTo>
                    <a:pt x="209" y="704"/>
                  </a:lnTo>
                  <a:lnTo>
                    <a:pt x="211" y="705"/>
                  </a:lnTo>
                  <a:lnTo>
                    <a:pt x="216" y="709"/>
                  </a:lnTo>
                  <a:lnTo>
                    <a:pt x="217" y="712"/>
                  </a:lnTo>
                  <a:lnTo>
                    <a:pt x="216" y="715"/>
                  </a:lnTo>
                  <a:lnTo>
                    <a:pt x="215" y="717"/>
                  </a:lnTo>
                  <a:lnTo>
                    <a:pt x="212" y="718"/>
                  </a:lnTo>
                  <a:lnTo>
                    <a:pt x="210" y="719"/>
                  </a:lnTo>
                  <a:lnTo>
                    <a:pt x="209" y="721"/>
                  </a:lnTo>
                  <a:lnTo>
                    <a:pt x="209" y="724"/>
                  </a:lnTo>
                  <a:lnTo>
                    <a:pt x="210" y="726"/>
                  </a:lnTo>
                  <a:lnTo>
                    <a:pt x="210" y="729"/>
                  </a:lnTo>
                  <a:lnTo>
                    <a:pt x="210" y="733"/>
                  </a:lnTo>
                  <a:lnTo>
                    <a:pt x="210" y="735"/>
                  </a:lnTo>
                  <a:lnTo>
                    <a:pt x="208" y="739"/>
                  </a:lnTo>
                  <a:lnTo>
                    <a:pt x="207" y="740"/>
                  </a:lnTo>
                  <a:lnTo>
                    <a:pt x="204" y="743"/>
                  </a:lnTo>
                  <a:lnTo>
                    <a:pt x="203" y="745"/>
                  </a:lnTo>
                  <a:lnTo>
                    <a:pt x="202" y="749"/>
                  </a:lnTo>
                  <a:lnTo>
                    <a:pt x="203" y="753"/>
                  </a:lnTo>
                  <a:lnTo>
                    <a:pt x="203" y="756"/>
                  </a:lnTo>
                  <a:lnTo>
                    <a:pt x="202" y="760"/>
                  </a:lnTo>
                  <a:lnTo>
                    <a:pt x="200" y="763"/>
                  </a:lnTo>
                  <a:lnTo>
                    <a:pt x="200" y="765"/>
                  </a:lnTo>
                  <a:lnTo>
                    <a:pt x="200" y="767"/>
                  </a:lnTo>
                  <a:lnTo>
                    <a:pt x="199" y="769"/>
                  </a:lnTo>
                  <a:lnTo>
                    <a:pt x="199" y="773"/>
                  </a:lnTo>
                  <a:lnTo>
                    <a:pt x="198" y="774"/>
                  </a:lnTo>
                  <a:lnTo>
                    <a:pt x="196" y="780"/>
                  </a:lnTo>
                  <a:lnTo>
                    <a:pt x="199" y="781"/>
                  </a:lnTo>
                  <a:lnTo>
                    <a:pt x="199" y="784"/>
                  </a:lnTo>
                  <a:lnTo>
                    <a:pt x="196" y="788"/>
                  </a:lnTo>
                  <a:lnTo>
                    <a:pt x="194" y="791"/>
                  </a:lnTo>
                  <a:lnTo>
                    <a:pt x="192" y="795"/>
                  </a:lnTo>
                  <a:lnTo>
                    <a:pt x="188" y="800"/>
                  </a:lnTo>
                  <a:lnTo>
                    <a:pt x="184" y="803"/>
                  </a:lnTo>
                  <a:lnTo>
                    <a:pt x="180" y="805"/>
                  </a:lnTo>
                  <a:lnTo>
                    <a:pt x="175" y="806"/>
                  </a:lnTo>
                  <a:lnTo>
                    <a:pt x="163" y="808"/>
                  </a:lnTo>
                  <a:lnTo>
                    <a:pt x="152" y="817"/>
                  </a:lnTo>
                  <a:lnTo>
                    <a:pt x="142" y="824"/>
                  </a:lnTo>
                  <a:lnTo>
                    <a:pt x="138" y="829"/>
                  </a:lnTo>
                  <a:lnTo>
                    <a:pt x="136" y="832"/>
                  </a:lnTo>
                  <a:lnTo>
                    <a:pt x="136" y="837"/>
                  </a:lnTo>
                  <a:lnTo>
                    <a:pt x="137" y="843"/>
                  </a:lnTo>
                  <a:lnTo>
                    <a:pt x="136" y="851"/>
                  </a:lnTo>
                  <a:lnTo>
                    <a:pt x="137" y="855"/>
                  </a:lnTo>
                  <a:lnTo>
                    <a:pt x="137" y="859"/>
                  </a:lnTo>
                  <a:lnTo>
                    <a:pt x="137" y="863"/>
                  </a:lnTo>
                  <a:lnTo>
                    <a:pt x="136" y="868"/>
                  </a:lnTo>
                  <a:lnTo>
                    <a:pt x="135" y="873"/>
                  </a:lnTo>
                  <a:lnTo>
                    <a:pt x="134" y="881"/>
                  </a:lnTo>
                  <a:lnTo>
                    <a:pt x="134" y="884"/>
                  </a:lnTo>
                  <a:lnTo>
                    <a:pt x="137" y="886"/>
                  </a:lnTo>
                  <a:lnTo>
                    <a:pt x="142" y="887"/>
                  </a:lnTo>
                  <a:lnTo>
                    <a:pt x="145" y="887"/>
                  </a:lnTo>
                  <a:lnTo>
                    <a:pt x="148" y="887"/>
                  </a:lnTo>
                  <a:lnTo>
                    <a:pt x="154" y="888"/>
                  </a:lnTo>
                  <a:lnTo>
                    <a:pt x="160" y="889"/>
                  </a:lnTo>
                  <a:lnTo>
                    <a:pt x="163" y="892"/>
                  </a:lnTo>
                  <a:lnTo>
                    <a:pt x="164" y="896"/>
                  </a:lnTo>
                  <a:lnTo>
                    <a:pt x="166" y="901"/>
                  </a:lnTo>
                  <a:lnTo>
                    <a:pt x="164" y="911"/>
                  </a:lnTo>
                  <a:lnTo>
                    <a:pt x="164" y="919"/>
                  </a:lnTo>
                  <a:lnTo>
                    <a:pt x="164" y="927"/>
                  </a:lnTo>
                  <a:lnTo>
                    <a:pt x="164" y="934"/>
                  </a:lnTo>
                  <a:lnTo>
                    <a:pt x="166" y="940"/>
                  </a:lnTo>
                  <a:lnTo>
                    <a:pt x="168" y="944"/>
                  </a:lnTo>
                  <a:lnTo>
                    <a:pt x="168" y="947"/>
                  </a:lnTo>
                  <a:lnTo>
                    <a:pt x="170" y="952"/>
                  </a:lnTo>
                  <a:lnTo>
                    <a:pt x="169" y="955"/>
                  </a:lnTo>
                  <a:lnTo>
                    <a:pt x="163" y="959"/>
                  </a:lnTo>
                  <a:lnTo>
                    <a:pt x="159" y="961"/>
                  </a:lnTo>
                  <a:lnTo>
                    <a:pt x="155" y="963"/>
                  </a:lnTo>
                  <a:lnTo>
                    <a:pt x="152" y="964"/>
                  </a:lnTo>
                  <a:lnTo>
                    <a:pt x="151" y="966"/>
                  </a:lnTo>
                  <a:lnTo>
                    <a:pt x="147" y="968"/>
                  </a:lnTo>
                  <a:lnTo>
                    <a:pt x="146" y="973"/>
                  </a:lnTo>
                  <a:lnTo>
                    <a:pt x="145" y="977"/>
                  </a:lnTo>
                  <a:lnTo>
                    <a:pt x="147" y="982"/>
                  </a:lnTo>
                  <a:lnTo>
                    <a:pt x="150" y="982"/>
                  </a:lnTo>
                  <a:lnTo>
                    <a:pt x="151" y="983"/>
                  </a:lnTo>
                  <a:lnTo>
                    <a:pt x="153" y="983"/>
                  </a:lnTo>
                  <a:lnTo>
                    <a:pt x="160" y="982"/>
                  </a:lnTo>
                  <a:lnTo>
                    <a:pt x="164" y="979"/>
                  </a:lnTo>
                  <a:lnTo>
                    <a:pt x="169" y="975"/>
                  </a:lnTo>
                  <a:lnTo>
                    <a:pt x="174" y="973"/>
                  </a:lnTo>
                  <a:lnTo>
                    <a:pt x="178" y="969"/>
                  </a:lnTo>
                  <a:lnTo>
                    <a:pt x="183" y="971"/>
                  </a:lnTo>
                  <a:lnTo>
                    <a:pt x="186" y="971"/>
                  </a:lnTo>
                  <a:lnTo>
                    <a:pt x="190" y="972"/>
                  </a:lnTo>
                  <a:lnTo>
                    <a:pt x="191" y="974"/>
                  </a:lnTo>
                  <a:lnTo>
                    <a:pt x="191" y="979"/>
                  </a:lnTo>
                  <a:lnTo>
                    <a:pt x="188" y="984"/>
                  </a:lnTo>
                  <a:lnTo>
                    <a:pt x="186" y="988"/>
                  </a:lnTo>
                  <a:lnTo>
                    <a:pt x="185" y="992"/>
                  </a:lnTo>
                  <a:lnTo>
                    <a:pt x="184" y="996"/>
                  </a:lnTo>
                  <a:lnTo>
                    <a:pt x="183" y="1003"/>
                  </a:lnTo>
                  <a:lnTo>
                    <a:pt x="182" y="1006"/>
                  </a:lnTo>
                  <a:lnTo>
                    <a:pt x="180" y="1011"/>
                  </a:lnTo>
                  <a:lnTo>
                    <a:pt x="179" y="1015"/>
                  </a:lnTo>
                  <a:lnTo>
                    <a:pt x="178" y="1022"/>
                  </a:lnTo>
                  <a:lnTo>
                    <a:pt x="177" y="1025"/>
                  </a:lnTo>
                  <a:lnTo>
                    <a:pt x="177" y="1032"/>
                  </a:lnTo>
                  <a:lnTo>
                    <a:pt x="178" y="1043"/>
                  </a:lnTo>
                  <a:lnTo>
                    <a:pt x="178" y="1049"/>
                  </a:lnTo>
                  <a:lnTo>
                    <a:pt x="178" y="1055"/>
                  </a:lnTo>
                  <a:lnTo>
                    <a:pt x="176" y="1064"/>
                  </a:lnTo>
                  <a:lnTo>
                    <a:pt x="175" y="1068"/>
                  </a:lnTo>
                  <a:lnTo>
                    <a:pt x="170" y="1070"/>
                  </a:lnTo>
                  <a:lnTo>
                    <a:pt x="167" y="1070"/>
                  </a:lnTo>
                  <a:lnTo>
                    <a:pt x="163" y="1069"/>
                  </a:lnTo>
                  <a:lnTo>
                    <a:pt x="160" y="1068"/>
                  </a:lnTo>
                  <a:lnTo>
                    <a:pt x="153" y="1068"/>
                  </a:lnTo>
                  <a:lnTo>
                    <a:pt x="145" y="1071"/>
                  </a:lnTo>
                  <a:lnTo>
                    <a:pt x="142" y="1073"/>
                  </a:lnTo>
                  <a:lnTo>
                    <a:pt x="137" y="1073"/>
                  </a:lnTo>
                  <a:lnTo>
                    <a:pt x="132" y="1072"/>
                  </a:lnTo>
                  <a:lnTo>
                    <a:pt x="127" y="1072"/>
                  </a:lnTo>
                  <a:lnTo>
                    <a:pt x="123" y="1073"/>
                  </a:lnTo>
                  <a:lnTo>
                    <a:pt x="123" y="1076"/>
                  </a:lnTo>
                  <a:lnTo>
                    <a:pt x="124" y="1080"/>
                  </a:lnTo>
                  <a:lnTo>
                    <a:pt x="126" y="1081"/>
                  </a:lnTo>
                  <a:lnTo>
                    <a:pt x="127" y="1083"/>
                  </a:lnTo>
                  <a:lnTo>
                    <a:pt x="127" y="1085"/>
                  </a:lnTo>
                  <a:lnTo>
                    <a:pt x="127" y="1087"/>
                  </a:lnTo>
                  <a:lnTo>
                    <a:pt x="127" y="1089"/>
                  </a:lnTo>
                  <a:lnTo>
                    <a:pt x="124" y="1092"/>
                  </a:lnTo>
                  <a:lnTo>
                    <a:pt x="124" y="1096"/>
                  </a:lnTo>
                  <a:lnTo>
                    <a:pt x="127" y="1101"/>
                  </a:lnTo>
                  <a:lnTo>
                    <a:pt x="129" y="1102"/>
                  </a:lnTo>
                  <a:lnTo>
                    <a:pt x="131" y="1102"/>
                  </a:lnTo>
                  <a:lnTo>
                    <a:pt x="135" y="1102"/>
                  </a:lnTo>
                  <a:lnTo>
                    <a:pt x="140" y="1102"/>
                  </a:lnTo>
                  <a:lnTo>
                    <a:pt x="143" y="1102"/>
                  </a:lnTo>
                  <a:lnTo>
                    <a:pt x="146" y="1102"/>
                  </a:lnTo>
                  <a:lnTo>
                    <a:pt x="150" y="1102"/>
                  </a:lnTo>
                  <a:lnTo>
                    <a:pt x="152" y="1103"/>
                  </a:lnTo>
                  <a:lnTo>
                    <a:pt x="154" y="1104"/>
                  </a:lnTo>
                  <a:lnTo>
                    <a:pt x="156" y="1105"/>
                  </a:lnTo>
                  <a:lnTo>
                    <a:pt x="159" y="1108"/>
                  </a:lnTo>
                  <a:lnTo>
                    <a:pt x="160" y="1111"/>
                  </a:lnTo>
                  <a:lnTo>
                    <a:pt x="161" y="1113"/>
                  </a:lnTo>
                  <a:lnTo>
                    <a:pt x="162" y="1116"/>
                  </a:lnTo>
                  <a:lnTo>
                    <a:pt x="163" y="1119"/>
                  </a:lnTo>
                  <a:lnTo>
                    <a:pt x="163" y="1121"/>
                  </a:lnTo>
                  <a:lnTo>
                    <a:pt x="164" y="1126"/>
                  </a:lnTo>
                  <a:lnTo>
                    <a:pt x="164" y="1129"/>
                  </a:lnTo>
                  <a:lnTo>
                    <a:pt x="163" y="1134"/>
                  </a:lnTo>
                  <a:lnTo>
                    <a:pt x="163" y="1136"/>
                  </a:lnTo>
                  <a:lnTo>
                    <a:pt x="163" y="1140"/>
                  </a:lnTo>
                  <a:lnTo>
                    <a:pt x="163" y="1144"/>
                  </a:lnTo>
                  <a:lnTo>
                    <a:pt x="163" y="1147"/>
                  </a:lnTo>
                  <a:lnTo>
                    <a:pt x="163" y="1150"/>
                  </a:lnTo>
                  <a:lnTo>
                    <a:pt x="163" y="1153"/>
                  </a:lnTo>
                  <a:lnTo>
                    <a:pt x="163" y="1155"/>
                  </a:lnTo>
                  <a:lnTo>
                    <a:pt x="162" y="1157"/>
                  </a:lnTo>
                  <a:lnTo>
                    <a:pt x="161" y="1160"/>
                  </a:lnTo>
                  <a:lnTo>
                    <a:pt x="158" y="1164"/>
                  </a:lnTo>
                  <a:lnTo>
                    <a:pt x="155" y="1165"/>
                  </a:lnTo>
                  <a:lnTo>
                    <a:pt x="154" y="1165"/>
                  </a:lnTo>
                  <a:lnTo>
                    <a:pt x="152" y="1164"/>
                  </a:lnTo>
                  <a:lnTo>
                    <a:pt x="151" y="1164"/>
                  </a:lnTo>
                  <a:lnTo>
                    <a:pt x="150" y="1163"/>
                  </a:lnTo>
                  <a:lnTo>
                    <a:pt x="147" y="1160"/>
                  </a:lnTo>
                  <a:lnTo>
                    <a:pt x="145" y="1158"/>
                  </a:lnTo>
                  <a:lnTo>
                    <a:pt x="142" y="1157"/>
                  </a:lnTo>
                  <a:lnTo>
                    <a:pt x="139" y="1156"/>
                  </a:lnTo>
                  <a:lnTo>
                    <a:pt x="137" y="1155"/>
                  </a:lnTo>
                  <a:lnTo>
                    <a:pt x="134" y="1155"/>
                  </a:lnTo>
                  <a:lnTo>
                    <a:pt x="131" y="1156"/>
                  </a:lnTo>
                  <a:lnTo>
                    <a:pt x="130" y="1158"/>
                  </a:lnTo>
                  <a:lnTo>
                    <a:pt x="130" y="1160"/>
                  </a:lnTo>
                  <a:lnTo>
                    <a:pt x="130" y="1163"/>
                  </a:lnTo>
                  <a:lnTo>
                    <a:pt x="131" y="1165"/>
                  </a:lnTo>
                  <a:lnTo>
                    <a:pt x="136" y="1169"/>
                  </a:lnTo>
                  <a:lnTo>
                    <a:pt x="142" y="1171"/>
                  </a:lnTo>
                  <a:lnTo>
                    <a:pt x="146" y="1174"/>
                  </a:lnTo>
                  <a:lnTo>
                    <a:pt x="148" y="1176"/>
                  </a:lnTo>
                  <a:lnTo>
                    <a:pt x="148" y="1180"/>
                  </a:lnTo>
                  <a:lnTo>
                    <a:pt x="148" y="1181"/>
                  </a:lnTo>
                  <a:lnTo>
                    <a:pt x="148" y="1184"/>
                  </a:lnTo>
                  <a:lnTo>
                    <a:pt x="147" y="1185"/>
                  </a:lnTo>
                  <a:lnTo>
                    <a:pt x="144" y="1188"/>
                  </a:lnTo>
                  <a:lnTo>
                    <a:pt x="139" y="1191"/>
                  </a:lnTo>
                  <a:lnTo>
                    <a:pt x="136" y="1193"/>
                  </a:lnTo>
                  <a:lnTo>
                    <a:pt x="132" y="1195"/>
                  </a:lnTo>
                  <a:lnTo>
                    <a:pt x="131" y="1197"/>
                  </a:lnTo>
                  <a:lnTo>
                    <a:pt x="131" y="1199"/>
                  </a:lnTo>
                  <a:lnTo>
                    <a:pt x="134" y="1201"/>
                  </a:lnTo>
                  <a:lnTo>
                    <a:pt x="137" y="1204"/>
                  </a:lnTo>
                  <a:lnTo>
                    <a:pt x="143" y="1205"/>
                  </a:lnTo>
                  <a:lnTo>
                    <a:pt x="147" y="1206"/>
                  </a:lnTo>
                  <a:lnTo>
                    <a:pt x="151" y="1204"/>
                  </a:lnTo>
                  <a:lnTo>
                    <a:pt x="151" y="1200"/>
                  </a:lnTo>
                  <a:lnTo>
                    <a:pt x="150" y="1198"/>
                  </a:lnTo>
                  <a:lnTo>
                    <a:pt x="147" y="1197"/>
                  </a:lnTo>
                  <a:lnTo>
                    <a:pt x="147" y="1195"/>
                  </a:lnTo>
                  <a:lnTo>
                    <a:pt x="147" y="1192"/>
                  </a:lnTo>
                  <a:lnTo>
                    <a:pt x="148" y="1191"/>
                  </a:lnTo>
                  <a:lnTo>
                    <a:pt x="152" y="1190"/>
                  </a:lnTo>
                  <a:lnTo>
                    <a:pt x="154" y="1188"/>
                  </a:lnTo>
                  <a:lnTo>
                    <a:pt x="158" y="1188"/>
                  </a:lnTo>
                  <a:lnTo>
                    <a:pt x="160" y="1188"/>
                  </a:lnTo>
                  <a:lnTo>
                    <a:pt x="161" y="1189"/>
                  </a:lnTo>
                  <a:lnTo>
                    <a:pt x="162" y="1191"/>
                  </a:lnTo>
                  <a:lnTo>
                    <a:pt x="162" y="1193"/>
                  </a:lnTo>
                  <a:lnTo>
                    <a:pt x="164" y="1196"/>
                  </a:lnTo>
                  <a:lnTo>
                    <a:pt x="166" y="1198"/>
                  </a:lnTo>
                  <a:lnTo>
                    <a:pt x="168" y="1201"/>
                  </a:lnTo>
                  <a:lnTo>
                    <a:pt x="169" y="1204"/>
                  </a:lnTo>
                  <a:lnTo>
                    <a:pt x="171" y="1208"/>
                  </a:lnTo>
                  <a:lnTo>
                    <a:pt x="172" y="1217"/>
                  </a:lnTo>
                  <a:lnTo>
                    <a:pt x="174" y="1220"/>
                  </a:lnTo>
                  <a:lnTo>
                    <a:pt x="176" y="1221"/>
                  </a:lnTo>
                  <a:lnTo>
                    <a:pt x="180" y="1224"/>
                  </a:lnTo>
                  <a:lnTo>
                    <a:pt x="186" y="1224"/>
                  </a:lnTo>
                  <a:lnTo>
                    <a:pt x="192" y="1225"/>
                  </a:lnTo>
                  <a:lnTo>
                    <a:pt x="196" y="1229"/>
                  </a:lnTo>
                  <a:lnTo>
                    <a:pt x="199" y="1233"/>
                  </a:lnTo>
                  <a:lnTo>
                    <a:pt x="199" y="1237"/>
                  </a:lnTo>
                  <a:lnTo>
                    <a:pt x="194" y="1241"/>
                  </a:lnTo>
                  <a:lnTo>
                    <a:pt x="192" y="1243"/>
                  </a:lnTo>
                  <a:lnTo>
                    <a:pt x="191" y="1245"/>
                  </a:lnTo>
                  <a:lnTo>
                    <a:pt x="191" y="1249"/>
                  </a:lnTo>
                  <a:lnTo>
                    <a:pt x="193" y="1253"/>
                  </a:lnTo>
                  <a:lnTo>
                    <a:pt x="198" y="1254"/>
                  </a:lnTo>
                  <a:lnTo>
                    <a:pt x="200" y="1254"/>
                  </a:lnTo>
                  <a:lnTo>
                    <a:pt x="206" y="1254"/>
                  </a:lnTo>
                  <a:lnTo>
                    <a:pt x="210" y="1254"/>
                  </a:lnTo>
                  <a:lnTo>
                    <a:pt x="216" y="1257"/>
                  </a:lnTo>
                  <a:lnTo>
                    <a:pt x="219" y="1261"/>
                  </a:lnTo>
                  <a:lnTo>
                    <a:pt x="222" y="1263"/>
                  </a:lnTo>
                  <a:lnTo>
                    <a:pt x="224" y="1265"/>
                  </a:lnTo>
                  <a:lnTo>
                    <a:pt x="226" y="1267"/>
                  </a:lnTo>
                  <a:lnTo>
                    <a:pt x="230" y="1267"/>
                  </a:lnTo>
                  <a:lnTo>
                    <a:pt x="233" y="1267"/>
                  </a:lnTo>
                  <a:lnTo>
                    <a:pt x="239" y="1267"/>
                  </a:lnTo>
                  <a:lnTo>
                    <a:pt x="242" y="1268"/>
                  </a:lnTo>
                  <a:lnTo>
                    <a:pt x="246" y="1271"/>
                  </a:lnTo>
                  <a:lnTo>
                    <a:pt x="248" y="1276"/>
                  </a:lnTo>
                  <a:lnTo>
                    <a:pt x="249" y="1277"/>
                  </a:lnTo>
                  <a:lnTo>
                    <a:pt x="252" y="1279"/>
                  </a:lnTo>
                  <a:lnTo>
                    <a:pt x="255" y="1280"/>
                  </a:lnTo>
                  <a:lnTo>
                    <a:pt x="259" y="1284"/>
                  </a:lnTo>
                  <a:lnTo>
                    <a:pt x="263" y="1286"/>
                  </a:lnTo>
                  <a:lnTo>
                    <a:pt x="263" y="1291"/>
                  </a:lnTo>
                  <a:lnTo>
                    <a:pt x="259" y="1295"/>
                  </a:lnTo>
                  <a:lnTo>
                    <a:pt x="255" y="1300"/>
                  </a:lnTo>
                  <a:lnTo>
                    <a:pt x="250" y="1300"/>
                  </a:lnTo>
                  <a:lnTo>
                    <a:pt x="243" y="1301"/>
                  </a:lnTo>
                  <a:lnTo>
                    <a:pt x="239" y="1301"/>
                  </a:lnTo>
                  <a:lnTo>
                    <a:pt x="235" y="1302"/>
                  </a:lnTo>
                  <a:lnTo>
                    <a:pt x="234" y="1303"/>
                  </a:lnTo>
                  <a:lnTo>
                    <a:pt x="233" y="1308"/>
                  </a:lnTo>
                  <a:lnTo>
                    <a:pt x="236" y="1311"/>
                  </a:lnTo>
                  <a:lnTo>
                    <a:pt x="240" y="1313"/>
                  </a:lnTo>
                  <a:lnTo>
                    <a:pt x="244" y="1318"/>
                  </a:lnTo>
                  <a:lnTo>
                    <a:pt x="246" y="1321"/>
                  </a:lnTo>
                  <a:lnTo>
                    <a:pt x="246" y="1325"/>
                  </a:lnTo>
                  <a:lnTo>
                    <a:pt x="243" y="1328"/>
                  </a:lnTo>
                  <a:lnTo>
                    <a:pt x="238" y="1331"/>
                  </a:lnTo>
                  <a:lnTo>
                    <a:pt x="233" y="1334"/>
                  </a:lnTo>
                  <a:lnTo>
                    <a:pt x="226" y="1339"/>
                  </a:lnTo>
                  <a:lnTo>
                    <a:pt x="219" y="1342"/>
                  </a:lnTo>
                  <a:lnTo>
                    <a:pt x="215" y="1345"/>
                  </a:lnTo>
                  <a:lnTo>
                    <a:pt x="211" y="1345"/>
                  </a:lnTo>
                  <a:lnTo>
                    <a:pt x="207" y="1343"/>
                  </a:lnTo>
                  <a:lnTo>
                    <a:pt x="204" y="1341"/>
                  </a:lnTo>
                  <a:lnTo>
                    <a:pt x="203" y="1337"/>
                  </a:lnTo>
                  <a:lnTo>
                    <a:pt x="201" y="1334"/>
                  </a:lnTo>
                  <a:lnTo>
                    <a:pt x="200" y="1332"/>
                  </a:lnTo>
                  <a:lnTo>
                    <a:pt x="199" y="1329"/>
                  </a:lnTo>
                  <a:lnTo>
                    <a:pt x="194" y="1328"/>
                  </a:lnTo>
                  <a:lnTo>
                    <a:pt x="192" y="1329"/>
                  </a:lnTo>
                  <a:lnTo>
                    <a:pt x="188" y="1329"/>
                  </a:lnTo>
                  <a:lnTo>
                    <a:pt x="186" y="1329"/>
                  </a:lnTo>
                  <a:lnTo>
                    <a:pt x="183" y="1328"/>
                  </a:lnTo>
                  <a:lnTo>
                    <a:pt x="182" y="1327"/>
                  </a:lnTo>
                  <a:lnTo>
                    <a:pt x="178" y="1326"/>
                  </a:lnTo>
                  <a:lnTo>
                    <a:pt x="176" y="1326"/>
                  </a:lnTo>
                  <a:lnTo>
                    <a:pt x="171" y="1326"/>
                  </a:lnTo>
                  <a:lnTo>
                    <a:pt x="166" y="1326"/>
                  </a:lnTo>
                  <a:lnTo>
                    <a:pt x="162" y="1326"/>
                  </a:lnTo>
                  <a:lnTo>
                    <a:pt x="158" y="1327"/>
                  </a:lnTo>
                  <a:lnTo>
                    <a:pt x="155" y="1327"/>
                  </a:lnTo>
                  <a:lnTo>
                    <a:pt x="153" y="1328"/>
                  </a:lnTo>
                  <a:lnTo>
                    <a:pt x="147" y="1331"/>
                  </a:lnTo>
                  <a:lnTo>
                    <a:pt x="142" y="1332"/>
                  </a:lnTo>
                  <a:lnTo>
                    <a:pt x="137" y="1334"/>
                  </a:lnTo>
                  <a:lnTo>
                    <a:pt x="131" y="1337"/>
                  </a:lnTo>
                  <a:lnTo>
                    <a:pt x="128" y="1340"/>
                  </a:lnTo>
                  <a:lnTo>
                    <a:pt x="121" y="1349"/>
                  </a:lnTo>
                  <a:lnTo>
                    <a:pt x="118" y="1355"/>
                  </a:lnTo>
                  <a:lnTo>
                    <a:pt x="115" y="1361"/>
                  </a:lnTo>
                  <a:lnTo>
                    <a:pt x="113" y="1367"/>
                  </a:lnTo>
                  <a:lnTo>
                    <a:pt x="112" y="1377"/>
                  </a:lnTo>
                  <a:lnTo>
                    <a:pt x="111" y="1382"/>
                  </a:lnTo>
                  <a:lnTo>
                    <a:pt x="108" y="1388"/>
                  </a:lnTo>
                  <a:lnTo>
                    <a:pt x="107" y="1391"/>
                  </a:lnTo>
                  <a:lnTo>
                    <a:pt x="106" y="1393"/>
                  </a:lnTo>
                  <a:lnTo>
                    <a:pt x="99" y="1397"/>
                  </a:lnTo>
                  <a:lnTo>
                    <a:pt x="98" y="1398"/>
                  </a:lnTo>
                  <a:lnTo>
                    <a:pt x="98" y="1399"/>
                  </a:lnTo>
                  <a:lnTo>
                    <a:pt x="87" y="1414"/>
                  </a:lnTo>
                  <a:lnTo>
                    <a:pt x="81" y="1417"/>
                  </a:lnTo>
                  <a:lnTo>
                    <a:pt x="78" y="1421"/>
                  </a:lnTo>
                  <a:lnTo>
                    <a:pt x="76" y="1428"/>
                  </a:lnTo>
                  <a:lnTo>
                    <a:pt x="78" y="1433"/>
                  </a:lnTo>
                  <a:lnTo>
                    <a:pt x="81" y="1436"/>
                  </a:lnTo>
                  <a:lnTo>
                    <a:pt x="83" y="1441"/>
                  </a:lnTo>
                  <a:lnTo>
                    <a:pt x="89" y="1447"/>
                  </a:lnTo>
                  <a:lnTo>
                    <a:pt x="92" y="1451"/>
                  </a:lnTo>
                  <a:lnTo>
                    <a:pt x="96" y="1455"/>
                  </a:lnTo>
                  <a:lnTo>
                    <a:pt x="102" y="1462"/>
                  </a:lnTo>
                  <a:lnTo>
                    <a:pt x="102" y="1465"/>
                  </a:lnTo>
                  <a:lnTo>
                    <a:pt x="99" y="1471"/>
                  </a:lnTo>
                  <a:lnTo>
                    <a:pt x="97" y="1475"/>
                  </a:lnTo>
                  <a:lnTo>
                    <a:pt x="92" y="1476"/>
                  </a:lnTo>
                  <a:lnTo>
                    <a:pt x="90" y="1478"/>
                  </a:lnTo>
                  <a:lnTo>
                    <a:pt x="87" y="1479"/>
                  </a:lnTo>
                  <a:lnTo>
                    <a:pt x="83" y="1480"/>
                  </a:lnTo>
                  <a:lnTo>
                    <a:pt x="80" y="1480"/>
                  </a:lnTo>
                  <a:lnTo>
                    <a:pt x="76" y="1480"/>
                  </a:lnTo>
                  <a:lnTo>
                    <a:pt x="74" y="1481"/>
                  </a:lnTo>
                  <a:lnTo>
                    <a:pt x="71" y="1484"/>
                  </a:lnTo>
                  <a:lnTo>
                    <a:pt x="70" y="1487"/>
                  </a:lnTo>
                  <a:lnTo>
                    <a:pt x="71" y="1492"/>
                  </a:lnTo>
                  <a:lnTo>
                    <a:pt x="72" y="1495"/>
                  </a:lnTo>
                  <a:lnTo>
                    <a:pt x="72" y="1496"/>
                  </a:lnTo>
                  <a:lnTo>
                    <a:pt x="71" y="1499"/>
                  </a:lnTo>
                  <a:lnTo>
                    <a:pt x="66" y="1499"/>
                  </a:lnTo>
                  <a:lnTo>
                    <a:pt x="62" y="1500"/>
                  </a:lnTo>
                  <a:lnTo>
                    <a:pt x="59" y="1500"/>
                  </a:lnTo>
                  <a:lnTo>
                    <a:pt x="56" y="1500"/>
                  </a:lnTo>
                  <a:lnTo>
                    <a:pt x="49" y="1499"/>
                  </a:lnTo>
                  <a:lnTo>
                    <a:pt x="44" y="1497"/>
                  </a:lnTo>
                  <a:lnTo>
                    <a:pt x="41" y="1496"/>
                  </a:lnTo>
                  <a:lnTo>
                    <a:pt x="34" y="1493"/>
                  </a:lnTo>
                  <a:lnTo>
                    <a:pt x="30" y="1491"/>
                  </a:lnTo>
                  <a:lnTo>
                    <a:pt x="25" y="1487"/>
                  </a:lnTo>
                  <a:lnTo>
                    <a:pt x="17" y="1484"/>
                  </a:lnTo>
                  <a:lnTo>
                    <a:pt x="12" y="1481"/>
                  </a:lnTo>
                  <a:lnTo>
                    <a:pt x="10" y="1479"/>
                  </a:lnTo>
                  <a:lnTo>
                    <a:pt x="8" y="1478"/>
                  </a:lnTo>
                  <a:lnTo>
                    <a:pt x="3" y="1477"/>
                  </a:lnTo>
                  <a:lnTo>
                    <a:pt x="1" y="1477"/>
                  </a:lnTo>
                  <a:lnTo>
                    <a:pt x="0" y="1479"/>
                  </a:lnTo>
                  <a:lnTo>
                    <a:pt x="0" y="1484"/>
                  </a:lnTo>
                  <a:lnTo>
                    <a:pt x="6" y="1491"/>
                  </a:lnTo>
                  <a:lnTo>
                    <a:pt x="12" y="1494"/>
                  </a:lnTo>
                  <a:lnTo>
                    <a:pt x="18" y="1496"/>
                  </a:lnTo>
                  <a:lnTo>
                    <a:pt x="22" y="1500"/>
                  </a:lnTo>
                  <a:lnTo>
                    <a:pt x="26" y="1504"/>
                  </a:lnTo>
                  <a:lnTo>
                    <a:pt x="30" y="1507"/>
                  </a:lnTo>
                  <a:lnTo>
                    <a:pt x="34" y="1510"/>
                  </a:lnTo>
                  <a:lnTo>
                    <a:pt x="39" y="1511"/>
                  </a:lnTo>
                  <a:lnTo>
                    <a:pt x="43" y="1512"/>
                  </a:lnTo>
                  <a:lnTo>
                    <a:pt x="49" y="1512"/>
                  </a:lnTo>
                  <a:lnTo>
                    <a:pt x="55" y="1512"/>
                  </a:lnTo>
                  <a:lnTo>
                    <a:pt x="59" y="1512"/>
                  </a:lnTo>
                  <a:lnTo>
                    <a:pt x="64" y="1511"/>
                  </a:lnTo>
                  <a:lnTo>
                    <a:pt x="72" y="1510"/>
                  </a:lnTo>
                  <a:lnTo>
                    <a:pt x="74" y="1511"/>
                  </a:lnTo>
                  <a:lnTo>
                    <a:pt x="80" y="1511"/>
                  </a:lnTo>
                  <a:lnTo>
                    <a:pt x="83" y="1513"/>
                  </a:lnTo>
                  <a:lnTo>
                    <a:pt x="87" y="1517"/>
                  </a:lnTo>
                  <a:lnTo>
                    <a:pt x="88" y="1521"/>
                  </a:lnTo>
                  <a:lnTo>
                    <a:pt x="90" y="1528"/>
                  </a:lnTo>
                  <a:lnTo>
                    <a:pt x="91" y="1532"/>
                  </a:lnTo>
                  <a:lnTo>
                    <a:pt x="97" y="1535"/>
                  </a:lnTo>
                  <a:lnTo>
                    <a:pt x="102" y="1535"/>
                  </a:lnTo>
                  <a:lnTo>
                    <a:pt x="107" y="1533"/>
                  </a:lnTo>
                  <a:lnTo>
                    <a:pt x="114" y="1531"/>
                  </a:lnTo>
                  <a:lnTo>
                    <a:pt x="121" y="1528"/>
                  </a:lnTo>
                  <a:lnTo>
                    <a:pt x="130" y="1527"/>
                  </a:lnTo>
                  <a:lnTo>
                    <a:pt x="137" y="1525"/>
                  </a:lnTo>
                  <a:lnTo>
                    <a:pt x="144" y="1526"/>
                  </a:lnTo>
                  <a:lnTo>
                    <a:pt x="148" y="1528"/>
                  </a:lnTo>
                  <a:lnTo>
                    <a:pt x="154" y="1529"/>
                  </a:lnTo>
                  <a:lnTo>
                    <a:pt x="198" y="1568"/>
                  </a:lnTo>
                  <a:lnTo>
                    <a:pt x="211" y="1580"/>
                  </a:lnTo>
                  <a:lnTo>
                    <a:pt x="215" y="1584"/>
                  </a:lnTo>
                  <a:lnTo>
                    <a:pt x="216" y="1588"/>
                  </a:lnTo>
                  <a:lnTo>
                    <a:pt x="217" y="1595"/>
                  </a:lnTo>
                  <a:lnTo>
                    <a:pt x="218" y="1599"/>
                  </a:lnTo>
                  <a:lnTo>
                    <a:pt x="222" y="1605"/>
                  </a:lnTo>
                  <a:lnTo>
                    <a:pt x="226" y="1611"/>
                  </a:lnTo>
                  <a:lnTo>
                    <a:pt x="230" y="1616"/>
                  </a:lnTo>
                  <a:lnTo>
                    <a:pt x="230" y="1620"/>
                  </a:lnTo>
                  <a:lnTo>
                    <a:pt x="228" y="1625"/>
                  </a:lnTo>
                  <a:lnTo>
                    <a:pt x="224" y="1629"/>
                  </a:lnTo>
                  <a:lnTo>
                    <a:pt x="220" y="1630"/>
                  </a:lnTo>
                  <a:lnTo>
                    <a:pt x="215" y="1633"/>
                  </a:lnTo>
                  <a:lnTo>
                    <a:pt x="215" y="1637"/>
                  </a:lnTo>
                  <a:lnTo>
                    <a:pt x="216" y="1640"/>
                  </a:lnTo>
                  <a:lnTo>
                    <a:pt x="218" y="1644"/>
                  </a:lnTo>
                  <a:lnTo>
                    <a:pt x="223" y="1646"/>
                  </a:lnTo>
                  <a:lnTo>
                    <a:pt x="227" y="1647"/>
                  </a:lnTo>
                  <a:lnTo>
                    <a:pt x="232" y="1647"/>
                  </a:lnTo>
                  <a:lnTo>
                    <a:pt x="235" y="1646"/>
                  </a:lnTo>
                  <a:lnTo>
                    <a:pt x="239" y="1640"/>
                  </a:lnTo>
                  <a:lnTo>
                    <a:pt x="240" y="1631"/>
                  </a:lnTo>
                  <a:lnTo>
                    <a:pt x="242" y="1625"/>
                  </a:lnTo>
                  <a:lnTo>
                    <a:pt x="244" y="1624"/>
                  </a:lnTo>
                  <a:lnTo>
                    <a:pt x="248" y="1630"/>
                  </a:lnTo>
                  <a:lnTo>
                    <a:pt x="249" y="1635"/>
                  </a:lnTo>
                  <a:lnTo>
                    <a:pt x="250" y="1639"/>
                  </a:lnTo>
                  <a:lnTo>
                    <a:pt x="250" y="1645"/>
                  </a:lnTo>
                  <a:lnTo>
                    <a:pt x="252" y="1649"/>
                  </a:lnTo>
                  <a:lnTo>
                    <a:pt x="255" y="1652"/>
                  </a:lnTo>
                  <a:lnTo>
                    <a:pt x="256" y="1654"/>
                  </a:lnTo>
                  <a:lnTo>
                    <a:pt x="259" y="1655"/>
                  </a:lnTo>
                  <a:lnTo>
                    <a:pt x="264" y="1656"/>
                  </a:lnTo>
                  <a:lnTo>
                    <a:pt x="268" y="1656"/>
                  </a:lnTo>
                  <a:lnTo>
                    <a:pt x="276" y="1649"/>
                  </a:lnTo>
                  <a:lnTo>
                    <a:pt x="280" y="1646"/>
                  </a:lnTo>
                  <a:lnTo>
                    <a:pt x="283" y="1645"/>
                  </a:lnTo>
                  <a:lnTo>
                    <a:pt x="284" y="1649"/>
                  </a:lnTo>
                  <a:lnTo>
                    <a:pt x="281" y="1659"/>
                  </a:lnTo>
                  <a:lnTo>
                    <a:pt x="279" y="1663"/>
                  </a:lnTo>
                  <a:lnTo>
                    <a:pt x="278" y="1669"/>
                  </a:lnTo>
                  <a:lnTo>
                    <a:pt x="278" y="1676"/>
                  </a:lnTo>
                  <a:lnTo>
                    <a:pt x="281" y="1683"/>
                  </a:lnTo>
                  <a:lnTo>
                    <a:pt x="283" y="1689"/>
                  </a:lnTo>
                  <a:lnTo>
                    <a:pt x="287" y="1694"/>
                  </a:lnTo>
                  <a:lnTo>
                    <a:pt x="289" y="1700"/>
                  </a:lnTo>
                  <a:lnTo>
                    <a:pt x="291" y="1704"/>
                  </a:lnTo>
                  <a:lnTo>
                    <a:pt x="291" y="1713"/>
                  </a:lnTo>
                  <a:lnTo>
                    <a:pt x="291" y="1719"/>
                  </a:lnTo>
                  <a:lnTo>
                    <a:pt x="291" y="1726"/>
                  </a:lnTo>
                  <a:lnTo>
                    <a:pt x="289" y="1733"/>
                  </a:lnTo>
                  <a:lnTo>
                    <a:pt x="290" y="1747"/>
                  </a:lnTo>
                  <a:lnTo>
                    <a:pt x="291" y="1751"/>
                  </a:lnTo>
                  <a:lnTo>
                    <a:pt x="294" y="1753"/>
                  </a:lnTo>
                  <a:lnTo>
                    <a:pt x="297" y="1755"/>
                  </a:lnTo>
                  <a:lnTo>
                    <a:pt x="303" y="1755"/>
                  </a:lnTo>
                  <a:lnTo>
                    <a:pt x="308" y="1752"/>
                  </a:lnTo>
                  <a:lnTo>
                    <a:pt x="313" y="1750"/>
                  </a:lnTo>
                  <a:lnTo>
                    <a:pt x="319" y="1747"/>
                  </a:lnTo>
                  <a:lnTo>
                    <a:pt x="323" y="1743"/>
                  </a:lnTo>
                  <a:lnTo>
                    <a:pt x="328" y="1740"/>
                  </a:lnTo>
                  <a:lnTo>
                    <a:pt x="331" y="1739"/>
                  </a:lnTo>
                  <a:lnTo>
                    <a:pt x="335" y="1739"/>
                  </a:lnTo>
                  <a:lnTo>
                    <a:pt x="342" y="1737"/>
                  </a:lnTo>
                  <a:lnTo>
                    <a:pt x="347" y="1739"/>
                  </a:lnTo>
                  <a:lnTo>
                    <a:pt x="354" y="1741"/>
                  </a:lnTo>
                  <a:lnTo>
                    <a:pt x="362" y="1744"/>
                  </a:lnTo>
                  <a:lnTo>
                    <a:pt x="366" y="1747"/>
                  </a:lnTo>
                  <a:lnTo>
                    <a:pt x="370" y="1747"/>
                  </a:lnTo>
                  <a:lnTo>
                    <a:pt x="376" y="1744"/>
                  </a:lnTo>
                  <a:lnTo>
                    <a:pt x="379" y="1742"/>
                  </a:lnTo>
                  <a:lnTo>
                    <a:pt x="383" y="1741"/>
                  </a:lnTo>
                  <a:lnTo>
                    <a:pt x="387" y="1741"/>
                  </a:lnTo>
                  <a:lnTo>
                    <a:pt x="391" y="1742"/>
                  </a:lnTo>
                  <a:lnTo>
                    <a:pt x="396" y="1742"/>
                  </a:lnTo>
                  <a:lnTo>
                    <a:pt x="400" y="1741"/>
                  </a:lnTo>
                  <a:lnTo>
                    <a:pt x="403" y="1737"/>
                  </a:lnTo>
                  <a:lnTo>
                    <a:pt x="404" y="1732"/>
                  </a:lnTo>
                  <a:lnTo>
                    <a:pt x="403" y="1726"/>
                  </a:lnTo>
                  <a:lnTo>
                    <a:pt x="403" y="1721"/>
                  </a:lnTo>
                  <a:lnTo>
                    <a:pt x="406" y="1718"/>
                  </a:lnTo>
                  <a:lnTo>
                    <a:pt x="408" y="1717"/>
                  </a:lnTo>
                  <a:lnTo>
                    <a:pt x="411" y="1713"/>
                  </a:lnTo>
                  <a:lnTo>
                    <a:pt x="415" y="1705"/>
                  </a:lnTo>
                  <a:lnTo>
                    <a:pt x="415" y="1700"/>
                  </a:lnTo>
                  <a:lnTo>
                    <a:pt x="416" y="1696"/>
                  </a:lnTo>
                  <a:lnTo>
                    <a:pt x="417" y="1692"/>
                  </a:lnTo>
                  <a:lnTo>
                    <a:pt x="423" y="1676"/>
                  </a:lnTo>
                  <a:lnTo>
                    <a:pt x="424" y="1672"/>
                  </a:lnTo>
                  <a:lnTo>
                    <a:pt x="426" y="1669"/>
                  </a:lnTo>
                  <a:lnTo>
                    <a:pt x="427" y="1667"/>
                  </a:lnTo>
                  <a:lnTo>
                    <a:pt x="428" y="1663"/>
                  </a:lnTo>
                  <a:lnTo>
                    <a:pt x="428" y="1660"/>
                  </a:lnTo>
                  <a:lnTo>
                    <a:pt x="431" y="1649"/>
                  </a:lnTo>
                  <a:lnTo>
                    <a:pt x="431" y="1645"/>
                  </a:lnTo>
                  <a:lnTo>
                    <a:pt x="431" y="1643"/>
                  </a:lnTo>
                  <a:lnTo>
                    <a:pt x="431" y="1640"/>
                  </a:lnTo>
                  <a:lnTo>
                    <a:pt x="432" y="1638"/>
                  </a:lnTo>
                  <a:lnTo>
                    <a:pt x="432" y="1636"/>
                  </a:lnTo>
                  <a:lnTo>
                    <a:pt x="432" y="1633"/>
                  </a:lnTo>
                  <a:lnTo>
                    <a:pt x="433" y="1631"/>
                  </a:lnTo>
                  <a:lnTo>
                    <a:pt x="434" y="1629"/>
                  </a:lnTo>
                  <a:lnTo>
                    <a:pt x="436" y="1627"/>
                  </a:lnTo>
                  <a:lnTo>
                    <a:pt x="439" y="1625"/>
                  </a:lnTo>
                  <a:lnTo>
                    <a:pt x="442" y="1622"/>
                  </a:lnTo>
                  <a:lnTo>
                    <a:pt x="447" y="1619"/>
                  </a:lnTo>
                  <a:lnTo>
                    <a:pt x="454" y="1614"/>
                  </a:lnTo>
                  <a:lnTo>
                    <a:pt x="456" y="1613"/>
                  </a:lnTo>
                  <a:lnTo>
                    <a:pt x="458" y="1609"/>
                  </a:lnTo>
                  <a:lnTo>
                    <a:pt x="460" y="1608"/>
                  </a:lnTo>
                  <a:lnTo>
                    <a:pt x="462" y="1606"/>
                  </a:lnTo>
                  <a:lnTo>
                    <a:pt x="466" y="1603"/>
                  </a:lnTo>
                  <a:lnTo>
                    <a:pt x="470" y="1603"/>
                  </a:lnTo>
                  <a:lnTo>
                    <a:pt x="472" y="1601"/>
                  </a:lnTo>
                  <a:lnTo>
                    <a:pt x="473" y="1600"/>
                  </a:lnTo>
                  <a:lnTo>
                    <a:pt x="475" y="1599"/>
                  </a:lnTo>
                  <a:lnTo>
                    <a:pt x="476" y="1600"/>
                  </a:lnTo>
                  <a:lnTo>
                    <a:pt x="480" y="1601"/>
                  </a:lnTo>
                  <a:lnTo>
                    <a:pt x="482" y="1601"/>
                  </a:lnTo>
                  <a:lnTo>
                    <a:pt x="484" y="1600"/>
                  </a:lnTo>
                  <a:lnTo>
                    <a:pt x="486" y="1598"/>
                  </a:lnTo>
                  <a:lnTo>
                    <a:pt x="488" y="1596"/>
                  </a:lnTo>
                  <a:lnTo>
                    <a:pt x="489" y="1593"/>
                  </a:lnTo>
                  <a:lnTo>
                    <a:pt x="490" y="1591"/>
                  </a:lnTo>
                  <a:lnTo>
                    <a:pt x="491" y="1589"/>
                  </a:lnTo>
                  <a:lnTo>
                    <a:pt x="492" y="1587"/>
                  </a:lnTo>
                  <a:lnTo>
                    <a:pt x="492" y="1584"/>
                  </a:lnTo>
                  <a:lnTo>
                    <a:pt x="498" y="1580"/>
                  </a:lnTo>
                  <a:lnTo>
                    <a:pt x="502" y="1577"/>
                  </a:lnTo>
                  <a:lnTo>
                    <a:pt x="504" y="1576"/>
                  </a:lnTo>
                  <a:lnTo>
                    <a:pt x="507" y="1575"/>
                  </a:lnTo>
                  <a:lnTo>
                    <a:pt x="511" y="1574"/>
                  </a:lnTo>
                  <a:lnTo>
                    <a:pt x="512" y="1572"/>
                  </a:lnTo>
                  <a:lnTo>
                    <a:pt x="518" y="1566"/>
                  </a:lnTo>
                  <a:lnTo>
                    <a:pt x="521" y="1563"/>
                  </a:lnTo>
                  <a:lnTo>
                    <a:pt x="522" y="1561"/>
                  </a:lnTo>
                  <a:lnTo>
                    <a:pt x="523" y="1559"/>
                  </a:lnTo>
                  <a:lnTo>
                    <a:pt x="524" y="1557"/>
                  </a:lnTo>
                  <a:lnTo>
                    <a:pt x="526" y="1555"/>
                  </a:lnTo>
                  <a:lnTo>
                    <a:pt x="528" y="1552"/>
                  </a:lnTo>
                  <a:lnTo>
                    <a:pt x="530" y="1550"/>
                  </a:lnTo>
                  <a:lnTo>
                    <a:pt x="531" y="1549"/>
                  </a:lnTo>
                  <a:lnTo>
                    <a:pt x="536" y="1547"/>
                  </a:lnTo>
                  <a:lnTo>
                    <a:pt x="539" y="1545"/>
                  </a:lnTo>
                  <a:lnTo>
                    <a:pt x="543" y="1545"/>
                  </a:lnTo>
                  <a:lnTo>
                    <a:pt x="546" y="1545"/>
                  </a:lnTo>
                  <a:lnTo>
                    <a:pt x="550" y="1544"/>
                  </a:lnTo>
                  <a:lnTo>
                    <a:pt x="552" y="1543"/>
                  </a:lnTo>
                  <a:lnTo>
                    <a:pt x="554" y="1541"/>
                  </a:lnTo>
                  <a:lnTo>
                    <a:pt x="554" y="1539"/>
                  </a:lnTo>
                  <a:lnTo>
                    <a:pt x="554" y="1534"/>
                  </a:lnTo>
                  <a:lnTo>
                    <a:pt x="551" y="1531"/>
                  </a:lnTo>
                  <a:lnTo>
                    <a:pt x="545" y="1526"/>
                  </a:lnTo>
                  <a:lnTo>
                    <a:pt x="542" y="1521"/>
                  </a:lnTo>
                  <a:lnTo>
                    <a:pt x="543" y="1518"/>
                  </a:lnTo>
                  <a:lnTo>
                    <a:pt x="544" y="1516"/>
                  </a:lnTo>
                  <a:lnTo>
                    <a:pt x="546" y="1515"/>
                  </a:lnTo>
                  <a:lnTo>
                    <a:pt x="550" y="1513"/>
                  </a:lnTo>
                  <a:lnTo>
                    <a:pt x="552" y="1511"/>
                  </a:lnTo>
                  <a:lnTo>
                    <a:pt x="555" y="1510"/>
                  </a:lnTo>
                  <a:lnTo>
                    <a:pt x="559" y="1508"/>
                  </a:lnTo>
                  <a:lnTo>
                    <a:pt x="562" y="1505"/>
                  </a:lnTo>
                  <a:lnTo>
                    <a:pt x="566" y="1502"/>
                  </a:lnTo>
                  <a:lnTo>
                    <a:pt x="569" y="1501"/>
                  </a:lnTo>
                  <a:lnTo>
                    <a:pt x="572" y="1501"/>
                  </a:lnTo>
                  <a:lnTo>
                    <a:pt x="577" y="1500"/>
                  </a:lnTo>
                  <a:lnTo>
                    <a:pt x="580" y="1500"/>
                  </a:lnTo>
                  <a:lnTo>
                    <a:pt x="584" y="1500"/>
                  </a:lnTo>
                  <a:lnTo>
                    <a:pt x="590" y="1496"/>
                  </a:lnTo>
                  <a:lnTo>
                    <a:pt x="592" y="1495"/>
                  </a:lnTo>
                  <a:lnTo>
                    <a:pt x="594" y="1493"/>
                  </a:lnTo>
                  <a:lnTo>
                    <a:pt x="601" y="1487"/>
                  </a:lnTo>
                  <a:lnTo>
                    <a:pt x="602" y="1484"/>
                  </a:lnTo>
                  <a:lnTo>
                    <a:pt x="604" y="1481"/>
                  </a:lnTo>
                  <a:lnTo>
                    <a:pt x="607" y="1479"/>
                  </a:lnTo>
                  <a:lnTo>
                    <a:pt x="608" y="1477"/>
                  </a:lnTo>
                  <a:lnTo>
                    <a:pt x="614" y="1470"/>
                  </a:lnTo>
                  <a:lnTo>
                    <a:pt x="615" y="1467"/>
                  </a:lnTo>
                  <a:lnTo>
                    <a:pt x="616" y="1463"/>
                  </a:lnTo>
                  <a:lnTo>
                    <a:pt x="617" y="1459"/>
                  </a:lnTo>
                  <a:lnTo>
                    <a:pt x="618" y="1456"/>
                  </a:lnTo>
                  <a:lnTo>
                    <a:pt x="619" y="1454"/>
                  </a:lnTo>
                  <a:lnTo>
                    <a:pt x="623" y="1449"/>
                  </a:lnTo>
                  <a:lnTo>
                    <a:pt x="625" y="1447"/>
                  </a:lnTo>
                  <a:lnTo>
                    <a:pt x="627" y="1445"/>
                  </a:lnTo>
                  <a:lnTo>
                    <a:pt x="631" y="1443"/>
                  </a:lnTo>
                  <a:lnTo>
                    <a:pt x="632" y="1440"/>
                  </a:lnTo>
                  <a:lnTo>
                    <a:pt x="633" y="1435"/>
                  </a:lnTo>
                  <a:lnTo>
                    <a:pt x="630" y="1427"/>
                  </a:lnTo>
                  <a:lnTo>
                    <a:pt x="630" y="1425"/>
                  </a:lnTo>
                  <a:lnTo>
                    <a:pt x="628" y="1423"/>
                  </a:lnTo>
                  <a:lnTo>
                    <a:pt x="626" y="1421"/>
                  </a:lnTo>
                  <a:lnTo>
                    <a:pt x="623" y="1413"/>
                  </a:lnTo>
                  <a:lnTo>
                    <a:pt x="622" y="1409"/>
                  </a:lnTo>
                  <a:lnTo>
                    <a:pt x="622" y="1405"/>
                  </a:lnTo>
                  <a:lnTo>
                    <a:pt x="622" y="1403"/>
                  </a:lnTo>
                  <a:lnTo>
                    <a:pt x="620" y="1399"/>
                  </a:lnTo>
                  <a:lnTo>
                    <a:pt x="620" y="1396"/>
                  </a:lnTo>
                  <a:lnTo>
                    <a:pt x="618" y="1390"/>
                  </a:lnTo>
                  <a:lnTo>
                    <a:pt x="616" y="1387"/>
                  </a:lnTo>
                  <a:lnTo>
                    <a:pt x="615" y="1382"/>
                  </a:lnTo>
                  <a:lnTo>
                    <a:pt x="612" y="1376"/>
                  </a:lnTo>
                  <a:lnTo>
                    <a:pt x="611" y="1368"/>
                  </a:lnTo>
                  <a:lnTo>
                    <a:pt x="610" y="1361"/>
                  </a:lnTo>
                  <a:lnTo>
                    <a:pt x="609" y="1356"/>
                  </a:lnTo>
                  <a:lnTo>
                    <a:pt x="609" y="1352"/>
                  </a:lnTo>
                  <a:lnTo>
                    <a:pt x="609" y="1348"/>
                  </a:lnTo>
                  <a:lnTo>
                    <a:pt x="611" y="1344"/>
                  </a:lnTo>
                  <a:lnTo>
                    <a:pt x="614" y="1341"/>
                  </a:lnTo>
                  <a:lnTo>
                    <a:pt x="616" y="1340"/>
                  </a:lnTo>
                  <a:lnTo>
                    <a:pt x="617" y="1337"/>
                  </a:lnTo>
                  <a:lnTo>
                    <a:pt x="617" y="1335"/>
                  </a:lnTo>
                  <a:lnTo>
                    <a:pt x="615" y="1331"/>
                  </a:lnTo>
                  <a:lnTo>
                    <a:pt x="612" y="1328"/>
                  </a:lnTo>
                  <a:lnTo>
                    <a:pt x="610" y="1325"/>
                  </a:lnTo>
                  <a:lnTo>
                    <a:pt x="610" y="1320"/>
                  </a:lnTo>
                  <a:lnTo>
                    <a:pt x="610" y="1318"/>
                  </a:lnTo>
                  <a:lnTo>
                    <a:pt x="612" y="1313"/>
                  </a:lnTo>
                  <a:lnTo>
                    <a:pt x="614" y="1311"/>
                  </a:lnTo>
                  <a:lnTo>
                    <a:pt x="611" y="1308"/>
                  </a:lnTo>
                  <a:lnTo>
                    <a:pt x="610" y="1305"/>
                  </a:lnTo>
                  <a:lnTo>
                    <a:pt x="608" y="1304"/>
                  </a:lnTo>
                  <a:lnTo>
                    <a:pt x="606" y="1302"/>
                  </a:lnTo>
                  <a:lnTo>
                    <a:pt x="604" y="1300"/>
                  </a:lnTo>
                  <a:lnTo>
                    <a:pt x="603" y="1299"/>
                  </a:lnTo>
                  <a:lnTo>
                    <a:pt x="600" y="1299"/>
                  </a:lnTo>
                  <a:lnTo>
                    <a:pt x="596" y="1297"/>
                  </a:lnTo>
                  <a:lnTo>
                    <a:pt x="595" y="1295"/>
                  </a:lnTo>
                  <a:lnTo>
                    <a:pt x="595" y="1293"/>
                  </a:lnTo>
                  <a:lnTo>
                    <a:pt x="595" y="1291"/>
                  </a:lnTo>
                  <a:lnTo>
                    <a:pt x="595" y="1287"/>
                  </a:lnTo>
                  <a:lnTo>
                    <a:pt x="594" y="1286"/>
                  </a:lnTo>
                  <a:lnTo>
                    <a:pt x="588" y="1284"/>
                  </a:lnTo>
                  <a:lnTo>
                    <a:pt x="587" y="1283"/>
                  </a:lnTo>
                  <a:lnTo>
                    <a:pt x="584" y="1284"/>
                  </a:lnTo>
                  <a:lnTo>
                    <a:pt x="580" y="1285"/>
                  </a:lnTo>
                  <a:lnTo>
                    <a:pt x="578" y="1286"/>
                  </a:lnTo>
                  <a:lnTo>
                    <a:pt x="576" y="1284"/>
                  </a:lnTo>
                  <a:lnTo>
                    <a:pt x="576" y="1279"/>
                  </a:lnTo>
                  <a:lnTo>
                    <a:pt x="576" y="1275"/>
                  </a:lnTo>
                  <a:lnTo>
                    <a:pt x="578" y="1268"/>
                  </a:lnTo>
                  <a:lnTo>
                    <a:pt x="579" y="1265"/>
                  </a:lnTo>
                  <a:lnTo>
                    <a:pt x="580" y="1261"/>
                  </a:lnTo>
                  <a:lnTo>
                    <a:pt x="582" y="1257"/>
                  </a:lnTo>
                  <a:lnTo>
                    <a:pt x="582" y="1253"/>
                  </a:lnTo>
                  <a:lnTo>
                    <a:pt x="582" y="1249"/>
                  </a:lnTo>
                  <a:lnTo>
                    <a:pt x="582" y="1240"/>
                  </a:lnTo>
                  <a:lnTo>
                    <a:pt x="582" y="1237"/>
                  </a:lnTo>
                  <a:lnTo>
                    <a:pt x="580" y="1235"/>
                  </a:lnTo>
                  <a:lnTo>
                    <a:pt x="579" y="1231"/>
                  </a:lnTo>
                  <a:lnTo>
                    <a:pt x="579" y="1228"/>
                  </a:lnTo>
                  <a:lnTo>
                    <a:pt x="579" y="1224"/>
                  </a:lnTo>
                  <a:lnTo>
                    <a:pt x="582" y="1219"/>
                  </a:lnTo>
                  <a:lnTo>
                    <a:pt x="580" y="1212"/>
                  </a:lnTo>
                  <a:lnTo>
                    <a:pt x="579" y="1208"/>
                  </a:lnTo>
                  <a:lnTo>
                    <a:pt x="579" y="1205"/>
                  </a:lnTo>
                  <a:lnTo>
                    <a:pt x="577" y="1200"/>
                  </a:lnTo>
                  <a:lnTo>
                    <a:pt x="572" y="1198"/>
                  </a:lnTo>
                  <a:lnTo>
                    <a:pt x="567" y="1198"/>
                  </a:lnTo>
                  <a:lnTo>
                    <a:pt x="561" y="1200"/>
                  </a:lnTo>
                  <a:lnTo>
                    <a:pt x="556" y="1201"/>
                  </a:lnTo>
                  <a:lnTo>
                    <a:pt x="555" y="1200"/>
                  </a:lnTo>
                  <a:lnTo>
                    <a:pt x="555" y="1191"/>
                  </a:lnTo>
                  <a:lnTo>
                    <a:pt x="553" y="1187"/>
                  </a:lnTo>
                  <a:lnTo>
                    <a:pt x="550" y="1184"/>
                  </a:lnTo>
                  <a:lnTo>
                    <a:pt x="543" y="1181"/>
                  </a:lnTo>
                  <a:lnTo>
                    <a:pt x="536" y="1180"/>
                  </a:lnTo>
                  <a:lnTo>
                    <a:pt x="530" y="1179"/>
                  </a:lnTo>
                  <a:lnTo>
                    <a:pt x="524" y="1177"/>
                  </a:lnTo>
                  <a:lnTo>
                    <a:pt x="520" y="1174"/>
                  </a:lnTo>
                  <a:lnTo>
                    <a:pt x="519" y="1172"/>
                  </a:lnTo>
                  <a:lnTo>
                    <a:pt x="519" y="1167"/>
                  </a:lnTo>
                  <a:lnTo>
                    <a:pt x="520" y="1161"/>
                  </a:lnTo>
                  <a:lnTo>
                    <a:pt x="524" y="1158"/>
                  </a:lnTo>
                  <a:lnTo>
                    <a:pt x="527" y="1153"/>
                  </a:lnTo>
                  <a:lnTo>
                    <a:pt x="526" y="1150"/>
                  </a:lnTo>
                  <a:lnTo>
                    <a:pt x="524" y="1148"/>
                  </a:lnTo>
                  <a:lnTo>
                    <a:pt x="523" y="1143"/>
                  </a:lnTo>
                  <a:lnTo>
                    <a:pt x="524" y="1139"/>
                  </a:lnTo>
                  <a:lnTo>
                    <a:pt x="527" y="1137"/>
                  </a:lnTo>
                  <a:lnTo>
                    <a:pt x="530" y="1135"/>
                  </a:lnTo>
                  <a:lnTo>
                    <a:pt x="534" y="1133"/>
                  </a:lnTo>
                  <a:lnTo>
                    <a:pt x="536" y="1131"/>
                  </a:lnTo>
                  <a:lnTo>
                    <a:pt x="539" y="1127"/>
                  </a:lnTo>
                  <a:lnTo>
                    <a:pt x="544" y="1123"/>
                  </a:lnTo>
                  <a:lnTo>
                    <a:pt x="546" y="1119"/>
                  </a:lnTo>
                  <a:lnTo>
                    <a:pt x="550" y="1118"/>
                  </a:lnTo>
                  <a:lnTo>
                    <a:pt x="552" y="1118"/>
                  </a:lnTo>
                  <a:lnTo>
                    <a:pt x="555" y="1121"/>
                  </a:lnTo>
                  <a:lnTo>
                    <a:pt x="558" y="1125"/>
                  </a:lnTo>
                  <a:lnTo>
                    <a:pt x="562" y="1128"/>
                  </a:lnTo>
                  <a:lnTo>
                    <a:pt x="566" y="1133"/>
                  </a:lnTo>
                  <a:lnTo>
                    <a:pt x="566" y="1136"/>
                  </a:lnTo>
                  <a:lnTo>
                    <a:pt x="566" y="1140"/>
                  </a:lnTo>
                  <a:lnTo>
                    <a:pt x="569" y="1141"/>
                  </a:lnTo>
                  <a:lnTo>
                    <a:pt x="571" y="1140"/>
                  </a:lnTo>
                  <a:lnTo>
                    <a:pt x="575" y="1139"/>
                  </a:lnTo>
                  <a:lnTo>
                    <a:pt x="578" y="1137"/>
                  </a:lnTo>
                  <a:lnTo>
                    <a:pt x="582" y="1139"/>
                  </a:lnTo>
                  <a:lnTo>
                    <a:pt x="587" y="1139"/>
                  </a:lnTo>
                  <a:lnTo>
                    <a:pt x="593" y="1136"/>
                  </a:lnTo>
                  <a:lnTo>
                    <a:pt x="596" y="1137"/>
                  </a:lnTo>
                  <a:lnTo>
                    <a:pt x="600" y="1139"/>
                  </a:lnTo>
                  <a:lnTo>
                    <a:pt x="603" y="1142"/>
                  </a:lnTo>
                  <a:lnTo>
                    <a:pt x="609" y="1150"/>
                  </a:lnTo>
                  <a:lnTo>
                    <a:pt x="611" y="1151"/>
                  </a:lnTo>
                  <a:lnTo>
                    <a:pt x="615" y="1150"/>
                  </a:lnTo>
                  <a:lnTo>
                    <a:pt x="619" y="1147"/>
                  </a:lnTo>
                  <a:lnTo>
                    <a:pt x="624" y="1143"/>
                  </a:lnTo>
                  <a:lnTo>
                    <a:pt x="627" y="1143"/>
                  </a:lnTo>
                  <a:lnTo>
                    <a:pt x="630" y="1144"/>
                  </a:lnTo>
                  <a:lnTo>
                    <a:pt x="632" y="1148"/>
                  </a:lnTo>
                  <a:lnTo>
                    <a:pt x="633" y="1152"/>
                  </a:lnTo>
                  <a:lnTo>
                    <a:pt x="640" y="1164"/>
                  </a:lnTo>
                  <a:lnTo>
                    <a:pt x="644" y="1172"/>
                  </a:lnTo>
                  <a:lnTo>
                    <a:pt x="649" y="1177"/>
                  </a:lnTo>
                  <a:lnTo>
                    <a:pt x="651" y="1182"/>
                  </a:lnTo>
                  <a:lnTo>
                    <a:pt x="652" y="1188"/>
                  </a:lnTo>
                  <a:lnTo>
                    <a:pt x="655" y="1193"/>
                  </a:lnTo>
                  <a:lnTo>
                    <a:pt x="657" y="1193"/>
                  </a:lnTo>
                  <a:lnTo>
                    <a:pt x="662" y="1191"/>
                  </a:lnTo>
                  <a:lnTo>
                    <a:pt x="665" y="1189"/>
                  </a:lnTo>
                  <a:lnTo>
                    <a:pt x="667" y="1184"/>
                  </a:lnTo>
                  <a:lnTo>
                    <a:pt x="674" y="1176"/>
                  </a:lnTo>
                  <a:lnTo>
                    <a:pt x="679" y="1173"/>
                  </a:lnTo>
                  <a:lnTo>
                    <a:pt x="683" y="1171"/>
                  </a:lnTo>
                  <a:lnTo>
                    <a:pt x="688" y="1173"/>
                  </a:lnTo>
                  <a:lnTo>
                    <a:pt x="694" y="1176"/>
                  </a:lnTo>
                  <a:lnTo>
                    <a:pt x="698" y="1180"/>
                  </a:lnTo>
                  <a:lnTo>
                    <a:pt x="704" y="1182"/>
                  </a:lnTo>
                  <a:lnTo>
                    <a:pt x="710" y="1184"/>
                  </a:lnTo>
                  <a:lnTo>
                    <a:pt x="714" y="1187"/>
                  </a:lnTo>
                  <a:lnTo>
                    <a:pt x="720" y="1190"/>
                  </a:lnTo>
                  <a:lnTo>
                    <a:pt x="722" y="1192"/>
                  </a:lnTo>
                  <a:lnTo>
                    <a:pt x="722" y="1197"/>
                  </a:lnTo>
                  <a:lnTo>
                    <a:pt x="721" y="1201"/>
                  </a:lnTo>
                  <a:lnTo>
                    <a:pt x="720" y="1206"/>
                  </a:lnTo>
                  <a:lnTo>
                    <a:pt x="721" y="1208"/>
                  </a:lnTo>
                  <a:lnTo>
                    <a:pt x="723" y="1209"/>
                  </a:lnTo>
                  <a:lnTo>
                    <a:pt x="727" y="1209"/>
                  </a:lnTo>
                  <a:lnTo>
                    <a:pt x="731" y="1208"/>
                  </a:lnTo>
                  <a:lnTo>
                    <a:pt x="736" y="1205"/>
                  </a:lnTo>
                  <a:lnTo>
                    <a:pt x="737" y="1203"/>
                  </a:lnTo>
                  <a:lnTo>
                    <a:pt x="740" y="1200"/>
                  </a:lnTo>
                  <a:lnTo>
                    <a:pt x="743" y="1197"/>
                  </a:lnTo>
                  <a:lnTo>
                    <a:pt x="746" y="1196"/>
                  </a:lnTo>
                  <a:lnTo>
                    <a:pt x="750" y="1195"/>
                  </a:lnTo>
                  <a:lnTo>
                    <a:pt x="753" y="1195"/>
                  </a:lnTo>
                  <a:lnTo>
                    <a:pt x="756" y="1193"/>
                  </a:lnTo>
                  <a:lnTo>
                    <a:pt x="758" y="1191"/>
                  </a:lnTo>
                  <a:lnTo>
                    <a:pt x="759" y="1187"/>
                  </a:lnTo>
                  <a:lnTo>
                    <a:pt x="759" y="1183"/>
                  </a:lnTo>
                  <a:lnTo>
                    <a:pt x="759" y="1179"/>
                  </a:lnTo>
                  <a:lnTo>
                    <a:pt x="759" y="1176"/>
                  </a:lnTo>
                  <a:lnTo>
                    <a:pt x="761" y="1171"/>
                  </a:lnTo>
                  <a:lnTo>
                    <a:pt x="762" y="1166"/>
                  </a:lnTo>
                  <a:lnTo>
                    <a:pt x="762" y="1160"/>
                  </a:lnTo>
                  <a:lnTo>
                    <a:pt x="762" y="1155"/>
                  </a:lnTo>
                  <a:lnTo>
                    <a:pt x="761" y="1151"/>
                  </a:lnTo>
                  <a:lnTo>
                    <a:pt x="758" y="1148"/>
                  </a:lnTo>
                  <a:lnTo>
                    <a:pt x="754" y="1144"/>
                  </a:lnTo>
                  <a:lnTo>
                    <a:pt x="746" y="1144"/>
                  </a:lnTo>
                  <a:lnTo>
                    <a:pt x="714" y="1147"/>
                  </a:lnTo>
                  <a:lnTo>
                    <a:pt x="698" y="1144"/>
                  </a:lnTo>
                  <a:lnTo>
                    <a:pt x="692" y="1141"/>
                  </a:lnTo>
                  <a:lnTo>
                    <a:pt x="687" y="1139"/>
                  </a:lnTo>
                  <a:lnTo>
                    <a:pt x="679" y="1134"/>
                  </a:lnTo>
                  <a:lnTo>
                    <a:pt x="675" y="1131"/>
                  </a:lnTo>
                  <a:lnTo>
                    <a:pt x="674" y="1128"/>
                  </a:lnTo>
                  <a:lnTo>
                    <a:pt x="671" y="1124"/>
                  </a:lnTo>
                  <a:lnTo>
                    <a:pt x="672" y="1116"/>
                  </a:lnTo>
                  <a:lnTo>
                    <a:pt x="671" y="1105"/>
                  </a:lnTo>
                  <a:lnTo>
                    <a:pt x="675" y="1096"/>
                  </a:lnTo>
                  <a:lnTo>
                    <a:pt x="678" y="1088"/>
                  </a:lnTo>
                  <a:lnTo>
                    <a:pt x="681" y="1083"/>
                  </a:lnTo>
                  <a:lnTo>
                    <a:pt x="682" y="1077"/>
                  </a:lnTo>
                  <a:lnTo>
                    <a:pt x="682" y="1070"/>
                  </a:lnTo>
                  <a:lnTo>
                    <a:pt x="680" y="1063"/>
                  </a:lnTo>
                  <a:lnTo>
                    <a:pt x="674" y="1056"/>
                  </a:lnTo>
                  <a:lnTo>
                    <a:pt x="672" y="1049"/>
                  </a:lnTo>
                  <a:lnTo>
                    <a:pt x="672" y="1044"/>
                  </a:lnTo>
                  <a:lnTo>
                    <a:pt x="674" y="1037"/>
                  </a:lnTo>
                  <a:lnTo>
                    <a:pt x="676" y="1032"/>
                  </a:lnTo>
                  <a:lnTo>
                    <a:pt x="680" y="1023"/>
                  </a:lnTo>
                  <a:lnTo>
                    <a:pt x="679" y="1020"/>
                  </a:lnTo>
                  <a:lnTo>
                    <a:pt x="676" y="1015"/>
                  </a:lnTo>
                  <a:lnTo>
                    <a:pt x="672" y="1012"/>
                  </a:lnTo>
                  <a:lnTo>
                    <a:pt x="670" y="1013"/>
                  </a:lnTo>
                  <a:lnTo>
                    <a:pt x="666" y="1014"/>
                  </a:lnTo>
                  <a:lnTo>
                    <a:pt x="665" y="1011"/>
                  </a:lnTo>
                  <a:lnTo>
                    <a:pt x="664" y="1006"/>
                  </a:lnTo>
                  <a:lnTo>
                    <a:pt x="663" y="1001"/>
                  </a:lnTo>
                  <a:lnTo>
                    <a:pt x="659" y="997"/>
                  </a:lnTo>
                  <a:lnTo>
                    <a:pt x="655" y="996"/>
                  </a:lnTo>
                  <a:lnTo>
                    <a:pt x="651" y="995"/>
                  </a:lnTo>
                  <a:lnTo>
                    <a:pt x="654" y="987"/>
                  </a:lnTo>
                  <a:lnTo>
                    <a:pt x="658" y="979"/>
                  </a:lnTo>
                  <a:lnTo>
                    <a:pt x="660" y="968"/>
                  </a:lnTo>
                  <a:lnTo>
                    <a:pt x="660" y="957"/>
                  </a:lnTo>
                  <a:lnTo>
                    <a:pt x="659" y="945"/>
                  </a:lnTo>
                  <a:lnTo>
                    <a:pt x="655" y="933"/>
                  </a:lnTo>
                  <a:lnTo>
                    <a:pt x="651" y="924"/>
                  </a:lnTo>
                  <a:lnTo>
                    <a:pt x="651" y="918"/>
                  </a:lnTo>
                  <a:lnTo>
                    <a:pt x="655" y="907"/>
                  </a:lnTo>
                  <a:lnTo>
                    <a:pt x="657" y="903"/>
                  </a:lnTo>
                  <a:lnTo>
                    <a:pt x="662" y="902"/>
                  </a:lnTo>
                  <a:lnTo>
                    <a:pt x="664" y="904"/>
                  </a:lnTo>
                  <a:lnTo>
                    <a:pt x="667" y="909"/>
                  </a:lnTo>
                  <a:lnTo>
                    <a:pt x="676" y="916"/>
                  </a:lnTo>
                  <a:lnTo>
                    <a:pt x="684" y="916"/>
                  </a:lnTo>
                  <a:lnTo>
                    <a:pt x="691" y="915"/>
                  </a:lnTo>
                  <a:lnTo>
                    <a:pt x="695" y="913"/>
                  </a:lnTo>
                  <a:lnTo>
                    <a:pt x="697" y="908"/>
                  </a:lnTo>
                  <a:lnTo>
                    <a:pt x="694" y="899"/>
                  </a:lnTo>
                  <a:lnTo>
                    <a:pt x="695" y="892"/>
                  </a:lnTo>
                  <a:lnTo>
                    <a:pt x="696" y="891"/>
                  </a:lnTo>
                  <a:lnTo>
                    <a:pt x="702" y="887"/>
                  </a:lnTo>
                  <a:lnTo>
                    <a:pt x="710" y="884"/>
                  </a:lnTo>
                  <a:lnTo>
                    <a:pt x="716" y="880"/>
                  </a:lnTo>
                  <a:lnTo>
                    <a:pt x="721" y="878"/>
                  </a:lnTo>
                  <a:lnTo>
                    <a:pt x="726" y="872"/>
                  </a:lnTo>
                  <a:lnTo>
                    <a:pt x="732" y="864"/>
                  </a:lnTo>
                  <a:lnTo>
                    <a:pt x="736" y="857"/>
                  </a:lnTo>
                  <a:lnTo>
                    <a:pt x="736" y="852"/>
                  </a:lnTo>
                  <a:lnTo>
                    <a:pt x="732" y="840"/>
                  </a:lnTo>
                  <a:lnTo>
                    <a:pt x="731" y="830"/>
                  </a:lnTo>
                  <a:lnTo>
                    <a:pt x="735" y="823"/>
                  </a:lnTo>
                  <a:lnTo>
                    <a:pt x="738" y="820"/>
                  </a:lnTo>
                  <a:lnTo>
                    <a:pt x="744" y="816"/>
                  </a:lnTo>
                  <a:lnTo>
                    <a:pt x="753" y="816"/>
                  </a:lnTo>
                  <a:lnTo>
                    <a:pt x="764" y="819"/>
                  </a:lnTo>
                  <a:lnTo>
                    <a:pt x="778" y="823"/>
                  </a:lnTo>
                  <a:lnTo>
                    <a:pt x="806" y="822"/>
                  </a:lnTo>
                  <a:lnTo>
                    <a:pt x="814" y="819"/>
                  </a:lnTo>
                  <a:lnTo>
                    <a:pt x="822" y="814"/>
                  </a:lnTo>
                  <a:lnTo>
                    <a:pt x="826" y="812"/>
                  </a:lnTo>
                  <a:lnTo>
                    <a:pt x="830" y="812"/>
                  </a:lnTo>
                  <a:lnTo>
                    <a:pt x="832" y="815"/>
                  </a:lnTo>
                  <a:lnTo>
                    <a:pt x="832" y="819"/>
                  </a:lnTo>
                  <a:lnTo>
                    <a:pt x="831" y="824"/>
                  </a:lnTo>
                  <a:lnTo>
                    <a:pt x="832" y="830"/>
                  </a:lnTo>
                  <a:lnTo>
                    <a:pt x="836" y="835"/>
                  </a:lnTo>
                  <a:lnTo>
                    <a:pt x="849" y="836"/>
                  </a:lnTo>
                  <a:lnTo>
                    <a:pt x="860" y="837"/>
                  </a:lnTo>
                  <a:lnTo>
                    <a:pt x="873" y="836"/>
                  </a:lnTo>
                  <a:lnTo>
                    <a:pt x="882" y="833"/>
                  </a:lnTo>
                  <a:lnTo>
                    <a:pt x="887" y="830"/>
                  </a:lnTo>
                  <a:lnTo>
                    <a:pt x="892" y="821"/>
                  </a:lnTo>
                  <a:lnTo>
                    <a:pt x="894" y="816"/>
                  </a:lnTo>
                  <a:lnTo>
                    <a:pt x="894" y="809"/>
                  </a:lnTo>
                  <a:lnTo>
                    <a:pt x="894" y="803"/>
                  </a:lnTo>
                  <a:lnTo>
                    <a:pt x="895" y="799"/>
                  </a:lnTo>
                  <a:lnTo>
                    <a:pt x="897" y="797"/>
                  </a:lnTo>
                  <a:lnTo>
                    <a:pt x="902" y="792"/>
                  </a:lnTo>
                  <a:lnTo>
                    <a:pt x="904" y="789"/>
                  </a:lnTo>
                  <a:lnTo>
                    <a:pt x="907" y="782"/>
                  </a:lnTo>
                  <a:lnTo>
                    <a:pt x="907" y="776"/>
                  </a:lnTo>
                  <a:lnTo>
                    <a:pt x="908" y="772"/>
                  </a:lnTo>
                  <a:lnTo>
                    <a:pt x="911" y="764"/>
                  </a:lnTo>
                  <a:lnTo>
                    <a:pt x="914" y="761"/>
                  </a:lnTo>
                  <a:lnTo>
                    <a:pt x="916" y="759"/>
                  </a:lnTo>
                  <a:lnTo>
                    <a:pt x="921" y="758"/>
                  </a:lnTo>
                  <a:lnTo>
                    <a:pt x="935" y="767"/>
                  </a:lnTo>
                  <a:lnTo>
                    <a:pt x="940" y="769"/>
                  </a:lnTo>
                  <a:lnTo>
                    <a:pt x="944" y="771"/>
                  </a:lnTo>
                  <a:lnTo>
                    <a:pt x="947" y="768"/>
                  </a:lnTo>
                  <a:lnTo>
                    <a:pt x="947" y="763"/>
                  </a:lnTo>
                  <a:lnTo>
                    <a:pt x="944" y="752"/>
                  </a:lnTo>
                  <a:lnTo>
                    <a:pt x="932" y="734"/>
                  </a:lnTo>
                  <a:lnTo>
                    <a:pt x="929" y="728"/>
                  </a:lnTo>
                  <a:lnTo>
                    <a:pt x="928" y="725"/>
                  </a:lnTo>
                  <a:lnTo>
                    <a:pt x="934" y="713"/>
                  </a:lnTo>
                  <a:lnTo>
                    <a:pt x="940" y="703"/>
                  </a:lnTo>
                  <a:lnTo>
                    <a:pt x="946" y="693"/>
                  </a:lnTo>
                  <a:lnTo>
                    <a:pt x="950" y="687"/>
                  </a:lnTo>
                  <a:lnTo>
                    <a:pt x="952" y="684"/>
                  </a:lnTo>
                  <a:lnTo>
                    <a:pt x="953" y="681"/>
                  </a:lnTo>
                  <a:lnTo>
                    <a:pt x="956" y="680"/>
                  </a:lnTo>
                  <a:lnTo>
                    <a:pt x="961" y="683"/>
                  </a:lnTo>
                  <a:lnTo>
                    <a:pt x="964" y="684"/>
                  </a:lnTo>
                  <a:lnTo>
                    <a:pt x="969" y="684"/>
                  </a:lnTo>
                  <a:lnTo>
                    <a:pt x="971" y="683"/>
                  </a:lnTo>
                  <a:lnTo>
                    <a:pt x="974" y="678"/>
                  </a:lnTo>
                  <a:lnTo>
                    <a:pt x="976" y="675"/>
                  </a:lnTo>
                  <a:lnTo>
                    <a:pt x="974" y="667"/>
                  </a:lnTo>
                  <a:lnTo>
                    <a:pt x="975" y="663"/>
                  </a:lnTo>
                  <a:lnTo>
                    <a:pt x="977" y="660"/>
                  </a:lnTo>
                  <a:lnTo>
                    <a:pt x="982" y="659"/>
                  </a:lnTo>
                  <a:lnTo>
                    <a:pt x="985" y="657"/>
                  </a:lnTo>
                  <a:lnTo>
                    <a:pt x="987" y="654"/>
                  </a:lnTo>
                  <a:lnTo>
                    <a:pt x="987" y="648"/>
                  </a:lnTo>
                  <a:lnTo>
                    <a:pt x="985" y="645"/>
                  </a:lnTo>
                  <a:lnTo>
                    <a:pt x="985" y="640"/>
                  </a:lnTo>
                  <a:lnTo>
                    <a:pt x="987" y="639"/>
                  </a:lnTo>
                  <a:lnTo>
                    <a:pt x="991" y="639"/>
                  </a:lnTo>
                  <a:lnTo>
                    <a:pt x="993" y="638"/>
                  </a:lnTo>
                  <a:lnTo>
                    <a:pt x="995" y="636"/>
                  </a:lnTo>
                  <a:lnTo>
                    <a:pt x="995" y="633"/>
                  </a:lnTo>
                  <a:lnTo>
                    <a:pt x="995" y="631"/>
                  </a:lnTo>
                  <a:lnTo>
                    <a:pt x="994" y="628"/>
                  </a:lnTo>
                  <a:lnTo>
                    <a:pt x="993" y="625"/>
                  </a:lnTo>
                  <a:lnTo>
                    <a:pt x="994" y="622"/>
                  </a:lnTo>
                  <a:lnTo>
                    <a:pt x="996" y="620"/>
                  </a:lnTo>
                  <a:lnTo>
                    <a:pt x="998" y="617"/>
                  </a:lnTo>
                  <a:lnTo>
                    <a:pt x="998" y="613"/>
                  </a:lnTo>
                  <a:lnTo>
                    <a:pt x="998" y="611"/>
                  </a:lnTo>
                  <a:lnTo>
                    <a:pt x="994" y="607"/>
                  </a:lnTo>
                  <a:lnTo>
                    <a:pt x="992" y="605"/>
                  </a:lnTo>
                  <a:lnTo>
                    <a:pt x="988" y="603"/>
                  </a:lnTo>
                  <a:lnTo>
                    <a:pt x="987" y="599"/>
                  </a:lnTo>
                  <a:lnTo>
                    <a:pt x="985" y="595"/>
                  </a:lnTo>
                  <a:lnTo>
                    <a:pt x="982" y="587"/>
                  </a:lnTo>
                  <a:lnTo>
                    <a:pt x="979" y="582"/>
                  </a:lnTo>
                  <a:lnTo>
                    <a:pt x="980" y="579"/>
                  </a:lnTo>
                  <a:lnTo>
                    <a:pt x="982" y="575"/>
                  </a:lnTo>
                  <a:lnTo>
                    <a:pt x="986" y="573"/>
                  </a:lnTo>
                  <a:lnTo>
                    <a:pt x="991" y="573"/>
                  </a:lnTo>
                  <a:lnTo>
                    <a:pt x="996" y="573"/>
                  </a:lnTo>
                  <a:lnTo>
                    <a:pt x="1000" y="573"/>
                  </a:lnTo>
                  <a:lnTo>
                    <a:pt x="1004" y="573"/>
                  </a:lnTo>
                  <a:lnTo>
                    <a:pt x="1004" y="569"/>
                  </a:lnTo>
                  <a:lnTo>
                    <a:pt x="998" y="561"/>
                  </a:lnTo>
                  <a:lnTo>
                    <a:pt x="994" y="557"/>
                  </a:lnTo>
                  <a:lnTo>
                    <a:pt x="994" y="552"/>
                  </a:lnTo>
                  <a:lnTo>
                    <a:pt x="998" y="544"/>
                  </a:lnTo>
                  <a:lnTo>
                    <a:pt x="1003" y="535"/>
                  </a:lnTo>
                  <a:lnTo>
                    <a:pt x="1011" y="526"/>
                  </a:lnTo>
                  <a:lnTo>
                    <a:pt x="1018" y="523"/>
                  </a:lnTo>
                  <a:lnTo>
                    <a:pt x="1033" y="520"/>
                  </a:lnTo>
                  <a:lnTo>
                    <a:pt x="1039" y="520"/>
                  </a:lnTo>
                  <a:lnTo>
                    <a:pt x="1044" y="519"/>
                  </a:lnTo>
                  <a:lnTo>
                    <a:pt x="1048" y="517"/>
                  </a:lnTo>
                  <a:lnTo>
                    <a:pt x="1052" y="513"/>
                  </a:lnTo>
                  <a:lnTo>
                    <a:pt x="1057" y="509"/>
                  </a:lnTo>
                  <a:lnTo>
                    <a:pt x="1063" y="504"/>
                  </a:lnTo>
                  <a:lnTo>
                    <a:pt x="1068" y="500"/>
                  </a:lnTo>
                  <a:lnTo>
                    <a:pt x="1072" y="497"/>
                  </a:lnTo>
                  <a:lnTo>
                    <a:pt x="1074" y="497"/>
                  </a:lnTo>
                  <a:lnTo>
                    <a:pt x="1078" y="497"/>
                  </a:lnTo>
                  <a:lnTo>
                    <a:pt x="1083" y="495"/>
                  </a:lnTo>
                  <a:lnTo>
                    <a:pt x="1088" y="493"/>
                  </a:lnTo>
                  <a:lnTo>
                    <a:pt x="1092" y="491"/>
                  </a:lnTo>
                  <a:lnTo>
                    <a:pt x="1097" y="488"/>
                  </a:lnTo>
                  <a:lnTo>
                    <a:pt x="1103" y="487"/>
                  </a:lnTo>
                  <a:lnTo>
                    <a:pt x="1107" y="486"/>
                  </a:lnTo>
                  <a:lnTo>
                    <a:pt x="1112" y="486"/>
                  </a:lnTo>
                  <a:lnTo>
                    <a:pt x="1114" y="485"/>
                  </a:lnTo>
                  <a:lnTo>
                    <a:pt x="1116" y="484"/>
                  </a:lnTo>
                  <a:lnTo>
                    <a:pt x="1119" y="480"/>
                  </a:lnTo>
                  <a:lnTo>
                    <a:pt x="1121" y="478"/>
                  </a:lnTo>
                  <a:lnTo>
                    <a:pt x="1122" y="473"/>
                  </a:lnTo>
                  <a:lnTo>
                    <a:pt x="1122" y="468"/>
                  </a:lnTo>
                  <a:lnTo>
                    <a:pt x="1122" y="463"/>
                  </a:lnTo>
                  <a:lnTo>
                    <a:pt x="1120" y="459"/>
                  </a:lnTo>
                  <a:lnTo>
                    <a:pt x="1115" y="455"/>
                  </a:lnTo>
                  <a:lnTo>
                    <a:pt x="1108" y="454"/>
                  </a:lnTo>
                  <a:lnTo>
                    <a:pt x="1103" y="453"/>
                  </a:lnTo>
                  <a:lnTo>
                    <a:pt x="1102" y="448"/>
                  </a:lnTo>
                  <a:lnTo>
                    <a:pt x="1104" y="444"/>
                  </a:lnTo>
                  <a:lnTo>
                    <a:pt x="1110" y="441"/>
                  </a:lnTo>
                  <a:lnTo>
                    <a:pt x="1116" y="439"/>
                  </a:lnTo>
                  <a:lnTo>
                    <a:pt x="1116" y="436"/>
                  </a:lnTo>
                  <a:lnTo>
                    <a:pt x="1119" y="430"/>
                  </a:lnTo>
                  <a:lnTo>
                    <a:pt x="1121" y="428"/>
                  </a:lnTo>
                  <a:lnTo>
                    <a:pt x="1126" y="424"/>
                  </a:lnTo>
                  <a:lnTo>
                    <a:pt x="1130" y="421"/>
                  </a:lnTo>
                  <a:lnTo>
                    <a:pt x="1134" y="419"/>
                  </a:lnTo>
                  <a:lnTo>
                    <a:pt x="1137" y="416"/>
                  </a:lnTo>
                  <a:lnTo>
                    <a:pt x="1142" y="413"/>
                  </a:lnTo>
                  <a:lnTo>
                    <a:pt x="1146" y="411"/>
                  </a:lnTo>
                  <a:lnTo>
                    <a:pt x="1152" y="408"/>
                  </a:lnTo>
                  <a:lnTo>
                    <a:pt x="1160" y="407"/>
                  </a:lnTo>
                  <a:lnTo>
                    <a:pt x="1170" y="405"/>
                  </a:lnTo>
                  <a:lnTo>
                    <a:pt x="1176" y="399"/>
                  </a:lnTo>
                  <a:lnTo>
                    <a:pt x="1179" y="391"/>
                  </a:lnTo>
                  <a:lnTo>
                    <a:pt x="1183" y="383"/>
                  </a:lnTo>
                  <a:lnTo>
                    <a:pt x="1184" y="380"/>
                  </a:lnTo>
                  <a:lnTo>
                    <a:pt x="1188" y="377"/>
                  </a:lnTo>
                  <a:lnTo>
                    <a:pt x="1195" y="374"/>
                  </a:lnTo>
                  <a:lnTo>
                    <a:pt x="1199" y="373"/>
                  </a:lnTo>
                  <a:lnTo>
                    <a:pt x="1203" y="365"/>
                  </a:lnTo>
                  <a:lnTo>
                    <a:pt x="1208" y="353"/>
                  </a:lnTo>
                  <a:lnTo>
                    <a:pt x="1214" y="348"/>
                  </a:lnTo>
                  <a:lnTo>
                    <a:pt x="1222" y="342"/>
                  </a:lnTo>
                  <a:lnTo>
                    <a:pt x="1225" y="334"/>
                  </a:lnTo>
                  <a:lnTo>
                    <a:pt x="1225" y="328"/>
                  </a:lnTo>
                  <a:lnTo>
                    <a:pt x="1224" y="324"/>
                  </a:lnTo>
                  <a:lnTo>
                    <a:pt x="1217" y="321"/>
                  </a:lnTo>
                  <a:lnTo>
                    <a:pt x="1210" y="320"/>
                  </a:lnTo>
                  <a:lnTo>
                    <a:pt x="1204" y="320"/>
                  </a:lnTo>
                  <a:lnTo>
                    <a:pt x="1196" y="319"/>
                  </a:lnTo>
                  <a:lnTo>
                    <a:pt x="1188" y="318"/>
                  </a:lnTo>
                  <a:lnTo>
                    <a:pt x="1180" y="318"/>
                  </a:lnTo>
                  <a:lnTo>
                    <a:pt x="1175" y="316"/>
                  </a:lnTo>
                  <a:lnTo>
                    <a:pt x="1172" y="311"/>
                  </a:lnTo>
                  <a:lnTo>
                    <a:pt x="1170" y="308"/>
                  </a:lnTo>
                  <a:lnTo>
                    <a:pt x="1167" y="308"/>
                  </a:lnTo>
                  <a:lnTo>
                    <a:pt x="1164" y="312"/>
                  </a:lnTo>
                  <a:lnTo>
                    <a:pt x="1162" y="318"/>
                  </a:lnTo>
                  <a:lnTo>
                    <a:pt x="1158" y="319"/>
                  </a:lnTo>
                  <a:lnTo>
                    <a:pt x="1152" y="316"/>
                  </a:lnTo>
                  <a:lnTo>
                    <a:pt x="1150" y="311"/>
                  </a:lnTo>
                  <a:lnTo>
                    <a:pt x="1152" y="301"/>
                  </a:lnTo>
                  <a:lnTo>
                    <a:pt x="1150" y="293"/>
                  </a:lnTo>
                  <a:lnTo>
                    <a:pt x="1146" y="288"/>
                  </a:lnTo>
                  <a:lnTo>
                    <a:pt x="1140" y="286"/>
                  </a:lnTo>
                  <a:lnTo>
                    <a:pt x="1135" y="283"/>
                  </a:lnTo>
                  <a:lnTo>
                    <a:pt x="1130" y="281"/>
                  </a:lnTo>
                  <a:lnTo>
                    <a:pt x="1126" y="277"/>
                  </a:lnTo>
                  <a:lnTo>
                    <a:pt x="1123" y="271"/>
                  </a:lnTo>
                  <a:lnTo>
                    <a:pt x="1122" y="264"/>
                  </a:lnTo>
                  <a:lnTo>
                    <a:pt x="1129" y="246"/>
                  </a:lnTo>
                  <a:lnTo>
                    <a:pt x="1130" y="236"/>
                  </a:lnTo>
                  <a:lnTo>
                    <a:pt x="1128" y="224"/>
                  </a:lnTo>
                  <a:lnTo>
                    <a:pt x="1124" y="215"/>
                  </a:lnTo>
                  <a:lnTo>
                    <a:pt x="1116" y="204"/>
                  </a:lnTo>
                  <a:lnTo>
                    <a:pt x="1108" y="198"/>
                  </a:lnTo>
                  <a:lnTo>
                    <a:pt x="1104" y="192"/>
                  </a:lnTo>
                  <a:lnTo>
                    <a:pt x="1105" y="187"/>
                  </a:lnTo>
                  <a:lnTo>
                    <a:pt x="1111" y="176"/>
                  </a:lnTo>
                  <a:lnTo>
                    <a:pt x="1115" y="168"/>
                  </a:lnTo>
                  <a:lnTo>
                    <a:pt x="1118" y="160"/>
                  </a:lnTo>
                  <a:lnTo>
                    <a:pt x="1119" y="153"/>
                  </a:lnTo>
                  <a:lnTo>
                    <a:pt x="1116" y="147"/>
                  </a:lnTo>
                  <a:lnTo>
                    <a:pt x="1112" y="143"/>
                  </a:lnTo>
                  <a:lnTo>
                    <a:pt x="1106" y="141"/>
                  </a:lnTo>
                  <a:lnTo>
                    <a:pt x="1100" y="142"/>
                  </a:lnTo>
                  <a:lnTo>
                    <a:pt x="1096" y="148"/>
                  </a:lnTo>
                  <a:lnTo>
                    <a:pt x="1094" y="153"/>
                  </a:lnTo>
                  <a:lnTo>
                    <a:pt x="1092" y="158"/>
                  </a:lnTo>
                  <a:lnTo>
                    <a:pt x="1090" y="161"/>
                  </a:lnTo>
                  <a:lnTo>
                    <a:pt x="1084" y="161"/>
                  </a:lnTo>
                  <a:lnTo>
                    <a:pt x="1080" y="161"/>
                  </a:lnTo>
                  <a:lnTo>
                    <a:pt x="1074" y="159"/>
                  </a:lnTo>
                  <a:lnTo>
                    <a:pt x="1068" y="157"/>
                  </a:lnTo>
                  <a:lnTo>
                    <a:pt x="1063" y="155"/>
                  </a:lnTo>
                  <a:lnTo>
                    <a:pt x="1057" y="153"/>
                  </a:lnTo>
                  <a:lnTo>
                    <a:pt x="1052" y="151"/>
                  </a:lnTo>
                  <a:lnTo>
                    <a:pt x="1044" y="136"/>
                  </a:lnTo>
                  <a:lnTo>
                    <a:pt x="1042" y="128"/>
                  </a:lnTo>
                  <a:lnTo>
                    <a:pt x="1040" y="121"/>
                  </a:lnTo>
                  <a:lnTo>
                    <a:pt x="1034" y="115"/>
                  </a:lnTo>
                  <a:lnTo>
                    <a:pt x="1031" y="109"/>
                  </a:lnTo>
                  <a:lnTo>
                    <a:pt x="1026" y="99"/>
                  </a:lnTo>
                  <a:lnTo>
                    <a:pt x="1024" y="93"/>
                  </a:lnTo>
                  <a:lnTo>
                    <a:pt x="1024" y="88"/>
                  </a:lnTo>
                  <a:lnTo>
                    <a:pt x="1020" y="79"/>
                  </a:lnTo>
                  <a:lnTo>
                    <a:pt x="1017" y="76"/>
                  </a:lnTo>
                  <a:lnTo>
                    <a:pt x="1011" y="72"/>
                  </a:lnTo>
                  <a:lnTo>
                    <a:pt x="1006" y="71"/>
                  </a:lnTo>
                  <a:lnTo>
                    <a:pt x="1001" y="69"/>
                  </a:lnTo>
                  <a:lnTo>
                    <a:pt x="996" y="65"/>
                  </a:lnTo>
                  <a:lnTo>
                    <a:pt x="993" y="61"/>
                  </a:lnTo>
                  <a:lnTo>
                    <a:pt x="991" y="56"/>
                  </a:lnTo>
                  <a:lnTo>
                    <a:pt x="987" y="47"/>
                  </a:lnTo>
                  <a:lnTo>
                    <a:pt x="985" y="43"/>
                  </a:lnTo>
                  <a:lnTo>
                    <a:pt x="982" y="39"/>
                  </a:lnTo>
                  <a:lnTo>
                    <a:pt x="978" y="38"/>
                  </a:lnTo>
                  <a:lnTo>
                    <a:pt x="966" y="36"/>
                  </a:lnTo>
                  <a:lnTo>
                    <a:pt x="958" y="29"/>
                  </a:lnTo>
                  <a:lnTo>
                    <a:pt x="953" y="22"/>
                  </a:lnTo>
                  <a:lnTo>
                    <a:pt x="947" y="7"/>
                  </a:lnTo>
                  <a:lnTo>
                    <a:pt x="936" y="0"/>
                  </a:lnTo>
                  <a:lnTo>
                    <a:pt x="934" y="3"/>
                  </a:lnTo>
                  <a:lnTo>
                    <a:pt x="931" y="6"/>
                  </a:lnTo>
                  <a:lnTo>
                    <a:pt x="929" y="9"/>
                  </a:lnTo>
                  <a:lnTo>
                    <a:pt x="926" y="13"/>
                  </a:lnTo>
                  <a:lnTo>
                    <a:pt x="922" y="17"/>
                  </a:lnTo>
                  <a:lnTo>
                    <a:pt x="919" y="22"/>
                  </a:lnTo>
                  <a:lnTo>
                    <a:pt x="915" y="28"/>
                  </a:lnTo>
                  <a:lnTo>
                    <a:pt x="912" y="35"/>
                  </a:lnTo>
                  <a:lnTo>
                    <a:pt x="902" y="46"/>
                  </a:lnTo>
                  <a:lnTo>
                    <a:pt x="897" y="53"/>
                  </a:lnTo>
                  <a:lnTo>
                    <a:pt x="895" y="59"/>
                  </a:lnTo>
                  <a:lnTo>
                    <a:pt x="894" y="63"/>
                  </a:lnTo>
                  <a:lnTo>
                    <a:pt x="891" y="69"/>
                  </a:lnTo>
                  <a:lnTo>
                    <a:pt x="888" y="71"/>
                  </a:lnTo>
                  <a:lnTo>
                    <a:pt x="884" y="72"/>
                  </a:lnTo>
                  <a:lnTo>
                    <a:pt x="881" y="71"/>
                  </a:lnTo>
                  <a:lnTo>
                    <a:pt x="876" y="71"/>
                  </a:lnTo>
                  <a:lnTo>
                    <a:pt x="871" y="72"/>
                  </a:lnTo>
                  <a:lnTo>
                    <a:pt x="864" y="72"/>
                  </a:lnTo>
                  <a:lnTo>
                    <a:pt x="856" y="71"/>
                  </a:lnTo>
                  <a:lnTo>
                    <a:pt x="847" y="71"/>
                  </a:lnTo>
                  <a:lnTo>
                    <a:pt x="839" y="72"/>
                  </a:lnTo>
                  <a:lnTo>
                    <a:pt x="832" y="73"/>
                  </a:lnTo>
                  <a:lnTo>
                    <a:pt x="826" y="75"/>
                  </a:lnTo>
                  <a:lnTo>
                    <a:pt x="822" y="75"/>
                  </a:lnTo>
                  <a:lnTo>
                    <a:pt x="815" y="70"/>
                  </a:lnTo>
                  <a:lnTo>
                    <a:pt x="811" y="67"/>
                  </a:lnTo>
                  <a:lnTo>
                    <a:pt x="807" y="62"/>
                  </a:lnTo>
                  <a:lnTo>
                    <a:pt x="804" y="59"/>
                  </a:lnTo>
                  <a:lnTo>
                    <a:pt x="799" y="54"/>
                  </a:lnTo>
                  <a:lnTo>
                    <a:pt x="792" y="51"/>
                  </a:lnTo>
                  <a:lnTo>
                    <a:pt x="790" y="48"/>
                  </a:lnTo>
                  <a:lnTo>
                    <a:pt x="786" y="47"/>
                  </a:lnTo>
                  <a:lnTo>
                    <a:pt x="784" y="43"/>
                  </a:lnTo>
                  <a:lnTo>
                    <a:pt x="780" y="47"/>
                  </a:lnTo>
                  <a:lnTo>
                    <a:pt x="776" y="51"/>
                  </a:lnTo>
                  <a:lnTo>
                    <a:pt x="774" y="52"/>
                  </a:lnTo>
                  <a:lnTo>
                    <a:pt x="771" y="53"/>
                  </a:lnTo>
                  <a:lnTo>
                    <a:pt x="770" y="55"/>
                  </a:lnTo>
                  <a:lnTo>
                    <a:pt x="767" y="57"/>
                  </a:lnTo>
                  <a:lnTo>
                    <a:pt x="766" y="59"/>
                  </a:lnTo>
                  <a:lnTo>
                    <a:pt x="763" y="62"/>
                  </a:lnTo>
                  <a:lnTo>
                    <a:pt x="761" y="64"/>
                  </a:lnTo>
                  <a:lnTo>
                    <a:pt x="759" y="64"/>
                  </a:lnTo>
                  <a:lnTo>
                    <a:pt x="753" y="63"/>
                  </a:lnTo>
                  <a:lnTo>
                    <a:pt x="750" y="62"/>
                  </a:lnTo>
                  <a:lnTo>
                    <a:pt x="746" y="62"/>
                  </a:lnTo>
                  <a:lnTo>
                    <a:pt x="744" y="63"/>
                  </a:lnTo>
                  <a:lnTo>
                    <a:pt x="742" y="64"/>
                  </a:lnTo>
                  <a:lnTo>
                    <a:pt x="740" y="68"/>
                  </a:lnTo>
                  <a:lnTo>
                    <a:pt x="739" y="72"/>
                  </a:lnTo>
                  <a:lnTo>
                    <a:pt x="739" y="76"/>
                  </a:lnTo>
                  <a:lnTo>
                    <a:pt x="737" y="80"/>
                  </a:lnTo>
                  <a:lnTo>
                    <a:pt x="736" y="81"/>
                  </a:lnTo>
                  <a:lnTo>
                    <a:pt x="731" y="84"/>
                  </a:lnTo>
                  <a:lnTo>
                    <a:pt x="726" y="87"/>
                  </a:lnTo>
                  <a:lnTo>
                    <a:pt x="722" y="88"/>
                  </a:lnTo>
                  <a:lnTo>
                    <a:pt x="713" y="88"/>
                  </a:lnTo>
                  <a:lnTo>
                    <a:pt x="711" y="88"/>
                  </a:lnTo>
                  <a:lnTo>
                    <a:pt x="708" y="91"/>
                  </a:lnTo>
                  <a:lnTo>
                    <a:pt x="707" y="93"/>
                  </a:lnTo>
                  <a:lnTo>
                    <a:pt x="708" y="95"/>
                  </a:lnTo>
                  <a:lnTo>
                    <a:pt x="711" y="96"/>
                  </a:lnTo>
                  <a:lnTo>
                    <a:pt x="711" y="99"/>
                  </a:lnTo>
                  <a:lnTo>
                    <a:pt x="710" y="100"/>
                  </a:lnTo>
                  <a:lnTo>
                    <a:pt x="705" y="101"/>
                  </a:lnTo>
                  <a:lnTo>
                    <a:pt x="703" y="101"/>
                  </a:lnTo>
                  <a:lnTo>
                    <a:pt x="700" y="100"/>
                  </a:lnTo>
                  <a:lnTo>
                    <a:pt x="697" y="100"/>
                  </a:lnTo>
                  <a:lnTo>
                    <a:pt x="694" y="101"/>
                  </a:lnTo>
                  <a:lnTo>
                    <a:pt x="691" y="101"/>
                  </a:lnTo>
                  <a:lnTo>
                    <a:pt x="690" y="99"/>
                  </a:lnTo>
                  <a:lnTo>
                    <a:pt x="688" y="97"/>
                  </a:lnTo>
                  <a:lnTo>
                    <a:pt x="684" y="97"/>
                  </a:lnTo>
                  <a:lnTo>
                    <a:pt x="682" y="99"/>
                  </a:lnTo>
                  <a:lnTo>
                    <a:pt x="680" y="99"/>
                  </a:lnTo>
                  <a:lnTo>
                    <a:pt x="676" y="99"/>
                  </a:lnTo>
                  <a:lnTo>
                    <a:pt x="674" y="96"/>
                  </a:lnTo>
                  <a:lnTo>
                    <a:pt x="672" y="95"/>
                  </a:lnTo>
                  <a:lnTo>
                    <a:pt x="670" y="94"/>
                  </a:lnTo>
                  <a:lnTo>
                    <a:pt x="666" y="95"/>
                  </a:lnTo>
                  <a:lnTo>
                    <a:pt x="659" y="95"/>
                  </a:lnTo>
                  <a:lnTo>
                    <a:pt x="651" y="96"/>
                  </a:lnTo>
                  <a:lnTo>
                    <a:pt x="647" y="96"/>
                  </a:lnTo>
                  <a:lnTo>
                    <a:pt x="640" y="97"/>
                  </a:lnTo>
                  <a:lnTo>
                    <a:pt x="635" y="97"/>
                  </a:lnTo>
                  <a:lnTo>
                    <a:pt x="631" y="97"/>
                  </a:lnTo>
                  <a:lnTo>
                    <a:pt x="627" y="96"/>
                  </a:lnTo>
                  <a:lnTo>
                    <a:pt x="625" y="95"/>
                  </a:lnTo>
                  <a:lnTo>
                    <a:pt x="623" y="93"/>
                  </a:lnTo>
                  <a:lnTo>
                    <a:pt x="617" y="89"/>
                  </a:lnTo>
                  <a:lnTo>
                    <a:pt x="615" y="89"/>
                  </a:lnTo>
                  <a:lnTo>
                    <a:pt x="610" y="89"/>
                  </a:lnTo>
                  <a:lnTo>
                    <a:pt x="604" y="89"/>
                  </a:lnTo>
                  <a:lnTo>
                    <a:pt x="601" y="89"/>
                  </a:lnTo>
                  <a:lnTo>
                    <a:pt x="596" y="91"/>
                  </a:lnTo>
                  <a:lnTo>
                    <a:pt x="592" y="92"/>
                  </a:lnTo>
                  <a:lnTo>
                    <a:pt x="582" y="95"/>
                  </a:lnTo>
                  <a:lnTo>
                    <a:pt x="577" y="96"/>
                  </a:lnTo>
                  <a:lnTo>
                    <a:pt x="574" y="95"/>
                  </a:lnTo>
                  <a:lnTo>
                    <a:pt x="572" y="94"/>
                  </a:lnTo>
                  <a:lnTo>
                    <a:pt x="571" y="93"/>
                  </a:lnTo>
                  <a:lnTo>
                    <a:pt x="569" y="89"/>
                  </a:lnTo>
                  <a:lnTo>
                    <a:pt x="568" y="86"/>
                  </a:lnTo>
                  <a:lnTo>
                    <a:pt x="564" y="84"/>
                  </a:lnTo>
                  <a:lnTo>
                    <a:pt x="560" y="83"/>
                  </a:lnTo>
                  <a:lnTo>
                    <a:pt x="551" y="81"/>
                  </a:lnTo>
                  <a:lnTo>
                    <a:pt x="546" y="80"/>
                  </a:lnTo>
                  <a:lnTo>
                    <a:pt x="542" y="80"/>
                  </a:lnTo>
                  <a:lnTo>
                    <a:pt x="537" y="80"/>
                  </a:lnTo>
                  <a:lnTo>
                    <a:pt x="534" y="81"/>
                  </a:lnTo>
                  <a:lnTo>
                    <a:pt x="531" y="84"/>
                  </a:lnTo>
                  <a:lnTo>
                    <a:pt x="528" y="87"/>
                  </a:lnTo>
                  <a:lnTo>
                    <a:pt x="524" y="92"/>
                  </a:lnTo>
                  <a:lnTo>
                    <a:pt x="521" y="94"/>
                  </a:lnTo>
                  <a:lnTo>
                    <a:pt x="518" y="96"/>
                  </a:lnTo>
                  <a:lnTo>
                    <a:pt x="513" y="97"/>
                  </a:lnTo>
                  <a:lnTo>
                    <a:pt x="505" y="97"/>
                  </a:lnTo>
                  <a:lnTo>
                    <a:pt x="502" y="97"/>
                  </a:lnTo>
                  <a:lnTo>
                    <a:pt x="498" y="96"/>
                  </a:lnTo>
                  <a:lnTo>
                    <a:pt x="495" y="95"/>
                  </a:lnTo>
                  <a:lnTo>
                    <a:pt x="491" y="94"/>
                  </a:lnTo>
                  <a:lnTo>
                    <a:pt x="489" y="92"/>
                  </a:lnTo>
                  <a:lnTo>
                    <a:pt x="488" y="89"/>
                  </a:lnTo>
                  <a:lnTo>
                    <a:pt x="486" y="87"/>
                  </a:lnTo>
                  <a:lnTo>
                    <a:pt x="483" y="84"/>
                  </a:lnTo>
                  <a:lnTo>
                    <a:pt x="481" y="81"/>
                  </a:lnTo>
                  <a:lnTo>
                    <a:pt x="478" y="77"/>
                  </a:lnTo>
                  <a:lnTo>
                    <a:pt x="475" y="75"/>
                  </a:lnTo>
                  <a:lnTo>
                    <a:pt x="473" y="72"/>
                  </a:lnTo>
                  <a:lnTo>
                    <a:pt x="471" y="69"/>
                  </a:lnTo>
                  <a:lnTo>
                    <a:pt x="467" y="67"/>
                  </a:lnTo>
                  <a:lnTo>
                    <a:pt x="464" y="65"/>
                  </a:lnTo>
                  <a:lnTo>
                    <a:pt x="460" y="65"/>
                  </a:lnTo>
                  <a:lnTo>
                    <a:pt x="457" y="65"/>
                  </a:lnTo>
                  <a:lnTo>
                    <a:pt x="455" y="68"/>
                  </a:lnTo>
                  <a:lnTo>
                    <a:pt x="454" y="69"/>
                  </a:lnTo>
                  <a:lnTo>
                    <a:pt x="451" y="71"/>
                  </a:lnTo>
                  <a:lnTo>
                    <a:pt x="449" y="73"/>
                  </a:lnTo>
                  <a:lnTo>
                    <a:pt x="448" y="76"/>
                  </a:lnTo>
                  <a:lnTo>
                    <a:pt x="448" y="79"/>
                  </a:lnTo>
                  <a:lnTo>
                    <a:pt x="450" y="81"/>
                  </a:lnTo>
                  <a:lnTo>
                    <a:pt x="451" y="84"/>
                  </a:lnTo>
                  <a:lnTo>
                    <a:pt x="455" y="85"/>
                  </a:lnTo>
                  <a:lnTo>
                    <a:pt x="458" y="87"/>
                  </a:lnTo>
                  <a:lnTo>
                    <a:pt x="458" y="88"/>
                  </a:lnTo>
                  <a:lnTo>
                    <a:pt x="460" y="92"/>
                  </a:lnTo>
                  <a:lnTo>
                    <a:pt x="459" y="94"/>
                  </a:lnTo>
                  <a:lnTo>
                    <a:pt x="459" y="96"/>
                  </a:lnTo>
                  <a:lnTo>
                    <a:pt x="457" y="101"/>
                  </a:lnTo>
                  <a:lnTo>
                    <a:pt x="457" y="103"/>
                  </a:lnTo>
                  <a:lnTo>
                    <a:pt x="458" y="107"/>
                  </a:lnTo>
                  <a:lnTo>
                    <a:pt x="459" y="109"/>
                  </a:lnTo>
                  <a:lnTo>
                    <a:pt x="460" y="111"/>
                  </a:lnTo>
                  <a:lnTo>
                    <a:pt x="465" y="111"/>
                  </a:lnTo>
                  <a:lnTo>
                    <a:pt x="467" y="110"/>
                  </a:lnTo>
                  <a:lnTo>
                    <a:pt x="471" y="109"/>
                  </a:lnTo>
                  <a:lnTo>
                    <a:pt x="473" y="110"/>
                  </a:lnTo>
                  <a:lnTo>
                    <a:pt x="474" y="111"/>
                  </a:lnTo>
                  <a:lnTo>
                    <a:pt x="474" y="112"/>
                  </a:lnTo>
                  <a:lnTo>
                    <a:pt x="473" y="115"/>
                  </a:lnTo>
                  <a:lnTo>
                    <a:pt x="471" y="119"/>
                  </a:lnTo>
                  <a:lnTo>
                    <a:pt x="471" y="123"/>
                  </a:lnTo>
                  <a:lnTo>
                    <a:pt x="468" y="124"/>
                  </a:lnTo>
                  <a:lnTo>
                    <a:pt x="466" y="126"/>
                  </a:lnTo>
                  <a:lnTo>
                    <a:pt x="465" y="127"/>
                  </a:lnTo>
                  <a:lnTo>
                    <a:pt x="464" y="129"/>
                  </a:lnTo>
                  <a:lnTo>
                    <a:pt x="463" y="133"/>
                  </a:lnTo>
                  <a:lnTo>
                    <a:pt x="463" y="135"/>
                  </a:lnTo>
                  <a:lnTo>
                    <a:pt x="462" y="137"/>
                  </a:lnTo>
                  <a:lnTo>
                    <a:pt x="459" y="139"/>
                  </a:lnTo>
                  <a:lnTo>
                    <a:pt x="457" y="137"/>
                  </a:lnTo>
                  <a:lnTo>
                    <a:pt x="454" y="136"/>
                  </a:lnTo>
                  <a:lnTo>
                    <a:pt x="450" y="137"/>
                  </a:lnTo>
                  <a:lnTo>
                    <a:pt x="449" y="137"/>
                  </a:lnTo>
                  <a:lnTo>
                    <a:pt x="447" y="140"/>
                  </a:lnTo>
                  <a:lnTo>
                    <a:pt x="447" y="142"/>
                  </a:lnTo>
                  <a:lnTo>
                    <a:pt x="448" y="144"/>
                  </a:lnTo>
                  <a:lnTo>
                    <a:pt x="451" y="147"/>
                  </a:lnTo>
                  <a:lnTo>
                    <a:pt x="454" y="150"/>
                  </a:lnTo>
                  <a:lnTo>
                    <a:pt x="452" y="151"/>
                  </a:lnTo>
                  <a:lnTo>
                    <a:pt x="450" y="151"/>
                  </a:lnTo>
                  <a:lnTo>
                    <a:pt x="446" y="152"/>
                  </a:lnTo>
                  <a:lnTo>
                    <a:pt x="443" y="153"/>
                  </a:lnTo>
                  <a:lnTo>
                    <a:pt x="442" y="153"/>
                  </a:lnTo>
                  <a:lnTo>
                    <a:pt x="441" y="155"/>
                  </a:lnTo>
                  <a:lnTo>
                    <a:pt x="440" y="157"/>
                  </a:lnTo>
                  <a:lnTo>
                    <a:pt x="440" y="158"/>
                  </a:lnTo>
                  <a:lnTo>
                    <a:pt x="441" y="161"/>
                  </a:lnTo>
                  <a:lnTo>
                    <a:pt x="443" y="164"/>
                  </a:lnTo>
                  <a:lnTo>
                    <a:pt x="447" y="166"/>
                  </a:lnTo>
                  <a:lnTo>
                    <a:pt x="449" y="167"/>
                  </a:lnTo>
                  <a:lnTo>
                    <a:pt x="450" y="169"/>
                  </a:lnTo>
                  <a:lnTo>
                    <a:pt x="450" y="171"/>
                  </a:lnTo>
                  <a:lnTo>
                    <a:pt x="450" y="172"/>
                  </a:lnTo>
                  <a:lnTo>
                    <a:pt x="451" y="174"/>
                  </a:lnTo>
                  <a:lnTo>
                    <a:pt x="451" y="176"/>
                  </a:lnTo>
                  <a:lnTo>
                    <a:pt x="451" y="179"/>
                  </a:lnTo>
                  <a:lnTo>
                    <a:pt x="452" y="181"/>
                  </a:lnTo>
                  <a:lnTo>
                    <a:pt x="455" y="182"/>
                  </a:lnTo>
                  <a:lnTo>
                    <a:pt x="456" y="182"/>
                  </a:lnTo>
                  <a:lnTo>
                    <a:pt x="458" y="182"/>
                  </a:lnTo>
                  <a:lnTo>
                    <a:pt x="460" y="182"/>
                  </a:lnTo>
                  <a:lnTo>
                    <a:pt x="463" y="181"/>
                  </a:lnTo>
                  <a:lnTo>
                    <a:pt x="464" y="179"/>
                  </a:lnTo>
                  <a:lnTo>
                    <a:pt x="466" y="176"/>
                  </a:lnTo>
                  <a:lnTo>
                    <a:pt x="468" y="174"/>
                  </a:lnTo>
                  <a:lnTo>
                    <a:pt x="470" y="172"/>
                  </a:lnTo>
                  <a:lnTo>
                    <a:pt x="471" y="169"/>
                  </a:lnTo>
                  <a:lnTo>
                    <a:pt x="474" y="169"/>
                  </a:lnTo>
                  <a:lnTo>
                    <a:pt x="478" y="171"/>
                  </a:lnTo>
                  <a:lnTo>
                    <a:pt x="479" y="171"/>
                  </a:lnTo>
                  <a:lnTo>
                    <a:pt x="481" y="168"/>
                  </a:lnTo>
                  <a:lnTo>
                    <a:pt x="483" y="166"/>
                  </a:lnTo>
                  <a:lnTo>
                    <a:pt x="484" y="165"/>
                  </a:lnTo>
                  <a:lnTo>
                    <a:pt x="488" y="164"/>
                  </a:lnTo>
                  <a:lnTo>
                    <a:pt x="490" y="163"/>
                  </a:lnTo>
                  <a:lnTo>
                    <a:pt x="491" y="165"/>
                  </a:lnTo>
                  <a:lnTo>
                    <a:pt x="492" y="167"/>
                  </a:lnTo>
                  <a:lnTo>
                    <a:pt x="495" y="167"/>
                  </a:lnTo>
                  <a:lnTo>
                    <a:pt x="497" y="166"/>
                  </a:lnTo>
                  <a:lnTo>
                    <a:pt x="499" y="166"/>
                  </a:lnTo>
                  <a:lnTo>
                    <a:pt x="503" y="167"/>
                  </a:lnTo>
                  <a:lnTo>
                    <a:pt x="505" y="169"/>
                  </a:lnTo>
                  <a:lnTo>
                    <a:pt x="508" y="172"/>
                  </a:lnTo>
                  <a:lnTo>
                    <a:pt x="513" y="173"/>
                  </a:lnTo>
                  <a:lnTo>
                    <a:pt x="516" y="175"/>
                  </a:lnTo>
                  <a:lnTo>
                    <a:pt x="519" y="176"/>
                  </a:lnTo>
                  <a:lnTo>
                    <a:pt x="521" y="176"/>
                  </a:lnTo>
                  <a:lnTo>
                    <a:pt x="524" y="175"/>
                  </a:lnTo>
                  <a:lnTo>
                    <a:pt x="527" y="173"/>
                  </a:lnTo>
                  <a:lnTo>
                    <a:pt x="531" y="172"/>
                  </a:lnTo>
                  <a:lnTo>
                    <a:pt x="534" y="172"/>
                  </a:lnTo>
                  <a:lnTo>
                    <a:pt x="539" y="175"/>
                  </a:lnTo>
                  <a:lnTo>
                    <a:pt x="543" y="180"/>
                  </a:lnTo>
                  <a:lnTo>
                    <a:pt x="546" y="188"/>
                  </a:lnTo>
                  <a:lnTo>
                    <a:pt x="548" y="191"/>
                  </a:lnTo>
                  <a:lnTo>
                    <a:pt x="550" y="195"/>
                  </a:lnTo>
                  <a:lnTo>
                    <a:pt x="550" y="198"/>
                  </a:lnTo>
                  <a:lnTo>
                    <a:pt x="551" y="201"/>
                  </a:lnTo>
                  <a:lnTo>
                    <a:pt x="553" y="204"/>
                  </a:lnTo>
                  <a:lnTo>
                    <a:pt x="556" y="205"/>
                  </a:lnTo>
                  <a:lnTo>
                    <a:pt x="559" y="204"/>
                  </a:lnTo>
                  <a:lnTo>
                    <a:pt x="562" y="204"/>
                  </a:lnTo>
                  <a:lnTo>
                    <a:pt x="564" y="205"/>
                  </a:lnTo>
                  <a:lnTo>
                    <a:pt x="564" y="206"/>
                  </a:lnTo>
                  <a:lnTo>
                    <a:pt x="567" y="209"/>
                  </a:lnTo>
                  <a:lnTo>
                    <a:pt x="566" y="213"/>
                  </a:lnTo>
                  <a:lnTo>
                    <a:pt x="566" y="215"/>
                  </a:lnTo>
                  <a:lnTo>
                    <a:pt x="568" y="216"/>
                  </a:lnTo>
                  <a:lnTo>
                    <a:pt x="571" y="215"/>
                  </a:lnTo>
                  <a:lnTo>
                    <a:pt x="576" y="214"/>
                  </a:lnTo>
                  <a:lnTo>
                    <a:pt x="578" y="213"/>
                  </a:lnTo>
                  <a:lnTo>
                    <a:pt x="586" y="211"/>
                  </a:lnTo>
                  <a:lnTo>
                    <a:pt x="588" y="212"/>
                  </a:lnTo>
                  <a:lnTo>
                    <a:pt x="592" y="214"/>
                  </a:lnTo>
                  <a:lnTo>
                    <a:pt x="593" y="216"/>
                  </a:lnTo>
                  <a:lnTo>
                    <a:pt x="595" y="219"/>
                  </a:lnTo>
                  <a:lnTo>
                    <a:pt x="600" y="219"/>
                  </a:lnTo>
                  <a:lnTo>
                    <a:pt x="602" y="220"/>
                  </a:lnTo>
                  <a:lnTo>
                    <a:pt x="604" y="221"/>
                  </a:lnTo>
                  <a:lnTo>
                    <a:pt x="608" y="224"/>
                  </a:lnTo>
                  <a:lnTo>
                    <a:pt x="609" y="227"/>
                  </a:lnTo>
                  <a:lnTo>
                    <a:pt x="611" y="229"/>
                  </a:lnTo>
                  <a:lnTo>
                    <a:pt x="612" y="231"/>
                  </a:lnTo>
                  <a:lnTo>
                    <a:pt x="611" y="235"/>
                  </a:lnTo>
                  <a:lnTo>
                    <a:pt x="610" y="238"/>
                  </a:lnTo>
                  <a:lnTo>
                    <a:pt x="609" y="239"/>
                  </a:lnTo>
                  <a:lnTo>
                    <a:pt x="607" y="243"/>
                  </a:lnTo>
                  <a:lnTo>
                    <a:pt x="603" y="245"/>
                  </a:lnTo>
                  <a:lnTo>
                    <a:pt x="601" y="247"/>
                  </a:lnTo>
                  <a:lnTo>
                    <a:pt x="600" y="249"/>
                  </a:lnTo>
                  <a:lnTo>
                    <a:pt x="599" y="254"/>
                  </a:lnTo>
                  <a:lnTo>
                    <a:pt x="599" y="259"/>
                  </a:lnTo>
                  <a:lnTo>
                    <a:pt x="599" y="261"/>
                  </a:lnTo>
                  <a:lnTo>
                    <a:pt x="599" y="264"/>
                  </a:lnTo>
                  <a:lnTo>
                    <a:pt x="600" y="267"/>
                  </a:lnTo>
                  <a:lnTo>
                    <a:pt x="601" y="270"/>
                  </a:lnTo>
                  <a:lnTo>
                    <a:pt x="601" y="271"/>
                  </a:lnTo>
                  <a:lnTo>
                    <a:pt x="601" y="273"/>
                  </a:lnTo>
                  <a:lnTo>
                    <a:pt x="599" y="276"/>
                  </a:lnTo>
                  <a:lnTo>
                    <a:pt x="596" y="280"/>
                  </a:lnTo>
                  <a:lnTo>
                    <a:pt x="596" y="283"/>
                  </a:lnTo>
                  <a:lnTo>
                    <a:pt x="595" y="285"/>
                  </a:lnTo>
                  <a:lnTo>
                    <a:pt x="595" y="287"/>
                  </a:lnTo>
                  <a:lnTo>
                    <a:pt x="594" y="289"/>
                  </a:lnTo>
                  <a:lnTo>
                    <a:pt x="593" y="291"/>
                  </a:lnTo>
                  <a:lnTo>
                    <a:pt x="591" y="289"/>
                  </a:lnTo>
                  <a:lnTo>
                    <a:pt x="590" y="289"/>
                  </a:lnTo>
                  <a:lnTo>
                    <a:pt x="588" y="287"/>
                  </a:lnTo>
                  <a:lnTo>
                    <a:pt x="587" y="285"/>
                  </a:lnTo>
                  <a:lnTo>
                    <a:pt x="585" y="284"/>
                  </a:lnTo>
                  <a:lnTo>
                    <a:pt x="580" y="283"/>
                  </a:lnTo>
                  <a:lnTo>
                    <a:pt x="577" y="283"/>
                  </a:lnTo>
                  <a:lnTo>
                    <a:pt x="575" y="285"/>
                  </a:lnTo>
                  <a:lnTo>
                    <a:pt x="572" y="287"/>
                  </a:lnTo>
                  <a:lnTo>
                    <a:pt x="570" y="291"/>
                  </a:lnTo>
                  <a:lnTo>
                    <a:pt x="567" y="293"/>
                  </a:lnTo>
                  <a:lnTo>
                    <a:pt x="563" y="296"/>
                  </a:lnTo>
                  <a:lnTo>
                    <a:pt x="558" y="297"/>
                  </a:lnTo>
                  <a:lnTo>
                    <a:pt x="553" y="299"/>
                  </a:lnTo>
                  <a:lnTo>
                    <a:pt x="548" y="299"/>
                  </a:lnTo>
                  <a:lnTo>
                    <a:pt x="544" y="299"/>
                  </a:lnTo>
                  <a:lnTo>
                    <a:pt x="539" y="301"/>
                  </a:lnTo>
                  <a:lnTo>
                    <a:pt x="537" y="304"/>
                  </a:lnTo>
                  <a:lnTo>
                    <a:pt x="537" y="308"/>
                  </a:lnTo>
                  <a:lnTo>
                    <a:pt x="536" y="311"/>
                  </a:lnTo>
                  <a:lnTo>
                    <a:pt x="536" y="315"/>
                  </a:lnTo>
                  <a:lnTo>
                    <a:pt x="537" y="317"/>
                  </a:lnTo>
                  <a:lnTo>
                    <a:pt x="538" y="320"/>
                  </a:lnTo>
                  <a:lnTo>
                    <a:pt x="542" y="321"/>
                  </a:lnTo>
                  <a:lnTo>
                    <a:pt x="543" y="323"/>
                  </a:lnTo>
                  <a:lnTo>
                    <a:pt x="544" y="326"/>
                  </a:lnTo>
                  <a:lnTo>
                    <a:pt x="544" y="327"/>
                  </a:lnTo>
                  <a:lnTo>
                    <a:pt x="542" y="329"/>
                  </a:lnTo>
                  <a:lnTo>
                    <a:pt x="539" y="333"/>
                  </a:lnTo>
                  <a:lnTo>
                    <a:pt x="537" y="334"/>
                  </a:lnTo>
                  <a:lnTo>
                    <a:pt x="535" y="335"/>
                  </a:lnTo>
                  <a:lnTo>
                    <a:pt x="531" y="336"/>
                  </a:lnTo>
                  <a:lnTo>
                    <a:pt x="527" y="341"/>
                  </a:lnTo>
                  <a:lnTo>
                    <a:pt x="523" y="342"/>
                  </a:lnTo>
                  <a:lnTo>
                    <a:pt x="521" y="344"/>
                  </a:lnTo>
                  <a:lnTo>
                    <a:pt x="520" y="347"/>
                  </a:lnTo>
                  <a:lnTo>
                    <a:pt x="515" y="349"/>
                  </a:lnTo>
                  <a:lnTo>
                    <a:pt x="512" y="350"/>
                  </a:lnTo>
                  <a:lnTo>
                    <a:pt x="510" y="350"/>
                  </a:lnTo>
                  <a:lnTo>
                    <a:pt x="505" y="349"/>
                  </a:lnTo>
                  <a:lnTo>
                    <a:pt x="502" y="349"/>
                  </a:lnTo>
                  <a:lnTo>
                    <a:pt x="498" y="350"/>
                  </a:lnTo>
                  <a:lnTo>
                    <a:pt x="496" y="351"/>
                  </a:lnTo>
                  <a:lnTo>
                    <a:pt x="494" y="355"/>
                  </a:lnTo>
                  <a:lnTo>
                    <a:pt x="494" y="358"/>
                  </a:lnTo>
                  <a:lnTo>
                    <a:pt x="494" y="363"/>
                  </a:lnTo>
                  <a:lnTo>
                    <a:pt x="495" y="366"/>
                  </a:lnTo>
                  <a:lnTo>
                    <a:pt x="495" y="369"/>
                  </a:lnTo>
                  <a:lnTo>
                    <a:pt x="496" y="373"/>
                  </a:lnTo>
                  <a:lnTo>
                    <a:pt x="498" y="375"/>
                  </a:lnTo>
                  <a:lnTo>
                    <a:pt x="498" y="377"/>
                  </a:lnTo>
                  <a:lnTo>
                    <a:pt x="499" y="380"/>
                  </a:lnTo>
                  <a:lnTo>
                    <a:pt x="498" y="382"/>
                  </a:lnTo>
                  <a:lnTo>
                    <a:pt x="497" y="383"/>
                  </a:lnTo>
                  <a:lnTo>
                    <a:pt x="495" y="385"/>
                  </a:lnTo>
                  <a:lnTo>
                    <a:pt x="491" y="387"/>
                  </a:lnTo>
                  <a:lnTo>
                    <a:pt x="490" y="390"/>
                  </a:lnTo>
                  <a:lnTo>
                    <a:pt x="490" y="392"/>
                  </a:lnTo>
                  <a:lnTo>
                    <a:pt x="491" y="396"/>
                  </a:lnTo>
                  <a:lnTo>
                    <a:pt x="492" y="398"/>
                  </a:lnTo>
                  <a:lnTo>
                    <a:pt x="492" y="400"/>
                  </a:lnTo>
                  <a:lnTo>
                    <a:pt x="495" y="407"/>
                  </a:lnTo>
                  <a:lnTo>
                    <a:pt x="495" y="409"/>
                  </a:lnTo>
                  <a:lnTo>
                    <a:pt x="492" y="412"/>
                  </a:lnTo>
                  <a:lnTo>
                    <a:pt x="489" y="412"/>
                  </a:lnTo>
                  <a:lnTo>
                    <a:pt x="487" y="411"/>
                  </a:lnTo>
                  <a:lnTo>
                    <a:pt x="484" y="409"/>
                  </a:lnTo>
                  <a:lnTo>
                    <a:pt x="481" y="408"/>
                  </a:lnTo>
                  <a:lnTo>
                    <a:pt x="479" y="409"/>
                  </a:lnTo>
                  <a:lnTo>
                    <a:pt x="475" y="412"/>
                  </a:lnTo>
                  <a:lnTo>
                    <a:pt x="474" y="414"/>
                  </a:lnTo>
                  <a:lnTo>
                    <a:pt x="473" y="416"/>
                  </a:lnTo>
                  <a:lnTo>
                    <a:pt x="471" y="417"/>
                  </a:lnTo>
                  <a:lnTo>
                    <a:pt x="467" y="419"/>
                  </a:lnTo>
                  <a:lnTo>
                    <a:pt x="463" y="422"/>
                  </a:lnTo>
                  <a:lnTo>
                    <a:pt x="462" y="424"/>
                  </a:lnTo>
                  <a:lnTo>
                    <a:pt x="460" y="427"/>
                  </a:lnTo>
                  <a:lnTo>
                    <a:pt x="460" y="429"/>
                  </a:lnTo>
                  <a:lnTo>
                    <a:pt x="459" y="431"/>
                  </a:lnTo>
                  <a:lnTo>
                    <a:pt x="459" y="432"/>
                  </a:lnTo>
                  <a:lnTo>
                    <a:pt x="457" y="435"/>
                  </a:lnTo>
                  <a:lnTo>
                    <a:pt x="457" y="437"/>
                  </a:lnTo>
                  <a:lnTo>
                    <a:pt x="451" y="438"/>
                  </a:lnTo>
                  <a:lnTo>
                    <a:pt x="448" y="439"/>
                  </a:lnTo>
                  <a:lnTo>
                    <a:pt x="444" y="441"/>
                  </a:lnTo>
                  <a:lnTo>
                    <a:pt x="442" y="444"/>
                  </a:lnTo>
                  <a:lnTo>
                    <a:pt x="439" y="445"/>
                  </a:lnTo>
                  <a:lnTo>
                    <a:pt x="436" y="445"/>
                  </a:lnTo>
                  <a:lnTo>
                    <a:pt x="433" y="443"/>
                  </a:lnTo>
                  <a:lnTo>
                    <a:pt x="431" y="441"/>
                  </a:lnTo>
                  <a:lnTo>
                    <a:pt x="427" y="443"/>
                  </a:lnTo>
                  <a:lnTo>
                    <a:pt x="426" y="444"/>
                  </a:lnTo>
                  <a:lnTo>
                    <a:pt x="424" y="446"/>
                  </a:lnTo>
                  <a:lnTo>
                    <a:pt x="423" y="449"/>
                  </a:lnTo>
                  <a:lnTo>
                    <a:pt x="420" y="453"/>
                  </a:lnTo>
                  <a:lnTo>
                    <a:pt x="418" y="454"/>
                  </a:lnTo>
                  <a:lnTo>
                    <a:pt x="415" y="456"/>
                  </a:lnTo>
                  <a:lnTo>
                    <a:pt x="411" y="456"/>
                  </a:lnTo>
                  <a:lnTo>
                    <a:pt x="409" y="457"/>
                  </a:lnTo>
                  <a:lnTo>
                    <a:pt x="407" y="459"/>
                  </a:lnTo>
                  <a:lnTo>
                    <a:pt x="404" y="460"/>
                  </a:lnTo>
                  <a:lnTo>
                    <a:pt x="404" y="461"/>
                  </a:lnTo>
                  <a:lnTo>
                    <a:pt x="406" y="463"/>
                  </a:lnTo>
                  <a:lnTo>
                    <a:pt x="404" y="464"/>
                  </a:lnTo>
                  <a:lnTo>
                    <a:pt x="401" y="467"/>
                  </a:lnTo>
                  <a:lnTo>
                    <a:pt x="400" y="468"/>
                  </a:lnTo>
                  <a:lnTo>
                    <a:pt x="398" y="468"/>
                  </a:lnTo>
                  <a:lnTo>
                    <a:pt x="396" y="468"/>
                  </a:lnTo>
                  <a:lnTo>
                    <a:pt x="394" y="468"/>
                  </a:lnTo>
                  <a:lnTo>
                    <a:pt x="393" y="467"/>
                  </a:lnTo>
                  <a:lnTo>
                    <a:pt x="392" y="464"/>
                  </a:lnTo>
                  <a:lnTo>
                    <a:pt x="392" y="463"/>
                  </a:lnTo>
                  <a:lnTo>
                    <a:pt x="392" y="457"/>
                  </a:lnTo>
                  <a:lnTo>
                    <a:pt x="391" y="455"/>
                  </a:lnTo>
                  <a:lnTo>
                    <a:pt x="390" y="454"/>
                  </a:lnTo>
                  <a:lnTo>
                    <a:pt x="387" y="452"/>
                  </a:lnTo>
                  <a:lnTo>
                    <a:pt x="384" y="452"/>
                  </a:lnTo>
                  <a:lnTo>
                    <a:pt x="380" y="452"/>
                  </a:lnTo>
                  <a:lnTo>
                    <a:pt x="378" y="452"/>
                  </a:lnTo>
                  <a:lnTo>
                    <a:pt x="375" y="452"/>
                  </a:lnTo>
                  <a:lnTo>
                    <a:pt x="372" y="452"/>
                  </a:lnTo>
                  <a:lnTo>
                    <a:pt x="371" y="454"/>
                  </a:lnTo>
                  <a:lnTo>
                    <a:pt x="370" y="455"/>
                  </a:lnTo>
                  <a:lnTo>
                    <a:pt x="369" y="457"/>
                  </a:lnTo>
                  <a:lnTo>
                    <a:pt x="369" y="459"/>
                  </a:lnTo>
                  <a:lnTo>
                    <a:pt x="368" y="460"/>
                  </a:lnTo>
                  <a:lnTo>
                    <a:pt x="366" y="459"/>
                  </a:lnTo>
                  <a:lnTo>
                    <a:pt x="363" y="457"/>
                  </a:lnTo>
                  <a:lnTo>
                    <a:pt x="359" y="457"/>
                  </a:lnTo>
                  <a:lnTo>
                    <a:pt x="355" y="457"/>
                  </a:lnTo>
                  <a:lnTo>
                    <a:pt x="353" y="459"/>
                  </a:lnTo>
                  <a:lnTo>
                    <a:pt x="352" y="461"/>
                  </a:lnTo>
                  <a:lnTo>
                    <a:pt x="346" y="463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55" name="KL"/>
            <p:cNvSpPr>
              <a:spLocks/>
            </p:cNvSpPr>
            <p:nvPr/>
          </p:nvSpPr>
          <p:spPr bwMode="auto">
            <a:xfrm>
              <a:off x="6067346" y="4523971"/>
              <a:ext cx="280987" cy="483718"/>
            </a:xfrm>
            <a:custGeom>
              <a:avLst/>
              <a:gdLst>
                <a:gd name="T0" fmla="*/ 253 w 701"/>
                <a:gd name="T1" fmla="*/ 435 h 1251"/>
                <a:gd name="T2" fmla="*/ 301 w 701"/>
                <a:gd name="T3" fmla="*/ 551 h 1251"/>
                <a:gd name="T4" fmla="*/ 369 w 701"/>
                <a:gd name="T5" fmla="*/ 717 h 1251"/>
                <a:gd name="T6" fmla="*/ 382 w 701"/>
                <a:gd name="T7" fmla="*/ 757 h 1251"/>
                <a:gd name="T8" fmla="*/ 410 w 701"/>
                <a:gd name="T9" fmla="*/ 799 h 1251"/>
                <a:gd name="T10" fmla="*/ 430 w 701"/>
                <a:gd name="T11" fmla="*/ 856 h 1251"/>
                <a:gd name="T12" fmla="*/ 439 w 701"/>
                <a:gd name="T13" fmla="*/ 894 h 1251"/>
                <a:gd name="T14" fmla="*/ 415 w 701"/>
                <a:gd name="T15" fmla="*/ 905 h 1251"/>
                <a:gd name="T16" fmla="*/ 418 w 701"/>
                <a:gd name="T17" fmla="*/ 863 h 1251"/>
                <a:gd name="T18" fmla="*/ 408 w 701"/>
                <a:gd name="T19" fmla="*/ 813 h 1251"/>
                <a:gd name="T20" fmla="*/ 401 w 701"/>
                <a:gd name="T21" fmla="*/ 831 h 1251"/>
                <a:gd name="T22" fmla="*/ 380 w 701"/>
                <a:gd name="T23" fmla="*/ 804 h 1251"/>
                <a:gd name="T24" fmla="*/ 431 w 701"/>
                <a:gd name="T25" fmla="*/ 995 h 1251"/>
                <a:gd name="T26" fmla="*/ 481 w 701"/>
                <a:gd name="T27" fmla="*/ 1054 h 1251"/>
                <a:gd name="T28" fmla="*/ 465 w 701"/>
                <a:gd name="T29" fmla="*/ 1075 h 1251"/>
                <a:gd name="T30" fmla="*/ 496 w 701"/>
                <a:gd name="T31" fmla="*/ 1096 h 1251"/>
                <a:gd name="T32" fmla="*/ 537 w 701"/>
                <a:gd name="T33" fmla="*/ 1165 h 1251"/>
                <a:gd name="T34" fmla="*/ 623 w 701"/>
                <a:gd name="T35" fmla="*/ 1231 h 1251"/>
                <a:gd name="T36" fmla="*/ 646 w 701"/>
                <a:gd name="T37" fmla="*/ 1191 h 1251"/>
                <a:gd name="T38" fmla="*/ 664 w 701"/>
                <a:gd name="T39" fmla="*/ 1168 h 1251"/>
                <a:gd name="T40" fmla="*/ 642 w 701"/>
                <a:gd name="T41" fmla="*/ 1109 h 1251"/>
                <a:gd name="T42" fmla="*/ 649 w 701"/>
                <a:gd name="T43" fmla="*/ 1069 h 1251"/>
                <a:gd name="T44" fmla="*/ 642 w 701"/>
                <a:gd name="T45" fmla="*/ 1029 h 1251"/>
                <a:gd name="T46" fmla="*/ 664 w 701"/>
                <a:gd name="T47" fmla="*/ 982 h 1251"/>
                <a:gd name="T48" fmla="*/ 690 w 701"/>
                <a:gd name="T49" fmla="*/ 919 h 1251"/>
                <a:gd name="T50" fmla="*/ 693 w 701"/>
                <a:gd name="T51" fmla="*/ 884 h 1251"/>
                <a:gd name="T52" fmla="*/ 669 w 701"/>
                <a:gd name="T53" fmla="*/ 877 h 1251"/>
                <a:gd name="T54" fmla="*/ 649 w 701"/>
                <a:gd name="T55" fmla="*/ 838 h 1251"/>
                <a:gd name="T56" fmla="*/ 663 w 701"/>
                <a:gd name="T57" fmla="*/ 771 h 1251"/>
                <a:gd name="T58" fmla="*/ 660 w 701"/>
                <a:gd name="T59" fmla="*/ 725 h 1251"/>
                <a:gd name="T60" fmla="*/ 652 w 701"/>
                <a:gd name="T61" fmla="*/ 684 h 1251"/>
                <a:gd name="T62" fmla="*/ 598 w 701"/>
                <a:gd name="T63" fmla="*/ 695 h 1251"/>
                <a:gd name="T64" fmla="*/ 549 w 701"/>
                <a:gd name="T65" fmla="*/ 679 h 1251"/>
                <a:gd name="T66" fmla="*/ 536 w 701"/>
                <a:gd name="T67" fmla="*/ 638 h 1251"/>
                <a:gd name="T68" fmla="*/ 557 w 701"/>
                <a:gd name="T69" fmla="*/ 589 h 1251"/>
                <a:gd name="T70" fmla="*/ 549 w 701"/>
                <a:gd name="T71" fmla="*/ 545 h 1251"/>
                <a:gd name="T72" fmla="*/ 519 w 701"/>
                <a:gd name="T73" fmla="*/ 519 h 1251"/>
                <a:gd name="T74" fmla="*/ 501 w 701"/>
                <a:gd name="T75" fmla="*/ 496 h 1251"/>
                <a:gd name="T76" fmla="*/ 520 w 701"/>
                <a:gd name="T77" fmla="*/ 470 h 1251"/>
                <a:gd name="T78" fmla="*/ 503 w 701"/>
                <a:gd name="T79" fmla="*/ 440 h 1251"/>
                <a:gd name="T80" fmla="*/ 474 w 701"/>
                <a:gd name="T81" fmla="*/ 436 h 1251"/>
                <a:gd name="T82" fmla="*/ 450 w 701"/>
                <a:gd name="T83" fmla="*/ 420 h 1251"/>
                <a:gd name="T84" fmla="*/ 434 w 701"/>
                <a:gd name="T85" fmla="*/ 380 h 1251"/>
                <a:gd name="T86" fmla="*/ 385 w 701"/>
                <a:gd name="T87" fmla="*/ 363 h 1251"/>
                <a:gd name="T88" fmla="*/ 412 w 701"/>
                <a:gd name="T89" fmla="*/ 328 h 1251"/>
                <a:gd name="T90" fmla="*/ 423 w 701"/>
                <a:gd name="T91" fmla="*/ 297 h 1251"/>
                <a:gd name="T92" fmla="*/ 383 w 701"/>
                <a:gd name="T93" fmla="*/ 272 h 1251"/>
                <a:gd name="T94" fmla="*/ 345 w 701"/>
                <a:gd name="T95" fmla="*/ 235 h 1251"/>
                <a:gd name="T96" fmla="*/ 295 w 701"/>
                <a:gd name="T97" fmla="*/ 239 h 1251"/>
                <a:gd name="T98" fmla="*/ 246 w 701"/>
                <a:gd name="T99" fmla="*/ 191 h 1251"/>
                <a:gd name="T100" fmla="*/ 206 w 701"/>
                <a:gd name="T101" fmla="*/ 176 h 1251"/>
                <a:gd name="T102" fmla="*/ 182 w 701"/>
                <a:gd name="T103" fmla="*/ 147 h 1251"/>
                <a:gd name="T104" fmla="*/ 149 w 701"/>
                <a:gd name="T105" fmla="*/ 112 h 1251"/>
                <a:gd name="T106" fmla="*/ 149 w 701"/>
                <a:gd name="T107" fmla="*/ 80 h 1251"/>
                <a:gd name="T108" fmla="*/ 119 w 701"/>
                <a:gd name="T109" fmla="*/ 65 h 1251"/>
                <a:gd name="T110" fmla="*/ 95 w 701"/>
                <a:gd name="T111" fmla="*/ 46 h 1251"/>
                <a:gd name="T112" fmla="*/ 68 w 701"/>
                <a:gd name="T113" fmla="*/ 27 h 1251"/>
                <a:gd name="T114" fmla="*/ 44 w 701"/>
                <a:gd name="T115" fmla="*/ 16 h 1251"/>
                <a:gd name="T116" fmla="*/ 4 w 701"/>
                <a:gd name="T117" fmla="*/ 13 h 1251"/>
                <a:gd name="T118" fmla="*/ 62 w 701"/>
                <a:gd name="T119" fmla="*/ 136 h 1251"/>
                <a:gd name="T120" fmla="*/ 134 w 701"/>
                <a:gd name="T121" fmla="*/ 249 h 1251"/>
                <a:gd name="T122" fmla="*/ 190 w 701"/>
                <a:gd name="T123" fmla="*/ 296 h 1251"/>
                <a:gd name="T124" fmla="*/ 208 w 701"/>
                <a:gd name="T125" fmla="*/ 308 h 1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1" h="1251">
                  <a:moveTo>
                    <a:pt x="185" y="303"/>
                  </a:moveTo>
                  <a:lnTo>
                    <a:pt x="189" y="313"/>
                  </a:lnTo>
                  <a:lnTo>
                    <a:pt x="193" y="324"/>
                  </a:lnTo>
                  <a:lnTo>
                    <a:pt x="198" y="333"/>
                  </a:lnTo>
                  <a:lnTo>
                    <a:pt x="199" y="341"/>
                  </a:lnTo>
                  <a:lnTo>
                    <a:pt x="204" y="350"/>
                  </a:lnTo>
                  <a:lnTo>
                    <a:pt x="209" y="358"/>
                  </a:lnTo>
                  <a:lnTo>
                    <a:pt x="212" y="364"/>
                  </a:lnTo>
                  <a:lnTo>
                    <a:pt x="214" y="366"/>
                  </a:lnTo>
                  <a:lnTo>
                    <a:pt x="217" y="366"/>
                  </a:lnTo>
                  <a:lnTo>
                    <a:pt x="220" y="368"/>
                  </a:lnTo>
                  <a:lnTo>
                    <a:pt x="226" y="376"/>
                  </a:lnTo>
                  <a:lnTo>
                    <a:pt x="230" y="384"/>
                  </a:lnTo>
                  <a:lnTo>
                    <a:pt x="234" y="393"/>
                  </a:lnTo>
                  <a:lnTo>
                    <a:pt x="241" y="406"/>
                  </a:lnTo>
                  <a:lnTo>
                    <a:pt x="247" y="416"/>
                  </a:lnTo>
                  <a:lnTo>
                    <a:pt x="250" y="424"/>
                  </a:lnTo>
                  <a:lnTo>
                    <a:pt x="253" y="435"/>
                  </a:lnTo>
                  <a:lnTo>
                    <a:pt x="256" y="444"/>
                  </a:lnTo>
                  <a:lnTo>
                    <a:pt x="261" y="453"/>
                  </a:lnTo>
                  <a:lnTo>
                    <a:pt x="268" y="464"/>
                  </a:lnTo>
                  <a:lnTo>
                    <a:pt x="271" y="472"/>
                  </a:lnTo>
                  <a:lnTo>
                    <a:pt x="274" y="483"/>
                  </a:lnTo>
                  <a:lnTo>
                    <a:pt x="278" y="495"/>
                  </a:lnTo>
                  <a:lnTo>
                    <a:pt x="284" y="520"/>
                  </a:lnTo>
                  <a:lnTo>
                    <a:pt x="286" y="535"/>
                  </a:lnTo>
                  <a:lnTo>
                    <a:pt x="287" y="545"/>
                  </a:lnTo>
                  <a:lnTo>
                    <a:pt x="287" y="553"/>
                  </a:lnTo>
                  <a:lnTo>
                    <a:pt x="289" y="555"/>
                  </a:lnTo>
                  <a:lnTo>
                    <a:pt x="293" y="552"/>
                  </a:lnTo>
                  <a:lnTo>
                    <a:pt x="295" y="547"/>
                  </a:lnTo>
                  <a:lnTo>
                    <a:pt x="298" y="543"/>
                  </a:lnTo>
                  <a:lnTo>
                    <a:pt x="302" y="542"/>
                  </a:lnTo>
                  <a:lnTo>
                    <a:pt x="304" y="543"/>
                  </a:lnTo>
                  <a:lnTo>
                    <a:pt x="304" y="545"/>
                  </a:lnTo>
                  <a:lnTo>
                    <a:pt x="301" y="551"/>
                  </a:lnTo>
                  <a:lnTo>
                    <a:pt x="295" y="557"/>
                  </a:lnTo>
                  <a:lnTo>
                    <a:pt x="293" y="560"/>
                  </a:lnTo>
                  <a:lnTo>
                    <a:pt x="295" y="569"/>
                  </a:lnTo>
                  <a:lnTo>
                    <a:pt x="306" y="595"/>
                  </a:lnTo>
                  <a:lnTo>
                    <a:pt x="311" y="608"/>
                  </a:lnTo>
                  <a:lnTo>
                    <a:pt x="316" y="617"/>
                  </a:lnTo>
                  <a:lnTo>
                    <a:pt x="326" y="637"/>
                  </a:lnTo>
                  <a:lnTo>
                    <a:pt x="329" y="646"/>
                  </a:lnTo>
                  <a:lnTo>
                    <a:pt x="334" y="657"/>
                  </a:lnTo>
                  <a:lnTo>
                    <a:pt x="342" y="672"/>
                  </a:lnTo>
                  <a:lnTo>
                    <a:pt x="345" y="684"/>
                  </a:lnTo>
                  <a:lnTo>
                    <a:pt x="349" y="696"/>
                  </a:lnTo>
                  <a:lnTo>
                    <a:pt x="352" y="709"/>
                  </a:lnTo>
                  <a:lnTo>
                    <a:pt x="354" y="716"/>
                  </a:lnTo>
                  <a:lnTo>
                    <a:pt x="358" y="718"/>
                  </a:lnTo>
                  <a:lnTo>
                    <a:pt x="361" y="718"/>
                  </a:lnTo>
                  <a:lnTo>
                    <a:pt x="366" y="718"/>
                  </a:lnTo>
                  <a:lnTo>
                    <a:pt x="369" y="717"/>
                  </a:lnTo>
                  <a:lnTo>
                    <a:pt x="374" y="716"/>
                  </a:lnTo>
                  <a:lnTo>
                    <a:pt x="378" y="713"/>
                  </a:lnTo>
                  <a:lnTo>
                    <a:pt x="382" y="713"/>
                  </a:lnTo>
                  <a:lnTo>
                    <a:pt x="382" y="716"/>
                  </a:lnTo>
                  <a:lnTo>
                    <a:pt x="380" y="718"/>
                  </a:lnTo>
                  <a:lnTo>
                    <a:pt x="376" y="723"/>
                  </a:lnTo>
                  <a:lnTo>
                    <a:pt x="375" y="726"/>
                  </a:lnTo>
                  <a:lnTo>
                    <a:pt x="373" y="727"/>
                  </a:lnTo>
                  <a:lnTo>
                    <a:pt x="372" y="727"/>
                  </a:lnTo>
                  <a:lnTo>
                    <a:pt x="372" y="729"/>
                  </a:lnTo>
                  <a:lnTo>
                    <a:pt x="375" y="731"/>
                  </a:lnTo>
                  <a:lnTo>
                    <a:pt x="375" y="733"/>
                  </a:lnTo>
                  <a:lnTo>
                    <a:pt x="375" y="737"/>
                  </a:lnTo>
                  <a:lnTo>
                    <a:pt x="375" y="742"/>
                  </a:lnTo>
                  <a:lnTo>
                    <a:pt x="377" y="744"/>
                  </a:lnTo>
                  <a:lnTo>
                    <a:pt x="381" y="747"/>
                  </a:lnTo>
                  <a:lnTo>
                    <a:pt x="382" y="751"/>
                  </a:lnTo>
                  <a:lnTo>
                    <a:pt x="382" y="757"/>
                  </a:lnTo>
                  <a:lnTo>
                    <a:pt x="382" y="766"/>
                  </a:lnTo>
                  <a:lnTo>
                    <a:pt x="384" y="772"/>
                  </a:lnTo>
                  <a:lnTo>
                    <a:pt x="388" y="776"/>
                  </a:lnTo>
                  <a:lnTo>
                    <a:pt x="388" y="780"/>
                  </a:lnTo>
                  <a:lnTo>
                    <a:pt x="389" y="783"/>
                  </a:lnTo>
                  <a:lnTo>
                    <a:pt x="392" y="782"/>
                  </a:lnTo>
                  <a:lnTo>
                    <a:pt x="392" y="784"/>
                  </a:lnTo>
                  <a:lnTo>
                    <a:pt x="393" y="789"/>
                  </a:lnTo>
                  <a:lnTo>
                    <a:pt x="396" y="795"/>
                  </a:lnTo>
                  <a:lnTo>
                    <a:pt x="397" y="797"/>
                  </a:lnTo>
                  <a:lnTo>
                    <a:pt x="400" y="797"/>
                  </a:lnTo>
                  <a:lnTo>
                    <a:pt x="402" y="799"/>
                  </a:lnTo>
                  <a:lnTo>
                    <a:pt x="402" y="801"/>
                  </a:lnTo>
                  <a:lnTo>
                    <a:pt x="402" y="805"/>
                  </a:lnTo>
                  <a:lnTo>
                    <a:pt x="405" y="805"/>
                  </a:lnTo>
                  <a:lnTo>
                    <a:pt x="407" y="805"/>
                  </a:lnTo>
                  <a:lnTo>
                    <a:pt x="408" y="801"/>
                  </a:lnTo>
                  <a:lnTo>
                    <a:pt x="410" y="799"/>
                  </a:lnTo>
                  <a:lnTo>
                    <a:pt x="413" y="801"/>
                  </a:lnTo>
                  <a:lnTo>
                    <a:pt x="413" y="805"/>
                  </a:lnTo>
                  <a:lnTo>
                    <a:pt x="413" y="807"/>
                  </a:lnTo>
                  <a:lnTo>
                    <a:pt x="417" y="809"/>
                  </a:lnTo>
                  <a:lnTo>
                    <a:pt x="421" y="811"/>
                  </a:lnTo>
                  <a:lnTo>
                    <a:pt x="422" y="817"/>
                  </a:lnTo>
                  <a:lnTo>
                    <a:pt x="421" y="823"/>
                  </a:lnTo>
                  <a:lnTo>
                    <a:pt x="418" y="825"/>
                  </a:lnTo>
                  <a:lnTo>
                    <a:pt x="417" y="830"/>
                  </a:lnTo>
                  <a:lnTo>
                    <a:pt x="417" y="833"/>
                  </a:lnTo>
                  <a:lnTo>
                    <a:pt x="420" y="839"/>
                  </a:lnTo>
                  <a:lnTo>
                    <a:pt x="421" y="844"/>
                  </a:lnTo>
                  <a:lnTo>
                    <a:pt x="418" y="849"/>
                  </a:lnTo>
                  <a:lnTo>
                    <a:pt x="418" y="853"/>
                  </a:lnTo>
                  <a:lnTo>
                    <a:pt x="420" y="854"/>
                  </a:lnTo>
                  <a:lnTo>
                    <a:pt x="422" y="855"/>
                  </a:lnTo>
                  <a:lnTo>
                    <a:pt x="428" y="855"/>
                  </a:lnTo>
                  <a:lnTo>
                    <a:pt x="430" y="856"/>
                  </a:lnTo>
                  <a:lnTo>
                    <a:pt x="430" y="859"/>
                  </a:lnTo>
                  <a:lnTo>
                    <a:pt x="429" y="861"/>
                  </a:lnTo>
                  <a:lnTo>
                    <a:pt x="426" y="863"/>
                  </a:lnTo>
                  <a:lnTo>
                    <a:pt x="425" y="865"/>
                  </a:lnTo>
                  <a:lnTo>
                    <a:pt x="425" y="867"/>
                  </a:lnTo>
                  <a:lnTo>
                    <a:pt x="426" y="868"/>
                  </a:lnTo>
                  <a:lnTo>
                    <a:pt x="429" y="867"/>
                  </a:lnTo>
                  <a:lnTo>
                    <a:pt x="430" y="869"/>
                  </a:lnTo>
                  <a:lnTo>
                    <a:pt x="430" y="870"/>
                  </a:lnTo>
                  <a:lnTo>
                    <a:pt x="428" y="873"/>
                  </a:lnTo>
                  <a:lnTo>
                    <a:pt x="428" y="876"/>
                  </a:lnTo>
                  <a:lnTo>
                    <a:pt x="430" y="878"/>
                  </a:lnTo>
                  <a:lnTo>
                    <a:pt x="431" y="880"/>
                  </a:lnTo>
                  <a:lnTo>
                    <a:pt x="430" y="883"/>
                  </a:lnTo>
                  <a:lnTo>
                    <a:pt x="429" y="888"/>
                  </a:lnTo>
                  <a:lnTo>
                    <a:pt x="430" y="892"/>
                  </a:lnTo>
                  <a:lnTo>
                    <a:pt x="433" y="893"/>
                  </a:lnTo>
                  <a:lnTo>
                    <a:pt x="439" y="894"/>
                  </a:lnTo>
                  <a:lnTo>
                    <a:pt x="444" y="895"/>
                  </a:lnTo>
                  <a:lnTo>
                    <a:pt x="447" y="897"/>
                  </a:lnTo>
                  <a:lnTo>
                    <a:pt x="448" y="901"/>
                  </a:lnTo>
                  <a:lnTo>
                    <a:pt x="448" y="905"/>
                  </a:lnTo>
                  <a:lnTo>
                    <a:pt x="448" y="909"/>
                  </a:lnTo>
                  <a:lnTo>
                    <a:pt x="445" y="911"/>
                  </a:lnTo>
                  <a:lnTo>
                    <a:pt x="442" y="911"/>
                  </a:lnTo>
                  <a:lnTo>
                    <a:pt x="439" y="910"/>
                  </a:lnTo>
                  <a:lnTo>
                    <a:pt x="436" y="908"/>
                  </a:lnTo>
                  <a:lnTo>
                    <a:pt x="433" y="909"/>
                  </a:lnTo>
                  <a:lnTo>
                    <a:pt x="432" y="912"/>
                  </a:lnTo>
                  <a:lnTo>
                    <a:pt x="431" y="912"/>
                  </a:lnTo>
                  <a:lnTo>
                    <a:pt x="429" y="911"/>
                  </a:lnTo>
                  <a:lnTo>
                    <a:pt x="428" y="909"/>
                  </a:lnTo>
                  <a:lnTo>
                    <a:pt x="424" y="908"/>
                  </a:lnTo>
                  <a:lnTo>
                    <a:pt x="421" y="908"/>
                  </a:lnTo>
                  <a:lnTo>
                    <a:pt x="417" y="908"/>
                  </a:lnTo>
                  <a:lnTo>
                    <a:pt x="415" y="905"/>
                  </a:lnTo>
                  <a:lnTo>
                    <a:pt x="413" y="904"/>
                  </a:lnTo>
                  <a:lnTo>
                    <a:pt x="410" y="903"/>
                  </a:lnTo>
                  <a:lnTo>
                    <a:pt x="408" y="902"/>
                  </a:lnTo>
                  <a:lnTo>
                    <a:pt x="408" y="899"/>
                  </a:lnTo>
                  <a:lnTo>
                    <a:pt x="408" y="895"/>
                  </a:lnTo>
                  <a:lnTo>
                    <a:pt x="409" y="893"/>
                  </a:lnTo>
                  <a:lnTo>
                    <a:pt x="410" y="891"/>
                  </a:lnTo>
                  <a:lnTo>
                    <a:pt x="413" y="887"/>
                  </a:lnTo>
                  <a:lnTo>
                    <a:pt x="413" y="885"/>
                  </a:lnTo>
                  <a:lnTo>
                    <a:pt x="413" y="883"/>
                  </a:lnTo>
                  <a:lnTo>
                    <a:pt x="414" y="880"/>
                  </a:lnTo>
                  <a:lnTo>
                    <a:pt x="415" y="878"/>
                  </a:lnTo>
                  <a:lnTo>
                    <a:pt x="416" y="877"/>
                  </a:lnTo>
                  <a:lnTo>
                    <a:pt x="416" y="872"/>
                  </a:lnTo>
                  <a:lnTo>
                    <a:pt x="417" y="870"/>
                  </a:lnTo>
                  <a:lnTo>
                    <a:pt x="417" y="868"/>
                  </a:lnTo>
                  <a:lnTo>
                    <a:pt x="417" y="865"/>
                  </a:lnTo>
                  <a:lnTo>
                    <a:pt x="418" y="863"/>
                  </a:lnTo>
                  <a:lnTo>
                    <a:pt x="416" y="860"/>
                  </a:lnTo>
                  <a:lnTo>
                    <a:pt x="414" y="859"/>
                  </a:lnTo>
                  <a:lnTo>
                    <a:pt x="412" y="857"/>
                  </a:lnTo>
                  <a:lnTo>
                    <a:pt x="410" y="855"/>
                  </a:lnTo>
                  <a:lnTo>
                    <a:pt x="409" y="853"/>
                  </a:lnTo>
                  <a:lnTo>
                    <a:pt x="410" y="849"/>
                  </a:lnTo>
                  <a:lnTo>
                    <a:pt x="413" y="847"/>
                  </a:lnTo>
                  <a:lnTo>
                    <a:pt x="414" y="844"/>
                  </a:lnTo>
                  <a:lnTo>
                    <a:pt x="414" y="841"/>
                  </a:lnTo>
                  <a:lnTo>
                    <a:pt x="414" y="837"/>
                  </a:lnTo>
                  <a:lnTo>
                    <a:pt x="413" y="833"/>
                  </a:lnTo>
                  <a:lnTo>
                    <a:pt x="413" y="830"/>
                  </a:lnTo>
                  <a:lnTo>
                    <a:pt x="412" y="828"/>
                  </a:lnTo>
                  <a:lnTo>
                    <a:pt x="412" y="825"/>
                  </a:lnTo>
                  <a:lnTo>
                    <a:pt x="410" y="822"/>
                  </a:lnTo>
                  <a:lnTo>
                    <a:pt x="409" y="820"/>
                  </a:lnTo>
                  <a:lnTo>
                    <a:pt x="409" y="817"/>
                  </a:lnTo>
                  <a:lnTo>
                    <a:pt x="408" y="813"/>
                  </a:lnTo>
                  <a:lnTo>
                    <a:pt x="407" y="812"/>
                  </a:lnTo>
                  <a:lnTo>
                    <a:pt x="405" y="811"/>
                  </a:lnTo>
                  <a:lnTo>
                    <a:pt x="402" y="809"/>
                  </a:lnTo>
                  <a:lnTo>
                    <a:pt x="400" y="811"/>
                  </a:lnTo>
                  <a:lnTo>
                    <a:pt x="400" y="814"/>
                  </a:lnTo>
                  <a:lnTo>
                    <a:pt x="400" y="817"/>
                  </a:lnTo>
                  <a:lnTo>
                    <a:pt x="401" y="822"/>
                  </a:lnTo>
                  <a:lnTo>
                    <a:pt x="402" y="825"/>
                  </a:lnTo>
                  <a:lnTo>
                    <a:pt x="404" y="831"/>
                  </a:lnTo>
                  <a:lnTo>
                    <a:pt x="407" y="838"/>
                  </a:lnTo>
                  <a:lnTo>
                    <a:pt x="408" y="843"/>
                  </a:lnTo>
                  <a:lnTo>
                    <a:pt x="408" y="845"/>
                  </a:lnTo>
                  <a:lnTo>
                    <a:pt x="409" y="847"/>
                  </a:lnTo>
                  <a:lnTo>
                    <a:pt x="408" y="847"/>
                  </a:lnTo>
                  <a:lnTo>
                    <a:pt x="407" y="846"/>
                  </a:lnTo>
                  <a:lnTo>
                    <a:pt x="405" y="843"/>
                  </a:lnTo>
                  <a:lnTo>
                    <a:pt x="402" y="837"/>
                  </a:lnTo>
                  <a:lnTo>
                    <a:pt x="401" y="831"/>
                  </a:lnTo>
                  <a:lnTo>
                    <a:pt x="399" y="824"/>
                  </a:lnTo>
                  <a:lnTo>
                    <a:pt x="398" y="820"/>
                  </a:lnTo>
                  <a:lnTo>
                    <a:pt x="397" y="816"/>
                  </a:lnTo>
                  <a:lnTo>
                    <a:pt x="396" y="813"/>
                  </a:lnTo>
                  <a:lnTo>
                    <a:pt x="396" y="811"/>
                  </a:lnTo>
                  <a:lnTo>
                    <a:pt x="394" y="808"/>
                  </a:lnTo>
                  <a:lnTo>
                    <a:pt x="391" y="807"/>
                  </a:lnTo>
                  <a:lnTo>
                    <a:pt x="389" y="805"/>
                  </a:lnTo>
                  <a:lnTo>
                    <a:pt x="388" y="803"/>
                  </a:lnTo>
                  <a:lnTo>
                    <a:pt x="386" y="798"/>
                  </a:lnTo>
                  <a:lnTo>
                    <a:pt x="385" y="795"/>
                  </a:lnTo>
                  <a:lnTo>
                    <a:pt x="384" y="790"/>
                  </a:lnTo>
                  <a:lnTo>
                    <a:pt x="382" y="788"/>
                  </a:lnTo>
                  <a:lnTo>
                    <a:pt x="381" y="788"/>
                  </a:lnTo>
                  <a:lnTo>
                    <a:pt x="377" y="789"/>
                  </a:lnTo>
                  <a:lnTo>
                    <a:pt x="377" y="793"/>
                  </a:lnTo>
                  <a:lnTo>
                    <a:pt x="378" y="797"/>
                  </a:lnTo>
                  <a:lnTo>
                    <a:pt x="380" y="804"/>
                  </a:lnTo>
                  <a:lnTo>
                    <a:pt x="381" y="807"/>
                  </a:lnTo>
                  <a:lnTo>
                    <a:pt x="382" y="812"/>
                  </a:lnTo>
                  <a:lnTo>
                    <a:pt x="383" y="817"/>
                  </a:lnTo>
                  <a:lnTo>
                    <a:pt x="384" y="821"/>
                  </a:lnTo>
                  <a:lnTo>
                    <a:pt x="384" y="824"/>
                  </a:lnTo>
                  <a:lnTo>
                    <a:pt x="386" y="831"/>
                  </a:lnTo>
                  <a:lnTo>
                    <a:pt x="389" y="836"/>
                  </a:lnTo>
                  <a:lnTo>
                    <a:pt x="389" y="841"/>
                  </a:lnTo>
                  <a:lnTo>
                    <a:pt x="390" y="845"/>
                  </a:lnTo>
                  <a:lnTo>
                    <a:pt x="391" y="851"/>
                  </a:lnTo>
                  <a:lnTo>
                    <a:pt x="392" y="857"/>
                  </a:lnTo>
                  <a:lnTo>
                    <a:pt x="393" y="869"/>
                  </a:lnTo>
                  <a:lnTo>
                    <a:pt x="394" y="883"/>
                  </a:lnTo>
                  <a:lnTo>
                    <a:pt x="398" y="911"/>
                  </a:lnTo>
                  <a:lnTo>
                    <a:pt x="398" y="923"/>
                  </a:lnTo>
                  <a:lnTo>
                    <a:pt x="402" y="933"/>
                  </a:lnTo>
                  <a:lnTo>
                    <a:pt x="416" y="966"/>
                  </a:lnTo>
                  <a:lnTo>
                    <a:pt x="431" y="995"/>
                  </a:lnTo>
                  <a:lnTo>
                    <a:pt x="444" y="1024"/>
                  </a:lnTo>
                  <a:lnTo>
                    <a:pt x="450" y="1036"/>
                  </a:lnTo>
                  <a:lnTo>
                    <a:pt x="453" y="1039"/>
                  </a:lnTo>
                  <a:lnTo>
                    <a:pt x="454" y="1041"/>
                  </a:lnTo>
                  <a:lnTo>
                    <a:pt x="454" y="1046"/>
                  </a:lnTo>
                  <a:lnTo>
                    <a:pt x="454" y="1054"/>
                  </a:lnTo>
                  <a:lnTo>
                    <a:pt x="454" y="1062"/>
                  </a:lnTo>
                  <a:lnTo>
                    <a:pt x="456" y="1065"/>
                  </a:lnTo>
                  <a:lnTo>
                    <a:pt x="458" y="1068"/>
                  </a:lnTo>
                  <a:lnTo>
                    <a:pt x="461" y="1067"/>
                  </a:lnTo>
                  <a:lnTo>
                    <a:pt x="464" y="1062"/>
                  </a:lnTo>
                  <a:lnTo>
                    <a:pt x="464" y="1060"/>
                  </a:lnTo>
                  <a:lnTo>
                    <a:pt x="464" y="1055"/>
                  </a:lnTo>
                  <a:lnTo>
                    <a:pt x="466" y="1053"/>
                  </a:lnTo>
                  <a:lnTo>
                    <a:pt x="470" y="1053"/>
                  </a:lnTo>
                  <a:lnTo>
                    <a:pt x="474" y="1054"/>
                  </a:lnTo>
                  <a:lnTo>
                    <a:pt x="477" y="1055"/>
                  </a:lnTo>
                  <a:lnTo>
                    <a:pt x="481" y="1054"/>
                  </a:lnTo>
                  <a:lnTo>
                    <a:pt x="486" y="1052"/>
                  </a:lnTo>
                  <a:lnTo>
                    <a:pt x="488" y="1051"/>
                  </a:lnTo>
                  <a:lnTo>
                    <a:pt x="492" y="1049"/>
                  </a:lnTo>
                  <a:lnTo>
                    <a:pt x="494" y="1051"/>
                  </a:lnTo>
                  <a:lnTo>
                    <a:pt x="494" y="1053"/>
                  </a:lnTo>
                  <a:lnTo>
                    <a:pt x="492" y="1056"/>
                  </a:lnTo>
                  <a:lnTo>
                    <a:pt x="489" y="1057"/>
                  </a:lnTo>
                  <a:lnTo>
                    <a:pt x="488" y="1060"/>
                  </a:lnTo>
                  <a:lnTo>
                    <a:pt x="488" y="1063"/>
                  </a:lnTo>
                  <a:lnTo>
                    <a:pt x="488" y="1065"/>
                  </a:lnTo>
                  <a:lnTo>
                    <a:pt x="487" y="1067"/>
                  </a:lnTo>
                  <a:lnTo>
                    <a:pt x="485" y="1067"/>
                  </a:lnTo>
                  <a:lnTo>
                    <a:pt x="478" y="1067"/>
                  </a:lnTo>
                  <a:lnTo>
                    <a:pt x="472" y="1067"/>
                  </a:lnTo>
                  <a:lnTo>
                    <a:pt x="470" y="1070"/>
                  </a:lnTo>
                  <a:lnTo>
                    <a:pt x="469" y="1072"/>
                  </a:lnTo>
                  <a:lnTo>
                    <a:pt x="468" y="1075"/>
                  </a:lnTo>
                  <a:lnTo>
                    <a:pt x="465" y="1075"/>
                  </a:lnTo>
                  <a:lnTo>
                    <a:pt x="463" y="1073"/>
                  </a:lnTo>
                  <a:lnTo>
                    <a:pt x="462" y="1077"/>
                  </a:lnTo>
                  <a:lnTo>
                    <a:pt x="463" y="1079"/>
                  </a:lnTo>
                  <a:lnTo>
                    <a:pt x="464" y="1081"/>
                  </a:lnTo>
                  <a:lnTo>
                    <a:pt x="468" y="1084"/>
                  </a:lnTo>
                  <a:lnTo>
                    <a:pt x="471" y="1084"/>
                  </a:lnTo>
                  <a:lnTo>
                    <a:pt x="474" y="1086"/>
                  </a:lnTo>
                  <a:lnTo>
                    <a:pt x="479" y="1087"/>
                  </a:lnTo>
                  <a:lnTo>
                    <a:pt x="482" y="1089"/>
                  </a:lnTo>
                  <a:lnTo>
                    <a:pt x="484" y="1092"/>
                  </a:lnTo>
                  <a:lnTo>
                    <a:pt x="485" y="1094"/>
                  </a:lnTo>
                  <a:lnTo>
                    <a:pt x="486" y="1095"/>
                  </a:lnTo>
                  <a:lnTo>
                    <a:pt x="488" y="1095"/>
                  </a:lnTo>
                  <a:lnTo>
                    <a:pt x="490" y="1094"/>
                  </a:lnTo>
                  <a:lnTo>
                    <a:pt x="494" y="1092"/>
                  </a:lnTo>
                  <a:lnTo>
                    <a:pt x="497" y="1092"/>
                  </a:lnTo>
                  <a:lnTo>
                    <a:pt x="498" y="1094"/>
                  </a:lnTo>
                  <a:lnTo>
                    <a:pt x="496" y="1096"/>
                  </a:lnTo>
                  <a:lnTo>
                    <a:pt x="495" y="1100"/>
                  </a:lnTo>
                  <a:lnTo>
                    <a:pt x="495" y="1103"/>
                  </a:lnTo>
                  <a:lnTo>
                    <a:pt x="496" y="1108"/>
                  </a:lnTo>
                  <a:lnTo>
                    <a:pt x="501" y="1111"/>
                  </a:lnTo>
                  <a:lnTo>
                    <a:pt x="503" y="1116"/>
                  </a:lnTo>
                  <a:lnTo>
                    <a:pt x="504" y="1118"/>
                  </a:lnTo>
                  <a:lnTo>
                    <a:pt x="506" y="1121"/>
                  </a:lnTo>
                  <a:lnTo>
                    <a:pt x="508" y="1125"/>
                  </a:lnTo>
                  <a:lnTo>
                    <a:pt x="511" y="1127"/>
                  </a:lnTo>
                  <a:lnTo>
                    <a:pt x="513" y="1129"/>
                  </a:lnTo>
                  <a:lnTo>
                    <a:pt x="514" y="1133"/>
                  </a:lnTo>
                  <a:lnTo>
                    <a:pt x="517" y="1135"/>
                  </a:lnTo>
                  <a:lnTo>
                    <a:pt x="520" y="1139"/>
                  </a:lnTo>
                  <a:lnTo>
                    <a:pt x="522" y="1142"/>
                  </a:lnTo>
                  <a:lnTo>
                    <a:pt x="524" y="1145"/>
                  </a:lnTo>
                  <a:lnTo>
                    <a:pt x="526" y="1150"/>
                  </a:lnTo>
                  <a:lnTo>
                    <a:pt x="530" y="1156"/>
                  </a:lnTo>
                  <a:lnTo>
                    <a:pt x="537" y="1165"/>
                  </a:lnTo>
                  <a:lnTo>
                    <a:pt x="545" y="1175"/>
                  </a:lnTo>
                  <a:lnTo>
                    <a:pt x="554" y="1185"/>
                  </a:lnTo>
                  <a:lnTo>
                    <a:pt x="567" y="1199"/>
                  </a:lnTo>
                  <a:lnTo>
                    <a:pt x="573" y="1208"/>
                  </a:lnTo>
                  <a:lnTo>
                    <a:pt x="578" y="1219"/>
                  </a:lnTo>
                  <a:lnTo>
                    <a:pt x="583" y="1225"/>
                  </a:lnTo>
                  <a:lnTo>
                    <a:pt x="592" y="1233"/>
                  </a:lnTo>
                  <a:lnTo>
                    <a:pt x="597" y="1236"/>
                  </a:lnTo>
                  <a:lnTo>
                    <a:pt x="599" y="1237"/>
                  </a:lnTo>
                  <a:lnTo>
                    <a:pt x="601" y="1239"/>
                  </a:lnTo>
                  <a:lnTo>
                    <a:pt x="604" y="1243"/>
                  </a:lnTo>
                  <a:lnTo>
                    <a:pt x="606" y="1246"/>
                  </a:lnTo>
                  <a:lnTo>
                    <a:pt x="606" y="1247"/>
                  </a:lnTo>
                  <a:lnTo>
                    <a:pt x="607" y="1249"/>
                  </a:lnTo>
                  <a:lnTo>
                    <a:pt x="609" y="1249"/>
                  </a:lnTo>
                  <a:lnTo>
                    <a:pt x="613" y="1251"/>
                  </a:lnTo>
                  <a:lnTo>
                    <a:pt x="615" y="1251"/>
                  </a:lnTo>
                  <a:lnTo>
                    <a:pt x="623" y="1231"/>
                  </a:lnTo>
                  <a:lnTo>
                    <a:pt x="624" y="1229"/>
                  </a:lnTo>
                  <a:lnTo>
                    <a:pt x="625" y="1227"/>
                  </a:lnTo>
                  <a:lnTo>
                    <a:pt x="625" y="1222"/>
                  </a:lnTo>
                  <a:lnTo>
                    <a:pt x="626" y="1220"/>
                  </a:lnTo>
                  <a:lnTo>
                    <a:pt x="628" y="1217"/>
                  </a:lnTo>
                  <a:lnTo>
                    <a:pt x="630" y="1216"/>
                  </a:lnTo>
                  <a:lnTo>
                    <a:pt x="631" y="1214"/>
                  </a:lnTo>
                  <a:lnTo>
                    <a:pt x="633" y="1213"/>
                  </a:lnTo>
                  <a:lnTo>
                    <a:pt x="634" y="1212"/>
                  </a:lnTo>
                  <a:lnTo>
                    <a:pt x="637" y="1208"/>
                  </a:lnTo>
                  <a:lnTo>
                    <a:pt x="639" y="1208"/>
                  </a:lnTo>
                  <a:lnTo>
                    <a:pt x="641" y="1207"/>
                  </a:lnTo>
                  <a:lnTo>
                    <a:pt x="642" y="1206"/>
                  </a:lnTo>
                  <a:lnTo>
                    <a:pt x="644" y="1203"/>
                  </a:lnTo>
                  <a:lnTo>
                    <a:pt x="645" y="1200"/>
                  </a:lnTo>
                  <a:lnTo>
                    <a:pt x="646" y="1198"/>
                  </a:lnTo>
                  <a:lnTo>
                    <a:pt x="647" y="1195"/>
                  </a:lnTo>
                  <a:lnTo>
                    <a:pt x="646" y="1191"/>
                  </a:lnTo>
                  <a:lnTo>
                    <a:pt x="646" y="1188"/>
                  </a:lnTo>
                  <a:lnTo>
                    <a:pt x="646" y="1185"/>
                  </a:lnTo>
                  <a:lnTo>
                    <a:pt x="646" y="1183"/>
                  </a:lnTo>
                  <a:lnTo>
                    <a:pt x="647" y="1181"/>
                  </a:lnTo>
                  <a:lnTo>
                    <a:pt x="648" y="1180"/>
                  </a:lnTo>
                  <a:lnTo>
                    <a:pt x="650" y="1180"/>
                  </a:lnTo>
                  <a:lnTo>
                    <a:pt x="653" y="1181"/>
                  </a:lnTo>
                  <a:lnTo>
                    <a:pt x="656" y="1183"/>
                  </a:lnTo>
                  <a:lnTo>
                    <a:pt x="658" y="1183"/>
                  </a:lnTo>
                  <a:lnTo>
                    <a:pt x="661" y="1182"/>
                  </a:lnTo>
                  <a:lnTo>
                    <a:pt x="662" y="1181"/>
                  </a:lnTo>
                  <a:lnTo>
                    <a:pt x="662" y="1180"/>
                  </a:lnTo>
                  <a:lnTo>
                    <a:pt x="663" y="1177"/>
                  </a:lnTo>
                  <a:lnTo>
                    <a:pt x="664" y="1176"/>
                  </a:lnTo>
                  <a:lnTo>
                    <a:pt x="665" y="1174"/>
                  </a:lnTo>
                  <a:lnTo>
                    <a:pt x="665" y="1173"/>
                  </a:lnTo>
                  <a:lnTo>
                    <a:pt x="665" y="1171"/>
                  </a:lnTo>
                  <a:lnTo>
                    <a:pt x="664" y="1168"/>
                  </a:lnTo>
                  <a:lnTo>
                    <a:pt x="664" y="1165"/>
                  </a:lnTo>
                  <a:lnTo>
                    <a:pt x="663" y="1159"/>
                  </a:lnTo>
                  <a:lnTo>
                    <a:pt x="657" y="1152"/>
                  </a:lnTo>
                  <a:lnTo>
                    <a:pt x="655" y="1150"/>
                  </a:lnTo>
                  <a:lnTo>
                    <a:pt x="653" y="1147"/>
                  </a:lnTo>
                  <a:lnTo>
                    <a:pt x="649" y="1143"/>
                  </a:lnTo>
                  <a:lnTo>
                    <a:pt x="647" y="1141"/>
                  </a:lnTo>
                  <a:lnTo>
                    <a:pt x="644" y="1137"/>
                  </a:lnTo>
                  <a:lnTo>
                    <a:pt x="641" y="1136"/>
                  </a:lnTo>
                  <a:lnTo>
                    <a:pt x="639" y="1132"/>
                  </a:lnTo>
                  <a:lnTo>
                    <a:pt x="638" y="1129"/>
                  </a:lnTo>
                  <a:lnTo>
                    <a:pt x="637" y="1127"/>
                  </a:lnTo>
                  <a:lnTo>
                    <a:pt x="637" y="1124"/>
                  </a:lnTo>
                  <a:lnTo>
                    <a:pt x="636" y="1119"/>
                  </a:lnTo>
                  <a:lnTo>
                    <a:pt x="637" y="1116"/>
                  </a:lnTo>
                  <a:lnTo>
                    <a:pt x="639" y="1111"/>
                  </a:lnTo>
                  <a:lnTo>
                    <a:pt x="640" y="1110"/>
                  </a:lnTo>
                  <a:lnTo>
                    <a:pt x="642" y="1109"/>
                  </a:lnTo>
                  <a:lnTo>
                    <a:pt x="644" y="1108"/>
                  </a:lnTo>
                  <a:lnTo>
                    <a:pt x="646" y="1107"/>
                  </a:lnTo>
                  <a:lnTo>
                    <a:pt x="648" y="1105"/>
                  </a:lnTo>
                  <a:lnTo>
                    <a:pt x="648" y="1104"/>
                  </a:lnTo>
                  <a:lnTo>
                    <a:pt x="653" y="1100"/>
                  </a:lnTo>
                  <a:lnTo>
                    <a:pt x="654" y="1097"/>
                  </a:lnTo>
                  <a:lnTo>
                    <a:pt x="655" y="1095"/>
                  </a:lnTo>
                  <a:lnTo>
                    <a:pt x="656" y="1094"/>
                  </a:lnTo>
                  <a:lnTo>
                    <a:pt x="657" y="1092"/>
                  </a:lnTo>
                  <a:lnTo>
                    <a:pt x="658" y="1091"/>
                  </a:lnTo>
                  <a:lnTo>
                    <a:pt x="658" y="1088"/>
                  </a:lnTo>
                  <a:lnTo>
                    <a:pt x="658" y="1086"/>
                  </a:lnTo>
                  <a:lnTo>
                    <a:pt x="657" y="1084"/>
                  </a:lnTo>
                  <a:lnTo>
                    <a:pt x="655" y="1080"/>
                  </a:lnTo>
                  <a:lnTo>
                    <a:pt x="654" y="1077"/>
                  </a:lnTo>
                  <a:lnTo>
                    <a:pt x="653" y="1075"/>
                  </a:lnTo>
                  <a:lnTo>
                    <a:pt x="652" y="1072"/>
                  </a:lnTo>
                  <a:lnTo>
                    <a:pt x="649" y="1069"/>
                  </a:lnTo>
                  <a:lnTo>
                    <a:pt x="648" y="1067"/>
                  </a:lnTo>
                  <a:lnTo>
                    <a:pt x="646" y="1064"/>
                  </a:lnTo>
                  <a:lnTo>
                    <a:pt x="642" y="1061"/>
                  </a:lnTo>
                  <a:lnTo>
                    <a:pt x="640" y="1059"/>
                  </a:lnTo>
                  <a:lnTo>
                    <a:pt x="638" y="1055"/>
                  </a:lnTo>
                  <a:lnTo>
                    <a:pt x="636" y="1052"/>
                  </a:lnTo>
                  <a:lnTo>
                    <a:pt x="634" y="1049"/>
                  </a:lnTo>
                  <a:lnTo>
                    <a:pt x="631" y="1046"/>
                  </a:lnTo>
                  <a:lnTo>
                    <a:pt x="631" y="1044"/>
                  </a:lnTo>
                  <a:lnTo>
                    <a:pt x="629" y="1043"/>
                  </a:lnTo>
                  <a:lnTo>
                    <a:pt x="629" y="1040"/>
                  </a:lnTo>
                  <a:lnTo>
                    <a:pt x="630" y="1038"/>
                  </a:lnTo>
                  <a:lnTo>
                    <a:pt x="630" y="1035"/>
                  </a:lnTo>
                  <a:lnTo>
                    <a:pt x="632" y="1032"/>
                  </a:lnTo>
                  <a:lnTo>
                    <a:pt x="636" y="1031"/>
                  </a:lnTo>
                  <a:lnTo>
                    <a:pt x="639" y="1030"/>
                  </a:lnTo>
                  <a:lnTo>
                    <a:pt x="641" y="1030"/>
                  </a:lnTo>
                  <a:lnTo>
                    <a:pt x="642" y="1029"/>
                  </a:lnTo>
                  <a:lnTo>
                    <a:pt x="644" y="1027"/>
                  </a:lnTo>
                  <a:lnTo>
                    <a:pt x="645" y="1024"/>
                  </a:lnTo>
                  <a:lnTo>
                    <a:pt x="646" y="1022"/>
                  </a:lnTo>
                  <a:lnTo>
                    <a:pt x="647" y="1019"/>
                  </a:lnTo>
                  <a:lnTo>
                    <a:pt x="647" y="1017"/>
                  </a:lnTo>
                  <a:lnTo>
                    <a:pt x="648" y="1015"/>
                  </a:lnTo>
                  <a:lnTo>
                    <a:pt x="653" y="1012"/>
                  </a:lnTo>
                  <a:lnTo>
                    <a:pt x="654" y="1012"/>
                  </a:lnTo>
                  <a:lnTo>
                    <a:pt x="655" y="1011"/>
                  </a:lnTo>
                  <a:lnTo>
                    <a:pt x="660" y="1008"/>
                  </a:lnTo>
                  <a:lnTo>
                    <a:pt x="660" y="1004"/>
                  </a:lnTo>
                  <a:lnTo>
                    <a:pt x="661" y="1001"/>
                  </a:lnTo>
                  <a:lnTo>
                    <a:pt x="662" y="998"/>
                  </a:lnTo>
                  <a:lnTo>
                    <a:pt x="662" y="996"/>
                  </a:lnTo>
                  <a:lnTo>
                    <a:pt x="662" y="991"/>
                  </a:lnTo>
                  <a:lnTo>
                    <a:pt x="662" y="988"/>
                  </a:lnTo>
                  <a:lnTo>
                    <a:pt x="662" y="984"/>
                  </a:lnTo>
                  <a:lnTo>
                    <a:pt x="664" y="982"/>
                  </a:lnTo>
                  <a:lnTo>
                    <a:pt x="664" y="980"/>
                  </a:lnTo>
                  <a:lnTo>
                    <a:pt x="666" y="976"/>
                  </a:lnTo>
                  <a:lnTo>
                    <a:pt x="668" y="975"/>
                  </a:lnTo>
                  <a:lnTo>
                    <a:pt x="669" y="968"/>
                  </a:lnTo>
                  <a:lnTo>
                    <a:pt x="669" y="964"/>
                  </a:lnTo>
                  <a:lnTo>
                    <a:pt x="670" y="961"/>
                  </a:lnTo>
                  <a:lnTo>
                    <a:pt x="672" y="957"/>
                  </a:lnTo>
                  <a:lnTo>
                    <a:pt x="673" y="953"/>
                  </a:lnTo>
                  <a:lnTo>
                    <a:pt x="674" y="949"/>
                  </a:lnTo>
                  <a:lnTo>
                    <a:pt x="677" y="944"/>
                  </a:lnTo>
                  <a:lnTo>
                    <a:pt x="677" y="941"/>
                  </a:lnTo>
                  <a:lnTo>
                    <a:pt x="680" y="936"/>
                  </a:lnTo>
                  <a:lnTo>
                    <a:pt x="681" y="934"/>
                  </a:lnTo>
                  <a:lnTo>
                    <a:pt x="682" y="931"/>
                  </a:lnTo>
                  <a:lnTo>
                    <a:pt x="685" y="928"/>
                  </a:lnTo>
                  <a:lnTo>
                    <a:pt x="687" y="926"/>
                  </a:lnTo>
                  <a:lnTo>
                    <a:pt x="689" y="923"/>
                  </a:lnTo>
                  <a:lnTo>
                    <a:pt x="690" y="919"/>
                  </a:lnTo>
                  <a:lnTo>
                    <a:pt x="693" y="918"/>
                  </a:lnTo>
                  <a:lnTo>
                    <a:pt x="695" y="916"/>
                  </a:lnTo>
                  <a:lnTo>
                    <a:pt x="696" y="913"/>
                  </a:lnTo>
                  <a:lnTo>
                    <a:pt x="698" y="911"/>
                  </a:lnTo>
                  <a:lnTo>
                    <a:pt x="700" y="908"/>
                  </a:lnTo>
                  <a:lnTo>
                    <a:pt x="701" y="904"/>
                  </a:lnTo>
                  <a:lnTo>
                    <a:pt x="700" y="902"/>
                  </a:lnTo>
                  <a:lnTo>
                    <a:pt x="700" y="900"/>
                  </a:lnTo>
                  <a:lnTo>
                    <a:pt x="696" y="899"/>
                  </a:lnTo>
                  <a:lnTo>
                    <a:pt x="694" y="899"/>
                  </a:lnTo>
                  <a:lnTo>
                    <a:pt x="692" y="899"/>
                  </a:lnTo>
                  <a:lnTo>
                    <a:pt x="689" y="896"/>
                  </a:lnTo>
                  <a:lnTo>
                    <a:pt x="689" y="893"/>
                  </a:lnTo>
                  <a:lnTo>
                    <a:pt x="690" y="891"/>
                  </a:lnTo>
                  <a:lnTo>
                    <a:pt x="692" y="888"/>
                  </a:lnTo>
                  <a:lnTo>
                    <a:pt x="694" y="887"/>
                  </a:lnTo>
                  <a:lnTo>
                    <a:pt x="694" y="885"/>
                  </a:lnTo>
                  <a:lnTo>
                    <a:pt x="693" y="884"/>
                  </a:lnTo>
                  <a:lnTo>
                    <a:pt x="690" y="883"/>
                  </a:lnTo>
                  <a:lnTo>
                    <a:pt x="690" y="881"/>
                  </a:lnTo>
                  <a:lnTo>
                    <a:pt x="692" y="880"/>
                  </a:lnTo>
                  <a:lnTo>
                    <a:pt x="692" y="878"/>
                  </a:lnTo>
                  <a:lnTo>
                    <a:pt x="692" y="876"/>
                  </a:lnTo>
                  <a:lnTo>
                    <a:pt x="689" y="875"/>
                  </a:lnTo>
                  <a:lnTo>
                    <a:pt x="686" y="875"/>
                  </a:lnTo>
                  <a:lnTo>
                    <a:pt x="685" y="877"/>
                  </a:lnTo>
                  <a:lnTo>
                    <a:pt x="682" y="878"/>
                  </a:lnTo>
                  <a:lnTo>
                    <a:pt x="679" y="880"/>
                  </a:lnTo>
                  <a:lnTo>
                    <a:pt x="678" y="880"/>
                  </a:lnTo>
                  <a:lnTo>
                    <a:pt x="678" y="879"/>
                  </a:lnTo>
                  <a:lnTo>
                    <a:pt x="677" y="878"/>
                  </a:lnTo>
                  <a:lnTo>
                    <a:pt x="677" y="875"/>
                  </a:lnTo>
                  <a:lnTo>
                    <a:pt x="676" y="872"/>
                  </a:lnTo>
                  <a:lnTo>
                    <a:pt x="672" y="871"/>
                  </a:lnTo>
                  <a:lnTo>
                    <a:pt x="670" y="875"/>
                  </a:lnTo>
                  <a:lnTo>
                    <a:pt x="669" y="877"/>
                  </a:lnTo>
                  <a:lnTo>
                    <a:pt x="666" y="878"/>
                  </a:lnTo>
                  <a:lnTo>
                    <a:pt x="666" y="881"/>
                  </a:lnTo>
                  <a:lnTo>
                    <a:pt x="663" y="884"/>
                  </a:lnTo>
                  <a:lnTo>
                    <a:pt x="661" y="885"/>
                  </a:lnTo>
                  <a:lnTo>
                    <a:pt x="657" y="885"/>
                  </a:lnTo>
                  <a:lnTo>
                    <a:pt x="654" y="883"/>
                  </a:lnTo>
                  <a:lnTo>
                    <a:pt x="653" y="881"/>
                  </a:lnTo>
                  <a:lnTo>
                    <a:pt x="650" y="880"/>
                  </a:lnTo>
                  <a:lnTo>
                    <a:pt x="646" y="877"/>
                  </a:lnTo>
                  <a:lnTo>
                    <a:pt x="642" y="875"/>
                  </a:lnTo>
                  <a:lnTo>
                    <a:pt x="639" y="873"/>
                  </a:lnTo>
                  <a:lnTo>
                    <a:pt x="637" y="870"/>
                  </a:lnTo>
                  <a:lnTo>
                    <a:pt x="639" y="865"/>
                  </a:lnTo>
                  <a:lnTo>
                    <a:pt x="642" y="857"/>
                  </a:lnTo>
                  <a:lnTo>
                    <a:pt x="644" y="855"/>
                  </a:lnTo>
                  <a:lnTo>
                    <a:pt x="646" y="849"/>
                  </a:lnTo>
                  <a:lnTo>
                    <a:pt x="648" y="843"/>
                  </a:lnTo>
                  <a:lnTo>
                    <a:pt x="649" y="838"/>
                  </a:lnTo>
                  <a:lnTo>
                    <a:pt x="652" y="833"/>
                  </a:lnTo>
                  <a:lnTo>
                    <a:pt x="652" y="831"/>
                  </a:lnTo>
                  <a:lnTo>
                    <a:pt x="653" y="824"/>
                  </a:lnTo>
                  <a:lnTo>
                    <a:pt x="653" y="822"/>
                  </a:lnTo>
                  <a:lnTo>
                    <a:pt x="652" y="817"/>
                  </a:lnTo>
                  <a:lnTo>
                    <a:pt x="649" y="815"/>
                  </a:lnTo>
                  <a:lnTo>
                    <a:pt x="648" y="809"/>
                  </a:lnTo>
                  <a:lnTo>
                    <a:pt x="649" y="804"/>
                  </a:lnTo>
                  <a:lnTo>
                    <a:pt x="649" y="801"/>
                  </a:lnTo>
                  <a:lnTo>
                    <a:pt x="650" y="798"/>
                  </a:lnTo>
                  <a:lnTo>
                    <a:pt x="653" y="793"/>
                  </a:lnTo>
                  <a:lnTo>
                    <a:pt x="653" y="790"/>
                  </a:lnTo>
                  <a:lnTo>
                    <a:pt x="655" y="788"/>
                  </a:lnTo>
                  <a:lnTo>
                    <a:pt x="656" y="784"/>
                  </a:lnTo>
                  <a:lnTo>
                    <a:pt x="658" y="782"/>
                  </a:lnTo>
                  <a:lnTo>
                    <a:pt x="661" y="779"/>
                  </a:lnTo>
                  <a:lnTo>
                    <a:pt x="662" y="774"/>
                  </a:lnTo>
                  <a:lnTo>
                    <a:pt x="663" y="771"/>
                  </a:lnTo>
                  <a:lnTo>
                    <a:pt x="663" y="766"/>
                  </a:lnTo>
                  <a:lnTo>
                    <a:pt x="661" y="764"/>
                  </a:lnTo>
                  <a:lnTo>
                    <a:pt x="658" y="761"/>
                  </a:lnTo>
                  <a:lnTo>
                    <a:pt x="656" y="758"/>
                  </a:lnTo>
                  <a:lnTo>
                    <a:pt x="654" y="756"/>
                  </a:lnTo>
                  <a:lnTo>
                    <a:pt x="650" y="753"/>
                  </a:lnTo>
                  <a:lnTo>
                    <a:pt x="648" y="752"/>
                  </a:lnTo>
                  <a:lnTo>
                    <a:pt x="644" y="749"/>
                  </a:lnTo>
                  <a:lnTo>
                    <a:pt x="644" y="747"/>
                  </a:lnTo>
                  <a:lnTo>
                    <a:pt x="642" y="744"/>
                  </a:lnTo>
                  <a:lnTo>
                    <a:pt x="642" y="742"/>
                  </a:lnTo>
                  <a:lnTo>
                    <a:pt x="644" y="740"/>
                  </a:lnTo>
                  <a:lnTo>
                    <a:pt x="646" y="737"/>
                  </a:lnTo>
                  <a:lnTo>
                    <a:pt x="649" y="735"/>
                  </a:lnTo>
                  <a:lnTo>
                    <a:pt x="653" y="734"/>
                  </a:lnTo>
                  <a:lnTo>
                    <a:pt x="656" y="731"/>
                  </a:lnTo>
                  <a:lnTo>
                    <a:pt x="658" y="727"/>
                  </a:lnTo>
                  <a:lnTo>
                    <a:pt x="660" y="725"/>
                  </a:lnTo>
                  <a:lnTo>
                    <a:pt x="661" y="723"/>
                  </a:lnTo>
                  <a:lnTo>
                    <a:pt x="663" y="720"/>
                  </a:lnTo>
                  <a:lnTo>
                    <a:pt x="664" y="716"/>
                  </a:lnTo>
                  <a:lnTo>
                    <a:pt x="664" y="715"/>
                  </a:lnTo>
                  <a:lnTo>
                    <a:pt x="664" y="712"/>
                  </a:lnTo>
                  <a:lnTo>
                    <a:pt x="664" y="711"/>
                  </a:lnTo>
                  <a:lnTo>
                    <a:pt x="663" y="708"/>
                  </a:lnTo>
                  <a:lnTo>
                    <a:pt x="663" y="705"/>
                  </a:lnTo>
                  <a:lnTo>
                    <a:pt x="661" y="703"/>
                  </a:lnTo>
                  <a:lnTo>
                    <a:pt x="660" y="702"/>
                  </a:lnTo>
                  <a:lnTo>
                    <a:pt x="658" y="700"/>
                  </a:lnTo>
                  <a:lnTo>
                    <a:pt x="658" y="696"/>
                  </a:lnTo>
                  <a:lnTo>
                    <a:pt x="657" y="695"/>
                  </a:lnTo>
                  <a:lnTo>
                    <a:pt x="656" y="694"/>
                  </a:lnTo>
                  <a:lnTo>
                    <a:pt x="655" y="692"/>
                  </a:lnTo>
                  <a:lnTo>
                    <a:pt x="654" y="688"/>
                  </a:lnTo>
                  <a:lnTo>
                    <a:pt x="653" y="686"/>
                  </a:lnTo>
                  <a:lnTo>
                    <a:pt x="652" y="684"/>
                  </a:lnTo>
                  <a:lnTo>
                    <a:pt x="649" y="678"/>
                  </a:lnTo>
                  <a:lnTo>
                    <a:pt x="649" y="676"/>
                  </a:lnTo>
                  <a:lnTo>
                    <a:pt x="647" y="676"/>
                  </a:lnTo>
                  <a:lnTo>
                    <a:pt x="644" y="673"/>
                  </a:lnTo>
                  <a:lnTo>
                    <a:pt x="639" y="672"/>
                  </a:lnTo>
                  <a:lnTo>
                    <a:pt x="637" y="673"/>
                  </a:lnTo>
                  <a:lnTo>
                    <a:pt x="634" y="673"/>
                  </a:lnTo>
                  <a:lnTo>
                    <a:pt x="633" y="675"/>
                  </a:lnTo>
                  <a:lnTo>
                    <a:pt x="628" y="677"/>
                  </a:lnTo>
                  <a:lnTo>
                    <a:pt x="624" y="677"/>
                  </a:lnTo>
                  <a:lnTo>
                    <a:pt x="621" y="680"/>
                  </a:lnTo>
                  <a:lnTo>
                    <a:pt x="617" y="681"/>
                  </a:lnTo>
                  <a:lnTo>
                    <a:pt x="613" y="681"/>
                  </a:lnTo>
                  <a:lnTo>
                    <a:pt x="610" y="683"/>
                  </a:lnTo>
                  <a:lnTo>
                    <a:pt x="608" y="685"/>
                  </a:lnTo>
                  <a:lnTo>
                    <a:pt x="606" y="687"/>
                  </a:lnTo>
                  <a:lnTo>
                    <a:pt x="604" y="688"/>
                  </a:lnTo>
                  <a:lnTo>
                    <a:pt x="598" y="695"/>
                  </a:lnTo>
                  <a:lnTo>
                    <a:pt x="590" y="702"/>
                  </a:lnTo>
                  <a:lnTo>
                    <a:pt x="588" y="704"/>
                  </a:lnTo>
                  <a:lnTo>
                    <a:pt x="584" y="704"/>
                  </a:lnTo>
                  <a:lnTo>
                    <a:pt x="580" y="704"/>
                  </a:lnTo>
                  <a:lnTo>
                    <a:pt x="575" y="704"/>
                  </a:lnTo>
                  <a:lnTo>
                    <a:pt x="570" y="703"/>
                  </a:lnTo>
                  <a:lnTo>
                    <a:pt x="568" y="703"/>
                  </a:lnTo>
                  <a:lnTo>
                    <a:pt x="564" y="701"/>
                  </a:lnTo>
                  <a:lnTo>
                    <a:pt x="561" y="700"/>
                  </a:lnTo>
                  <a:lnTo>
                    <a:pt x="559" y="697"/>
                  </a:lnTo>
                  <a:lnTo>
                    <a:pt x="557" y="696"/>
                  </a:lnTo>
                  <a:lnTo>
                    <a:pt x="556" y="694"/>
                  </a:lnTo>
                  <a:lnTo>
                    <a:pt x="553" y="693"/>
                  </a:lnTo>
                  <a:lnTo>
                    <a:pt x="551" y="691"/>
                  </a:lnTo>
                  <a:lnTo>
                    <a:pt x="550" y="688"/>
                  </a:lnTo>
                  <a:lnTo>
                    <a:pt x="550" y="685"/>
                  </a:lnTo>
                  <a:lnTo>
                    <a:pt x="549" y="683"/>
                  </a:lnTo>
                  <a:lnTo>
                    <a:pt x="549" y="679"/>
                  </a:lnTo>
                  <a:lnTo>
                    <a:pt x="550" y="677"/>
                  </a:lnTo>
                  <a:lnTo>
                    <a:pt x="550" y="676"/>
                  </a:lnTo>
                  <a:lnTo>
                    <a:pt x="551" y="673"/>
                  </a:lnTo>
                  <a:lnTo>
                    <a:pt x="550" y="671"/>
                  </a:lnTo>
                  <a:lnTo>
                    <a:pt x="549" y="670"/>
                  </a:lnTo>
                  <a:lnTo>
                    <a:pt x="546" y="669"/>
                  </a:lnTo>
                  <a:lnTo>
                    <a:pt x="544" y="668"/>
                  </a:lnTo>
                  <a:lnTo>
                    <a:pt x="543" y="665"/>
                  </a:lnTo>
                  <a:lnTo>
                    <a:pt x="542" y="664"/>
                  </a:lnTo>
                  <a:lnTo>
                    <a:pt x="541" y="662"/>
                  </a:lnTo>
                  <a:lnTo>
                    <a:pt x="541" y="660"/>
                  </a:lnTo>
                  <a:lnTo>
                    <a:pt x="538" y="656"/>
                  </a:lnTo>
                  <a:lnTo>
                    <a:pt x="536" y="654"/>
                  </a:lnTo>
                  <a:lnTo>
                    <a:pt x="534" y="651"/>
                  </a:lnTo>
                  <a:lnTo>
                    <a:pt x="534" y="647"/>
                  </a:lnTo>
                  <a:lnTo>
                    <a:pt x="534" y="644"/>
                  </a:lnTo>
                  <a:lnTo>
                    <a:pt x="535" y="640"/>
                  </a:lnTo>
                  <a:lnTo>
                    <a:pt x="536" y="638"/>
                  </a:lnTo>
                  <a:lnTo>
                    <a:pt x="537" y="635"/>
                  </a:lnTo>
                  <a:lnTo>
                    <a:pt x="540" y="629"/>
                  </a:lnTo>
                  <a:lnTo>
                    <a:pt x="540" y="625"/>
                  </a:lnTo>
                  <a:lnTo>
                    <a:pt x="538" y="622"/>
                  </a:lnTo>
                  <a:lnTo>
                    <a:pt x="537" y="620"/>
                  </a:lnTo>
                  <a:lnTo>
                    <a:pt x="536" y="614"/>
                  </a:lnTo>
                  <a:lnTo>
                    <a:pt x="536" y="611"/>
                  </a:lnTo>
                  <a:lnTo>
                    <a:pt x="537" y="607"/>
                  </a:lnTo>
                  <a:lnTo>
                    <a:pt x="537" y="604"/>
                  </a:lnTo>
                  <a:lnTo>
                    <a:pt x="540" y="603"/>
                  </a:lnTo>
                  <a:lnTo>
                    <a:pt x="543" y="600"/>
                  </a:lnTo>
                  <a:lnTo>
                    <a:pt x="545" y="598"/>
                  </a:lnTo>
                  <a:lnTo>
                    <a:pt x="549" y="596"/>
                  </a:lnTo>
                  <a:lnTo>
                    <a:pt x="551" y="595"/>
                  </a:lnTo>
                  <a:lnTo>
                    <a:pt x="553" y="593"/>
                  </a:lnTo>
                  <a:lnTo>
                    <a:pt x="554" y="591"/>
                  </a:lnTo>
                  <a:lnTo>
                    <a:pt x="556" y="591"/>
                  </a:lnTo>
                  <a:lnTo>
                    <a:pt x="557" y="589"/>
                  </a:lnTo>
                  <a:lnTo>
                    <a:pt x="557" y="588"/>
                  </a:lnTo>
                  <a:lnTo>
                    <a:pt x="557" y="584"/>
                  </a:lnTo>
                  <a:lnTo>
                    <a:pt x="558" y="582"/>
                  </a:lnTo>
                  <a:lnTo>
                    <a:pt x="558" y="579"/>
                  </a:lnTo>
                  <a:lnTo>
                    <a:pt x="558" y="574"/>
                  </a:lnTo>
                  <a:lnTo>
                    <a:pt x="558" y="569"/>
                  </a:lnTo>
                  <a:lnTo>
                    <a:pt x="558" y="566"/>
                  </a:lnTo>
                  <a:lnTo>
                    <a:pt x="559" y="564"/>
                  </a:lnTo>
                  <a:lnTo>
                    <a:pt x="559" y="560"/>
                  </a:lnTo>
                  <a:lnTo>
                    <a:pt x="560" y="557"/>
                  </a:lnTo>
                  <a:lnTo>
                    <a:pt x="560" y="556"/>
                  </a:lnTo>
                  <a:lnTo>
                    <a:pt x="561" y="553"/>
                  </a:lnTo>
                  <a:lnTo>
                    <a:pt x="560" y="550"/>
                  </a:lnTo>
                  <a:lnTo>
                    <a:pt x="559" y="549"/>
                  </a:lnTo>
                  <a:lnTo>
                    <a:pt x="557" y="549"/>
                  </a:lnTo>
                  <a:lnTo>
                    <a:pt x="553" y="548"/>
                  </a:lnTo>
                  <a:lnTo>
                    <a:pt x="550" y="547"/>
                  </a:lnTo>
                  <a:lnTo>
                    <a:pt x="549" y="545"/>
                  </a:lnTo>
                  <a:lnTo>
                    <a:pt x="546" y="543"/>
                  </a:lnTo>
                  <a:lnTo>
                    <a:pt x="545" y="543"/>
                  </a:lnTo>
                  <a:lnTo>
                    <a:pt x="544" y="542"/>
                  </a:lnTo>
                  <a:lnTo>
                    <a:pt x="542" y="541"/>
                  </a:lnTo>
                  <a:lnTo>
                    <a:pt x="541" y="540"/>
                  </a:lnTo>
                  <a:lnTo>
                    <a:pt x="538" y="537"/>
                  </a:lnTo>
                  <a:lnTo>
                    <a:pt x="537" y="535"/>
                  </a:lnTo>
                  <a:lnTo>
                    <a:pt x="536" y="533"/>
                  </a:lnTo>
                  <a:lnTo>
                    <a:pt x="536" y="531"/>
                  </a:lnTo>
                  <a:lnTo>
                    <a:pt x="537" y="529"/>
                  </a:lnTo>
                  <a:lnTo>
                    <a:pt x="537" y="526"/>
                  </a:lnTo>
                  <a:lnTo>
                    <a:pt x="536" y="525"/>
                  </a:lnTo>
                  <a:lnTo>
                    <a:pt x="535" y="523"/>
                  </a:lnTo>
                  <a:lnTo>
                    <a:pt x="534" y="521"/>
                  </a:lnTo>
                  <a:lnTo>
                    <a:pt x="532" y="520"/>
                  </a:lnTo>
                  <a:lnTo>
                    <a:pt x="526" y="519"/>
                  </a:lnTo>
                  <a:lnTo>
                    <a:pt x="522" y="519"/>
                  </a:lnTo>
                  <a:lnTo>
                    <a:pt x="519" y="519"/>
                  </a:lnTo>
                  <a:lnTo>
                    <a:pt x="514" y="519"/>
                  </a:lnTo>
                  <a:lnTo>
                    <a:pt x="512" y="519"/>
                  </a:lnTo>
                  <a:lnTo>
                    <a:pt x="509" y="519"/>
                  </a:lnTo>
                  <a:lnTo>
                    <a:pt x="505" y="518"/>
                  </a:lnTo>
                  <a:lnTo>
                    <a:pt x="503" y="517"/>
                  </a:lnTo>
                  <a:lnTo>
                    <a:pt x="502" y="517"/>
                  </a:lnTo>
                  <a:lnTo>
                    <a:pt x="501" y="516"/>
                  </a:lnTo>
                  <a:lnTo>
                    <a:pt x="498" y="515"/>
                  </a:lnTo>
                  <a:lnTo>
                    <a:pt x="497" y="512"/>
                  </a:lnTo>
                  <a:lnTo>
                    <a:pt x="496" y="511"/>
                  </a:lnTo>
                  <a:lnTo>
                    <a:pt x="495" y="509"/>
                  </a:lnTo>
                  <a:lnTo>
                    <a:pt x="495" y="508"/>
                  </a:lnTo>
                  <a:lnTo>
                    <a:pt x="495" y="505"/>
                  </a:lnTo>
                  <a:lnTo>
                    <a:pt x="495" y="502"/>
                  </a:lnTo>
                  <a:lnTo>
                    <a:pt x="496" y="501"/>
                  </a:lnTo>
                  <a:lnTo>
                    <a:pt x="498" y="499"/>
                  </a:lnTo>
                  <a:lnTo>
                    <a:pt x="501" y="497"/>
                  </a:lnTo>
                  <a:lnTo>
                    <a:pt x="501" y="496"/>
                  </a:lnTo>
                  <a:lnTo>
                    <a:pt x="502" y="494"/>
                  </a:lnTo>
                  <a:lnTo>
                    <a:pt x="503" y="491"/>
                  </a:lnTo>
                  <a:lnTo>
                    <a:pt x="508" y="484"/>
                  </a:lnTo>
                  <a:lnTo>
                    <a:pt x="510" y="481"/>
                  </a:lnTo>
                  <a:lnTo>
                    <a:pt x="511" y="479"/>
                  </a:lnTo>
                  <a:lnTo>
                    <a:pt x="513" y="479"/>
                  </a:lnTo>
                  <a:lnTo>
                    <a:pt x="517" y="479"/>
                  </a:lnTo>
                  <a:lnTo>
                    <a:pt x="520" y="480"/>
                  </a:lnTo>
                  <a:lnTo>
                    <a:pt x="522" y="480"/>
                  </a:lnTo>
                  <a:lnTo>
                    <a:pt x="525" y="481"/>
                  </a:lnTo>
                  <a:lnTo>
                    <a:pt x="527" y="480"/>
                  </a:lnTo>
                  <a:lnTo>
                    <a:pt x="528" y="478"/>
                  </a:lnTo>
                  <a:lnTo>
                    <a:pt x="527" y="477"/>
                  </a:lnTo>
                  <a:lnTo>
                    <a:pt x="527" y="475"/>
                  </a:lnTo>
                  <a:lnTo>
                    <a:pt x="526" y="475"/>
                  </a:lnTo>
                  <a:lnTo>
                    <a:pt x="524" y="473"/>
                  </a:lnTo>
                  <a:lnTo>
                    <a:pt x="521" y="472"/>
                  </a:lnTo>
                  <a:lnTo>
                    <a:pt x="520" y="470"/>
                  </a:lnTo>
                  <a:lnTo>
                    <a:pt x="520" y="468"/>
                  </a:lnTo>
                  <a:lnTo>
                    <a:pt x="519" y="467"/>
                  </a:lnTo>
                  <a:lnTo>
                    <a:pt x="519" y="463"/>
                  </a:lnTo>
                  <a:lnTo>
                    <a:pt x="520" y="460"/>
                  </a:lnTo>
                  <a:lnTo>
                    <a:pt x="520" y="457"/>
                  </a:lnTo>
                  <a:lnTo>
                    <a:pt x="521" y="454"/>
                  </a:lnTo>
                  <a:lnTo>
                    <a:pt x="521" y="452"/>
                  </a:lnTo>
                  <a:lnTo>
                    <a:pt x="520" y="451"/>
                  </a:lnTo>
                  <a:lnTo>
                    <a:pt x="518" y="449"/>
                  </a:lnTo>
                  <a:lnTo>
                    <a:pt x="514" y="448"/>
                  </a:lnTo>
                  <a:lnTo>
                    <a:pt x="512" y="448"/>
                  </a:lnTo>
                  <a:lnTo>
                    <a:pt x="509" y="448"/>
                  </a:lnTo>
                  <a:lnTo>
                    <a:pt x="508" y="446"/>
                  </a:lnTo>
                  <a:lnTo>
                    <a:pt x="504" y="446"/>
                  </a:lnTo>
                  <a:lnTo>
                    <a:pt x="503" y="445"/>
                  </a:lnTo>
                  <a:lnTo>
                    <a:pt x="502" y="444"/>
                  </a:lnTo>
                  <a:lnTo>
                    <a:pt x="502" y="443"/>
                  </a:lnTo>
                  <a:lnTo>
                    <a:pt x="503" y="440"/>
                  </a:lnTo>
                  <a:lnTo>
                    <a:pt x="505" y="438"/>
                  </a:lnTo>
                  <a:lnTo>
                    <a:pt x="508" y="437"/>
                  </a:lnTo>
                  <a:lnTo>
                    <a:pt x="510" y="435"/>
                  </a:lnTo>
                  <a:lnTo>
                    <a:pt x="513" y="433"/>
                  </a:lnTo>
                  <a:lnTo>
                    <a:pt x="514" y="432"/>
                  </a:lnTo>
                  <a:lnTo>
                    <a:pt x="516" y="430"/>
                  </a:lnTo>
                  <a:lnTo>
                    <a:pt x="514" y="428"/>
                  </a:lnTo>
                  <a:lnTo>
                    <a:pt x="512" y="427"/>
                  </a:lnTo>
                  <a:lnTo>
                    <a:pt x="510" y="427"/>
                  </a:lnTo>
                  <a:lnTo>
                    <a:pt x="508" y="428"/>
                  </a:lnTo>
                  <a:lnTo>
                    <a:pt x="504" y="430"/>
                  </a:lnTo>
                  <a:lnTo>
                    <a:pt x="500" y="432"/>
                  </a:lnTo>
                  <a:lnTo>
                    <a:pt x="497" y="433"/>
                  </a:lnTo>
                  <a:lnTo>
                    <a:pt x="493" y="435"/>
                  </a:lnTo>
                  <a:lnTo>
                    <a:pt x="488" y="435"/>
                  </a:lnTo>
                  <a:lnTo>
                    <a:pt x="484" y="436"/>
                  </a:lnTo>
                  <a:lnTo>
                    <a:pt x="479" y="436"/>
                  </a:lnTo>
                  <a:lnTo>
                    <a:pt x="474" y="436"/>
                  </a:lnTo>
                  <a:lnTo>
                    <a:pt x="470" y="435"/>
                  </a:lnTo>
                  <a:lnTo>
                    <a:pt x="466" y="435"/>
                  </a:lnTo>
                  <a:lnTo>
                    <a:pt x="462" y="433"/>
                  </a:lnTo>
                  <a:lnTo>
                    <a:pt x="456" y="433"/>
                  </a:lnTo>
                  <a:lnTo>
                    <a:pt x="452" y="433"/>
                  </a:lnTo>
                  <a:lnTo>
                    <a:pt x="448" y="435"/>
                  </a:lnTo>
                  <a:lnTo>
                    <a:pt x="446" y="436"/>
                  </a:lnTo>
                  <a:lnTo>
                    <a:pt x="442" y="437"/>
                  </a:lnTo>
                  <a:lnTo>
                    <a:pt x="440" y="437"/>
                  </a:lnTo>
                  <a:lnTo>
                    <a:pt x="438" y="436"/>
                  </a:lnTo>
                  <a:lnTo>
                    <a:pt x="438" y="433"/>
                  </a:lnTo>
                  <a:lnTo>
                    <a:pt x="438" y="431"/>
                  </a:lnTo>
                  <a:lnTo>
                    <a:pt x="439" y="430"/>
                  </a:lnTo>
                  <a:lnTo>
                    <a:pt x="440" y="427"/>
                  </a:lnTo>
                  <a:lnTo>
                    <a:pt x="444" y="424"/>
                  </a:lnTo>
                  <a:lnTo>
                    <a:pt x="446" y="423"/>
                  </a:lnTo>
                  <a:lnTo>
                    <a:pt x="448" y="421"/>
                  </a:lnTo>
                  <a:lnTo>
                    <a:pt x="450" y="420"/>
                  </a:lnTo>
                  <a:lnTo>
                    <a:pt x="453" y="417"/>
                  </a:lnTo>
                  <a:lnTo>
                    <a:pt x="456" y="413"/>
                  </a:lnTo>
                  <a:lnTo>
                    <a:pt x="458" y="411"/>
                  </a:lnTo>
                  <a:lnTo>
                    <a:pt x="460" y="409"/>
                  </a:lnTo>
                  <a:lnTo>
                    <a:pt x="462" y="406"/>
                  </a:lnTo>
                  <a:lnTo>
                    <a:pt x="464" y="403"/>
                  </a:lnTo>
                  <a:lnTo>
                    <a:pt x="464" y="400"/>
                  </a:lnTo>
                  <a:lnTo>
                    <a:pt x="463" y="397"/>
                  </a:lnTo>
                  <a:lnTo>
                    <a:pt x="461" y="395"/>
                  </a:lnTo>
                  <a:lnTo>
                    <a:pt x="458" y="393"/>
                  </a:lnTo>
                  <a:lnTo>
                    <a:pt x="456" y="393"/>
                  </a:lnTo>
                  <a:lnTo>
                    <a:pt x="452" y="392"/>
                  </a:lnTo>
                  <a:lnTo>
                    <a:pt x="449" y="391"/>
                  </a:lnTo>
                  <a:lnTo>
                    <a:pt x="445" y="388"/>
                  </a:lnTo>
                  <a:lnTo>
                    <a:pt x="444" y="385"/>
                  </a:lnTo>
                  <a:lnTo>
                    <a:pt x="441" y="383"/>
                  </a:lnTo>
                  <a:lnTo>
                    <a:pt x="438" y="382"/>
                  </a:lnTo>
                  <a:lnTo>
                    <a:pt x="434" y="380"/>
                  </a:lnTo>
                  <a:lnTo>
                    <a:pt x="432" y="379"/>
                  </a:lnTo>
                  <a:lnTo>
                    <a:pt x="430" y="379"/>
                  </a:lnTo>
                  <a:lnTo>
                    <a:pt x="428" y="377"/>
                  </a:lnTo>
                  <a:lnTo>
                    <a:pt x="425" y="376"/>
                  </a:lnTo>
                  <a:lnTo>
                    <a:pt x="423" y="375"/>
                  </a:lnTo>
                  <a:lnTo>
                    <a:pt x="422" y="374"/>
                  </a:lnTo>
                  <a:lnTo>
                    <a:pt x="418" y="368"/>
                  </a:lnTo>
                  <a:lnTo>
                    <a:pt x="415" y="367"/>
                  </a:lnTo>
                  <a:lnTo>
                    <a:pt x="413" y="366"/>
                  </a:lnTo>
                  <a:lnTo>
                    <a:pt x="409" y="365"/>
                  </a:lnTo>
                  <a:lnTo>
                    <a:pt x="402" y="366"/>
                  </a:lnTo>
                  <a:lnTo>
                    <a:pt x="400" y="366"/>
                  </a:lnTo>
                  <a:lnTo>
                    <a:pt x="397" y="366"/>
                  </a:lnTo>
                  <a:lnTo>
                    <a:pt x="393" y="366"/>
                  </a:lnTo>
                  <a:lnTo>
                    <a:pt x="391" y="366"/>
                  </a:lnTo>
                  <a:lnTo>
                    <a:pt x="389" y="366"/>
                  </a:lnTo>
                  <a:lnTo>
                    <a:pt x="386" y="365"/>
                  </a:lnTo>
                  <a:lnTo>
                    <a:pt x="385" y="363"/>
                  </a:lnTo>
                  <a:lnTo>
                    <a:pt x="383" y="359"/>
                  </a:lnTo>
                  <a:lnTo>
                    <a:pt x="383" y="357"/>
                  </a:lnTo>
                  <a:lnTo>
                    <a:pt x="383" y="353"/>
                  </a:lnTo>
                  <a:lnTo>
                    <a:pt x="385" y="351"/>
                  </a:lnTo>
                  <a:lnTo>
                    <a:pt x="386" y="351"/>
                  </a:lnTo>
                  <a:lnTo>
                    <a:pt x="390" y="350"/>
                  </a:lnTo>
                  <a:lnTo>
                    <a:pt x="391" y="349"/>
                  </a:lnTo>
                  <a:lnTo>
                    <a:pt x="392" y="348"/>
                  </a:lnTo>
                  <a:lnTo>
                    <a:pt x="393" y="345"/>
                  </a:lnTo>
                  <a:lnTo>
                    <a:pt x="393" y="343"/>
                  </a:lnTo>
                  <a:lnTo>
                    <a:pt x="394" y="342"/>
                  </a:lnTo>
                  <a:lnTo>
                    <a:pt x="396" y="341"/>
                  </a:lnTo>
                  <a:lnTo>
                    <a:pt x="397" y="341"/>
                  </a:lnTo>
                  <a:lnTo>
                    <a:pt x="398" y="340"/>
                  </a:lnTo>
                  <a:lnTo>
                    <a:pt x="402" y="337"/>
                  </a:lnTo>
                  <a:lnTo>
                    <a:pt x="407" y="336"/>
                  </a:lnTo>
                  <a:lnTo>
                    <a:pt x="409" y="332"/>
                  </a:lnTo>
                  <a:lnTo>
                    <a:pt x="412" y="328"/>
                  </a:lnTo>
                  <a:lnTo>
                    <a:pt x="418" y="324"/>
                  </a:lnTo>
                  <a:lnTo>
                    <a:pt x="420" y="323"/>
                  </a:lnTo>
                  <a:lnTo>
                    <a:pt x="424" y="320"/>
                  </a:lnTo>
                  <a:lnTo>
                    <a:pt x="430" y="318"/>
                  </a:lnTo>
                  <a:lnTo>
                    <a:pt x="433" y="317"/>
                  </a:lnTo>
                  <a:lnTo>
                    <a:pt x="436" y="317"/>
                  </a:lnTo>
                  <a:lnTo>
                    <a:pt x="437" y="315"/>
                  </a:lnTo>
                  <a:lnTo>
                    <a:pt x="438" y="313"/>
                  </a:lnTo>
                  <a:lnTo>
                    <a:pt x="438" y="310"/>
                  </a:lnTo>
                  <a:lnTo>
                    <a:pt x="438" y="307"/>
                  </a:lnTo>
                  <a:lnTo>
                    <a:pt x="434" y="307"/>
                  </a:lnTo>
                  <a:lnTo>
                    <a:pt x="432" y="305"/>
                  </a:lnTo>
                  <a:lnTo>
                    <a:pt x="430" y="305"/>
                  </a:lnTo>
                  <a:lnTo>
                    <a:pt x="428" y="304"/>
                  </a:lnTo>
                  <a:lnTo>
                    <a:pt x="425" y="303"/>
                  </a:lnTo>
                  <a:lnTo>
                    <a:pt x="423" y="301"/>
                  </a:lnTo>
                  <a:lnTo>
                    <a:pt x="423" y="300"/>
                  </a:lnTo>
                  <a:lnTo>
                    <a:pt x="423" y="297"/>
                  </a:lnTo>
                  <a:lnTo>
                    <a:pt x="423" y="296"/>
                  </a:lnTo>
                  <a:lnTo>
                    <a:pt x="423" y="291"/>
                  </a:lnTo>
                  <a:lnTo>
                    <a:pt x="423" y="288"/>
                  </a:lnTo>
                  <a:lnTo>
                    <a:pt x="422" y="286"/>
                  </a:lnTo>
                  <a:lnTo>
                    <a:pt x="420" y="286"/>
                  </a:lnTo>
                  <a:lnTo>
                    <a:pt x="417" y="286"/>
                  </a:lnTo>
                  <a:lnTo>
                    <a:pt x="413" y="287"/>
                  </a:lnTo>
                  <a:lnTo>
                    <a:pt x="409" y="287"/>
                  </a:lnTo>
                  <a:lnTo>
                    <a:pt x="406" y="286"/>
                  </a:lnTo>
                  <a:lnTo>
                    <a:pt x="405" y="284"/>
                  </a:lnTo>
                  <a:lnTo>
                    <a:pt x="402" y="283"/>
                  </a:lnTo>
                  <a:lnTo>
                    <a:pt x="401" y="280"/>
                  </a:lnTo>
                  <a:lnTo>
                    <a:pt x="399" y="278"/>
                  </a:lnTo>
                  <a:lnTo>
                    <a:pt x="397" y="276"/>
                  </a:lnTo>
                  <a:lnTo>
                    <a:pt x="392" y="273"/>
                  </a:lnTo>
                  <a:lnTo>
                    <a:pt x="389" y="272"/>
                  </a:lnTo>
                  <a:lnTo>
                    <a:pt x="386" y="272"/>
                  </a:lnTo>
                  <a:lnTo>
                    <a:pt x="383" y="272"/>
                  </a:lnTo>
                  <a:lnTo>
                    <a:pt x="381" y="271"/>
                  </a:lnTo>
                  <a:lnTo>
                    <a:pt x="377" y="270"/>
                  </a:lnTo>
                  <a:lnTo>
                    <a:pt x="377" y="268"/>
                  </a:lnTo>
                  <a:lnTo>
                    <a:pt x="373" y="262"/>
                  </a:lnTo>
                  <a:lnTo>
                    <a:pt x="370" y="260"/>
                  </a:lnTo>
                  <a:lnTo>
                    <a:pt x="368" y="257"/>
                  </a:lnTo>
                  <a:lnTo>
                    <a:pt x="365" y="257"/>
                  </a:lnTo>
                  <a:lnTo>
                    <a:pt x="361" y="259"/>
                  </a:lnTo>
                  <a:lnTo>
                    <a:pt x="358" y="259"/>
                  </a:lnTo>
                  <a:lnTo>
                    <a:pt x="354" y="260"/>
                  </a:lnTo>
                  <a:lnTo>
                    <a:pt x="352" y="260"/>
                  </a:lnTo>
                  <a:lnTo>
                    <a:pt x="349" y="259"/>
                  </a:lnTo>
                  <a:lnTo>
                    <a:pt x="348" y="256"/>
                  </a:lnTo>
                  <a:lnTo>
                    <a:pt x="346" y="254"/>
                  </a:lnTo>
                  <a:lnTo>
                    <a:pt x="346" y="249"/>
                  </a:lnTo>
                  <a:lnTo>
                    <a:pt x="346" y="244"/>
                  </a:lnTo>
                  <a:lnTo>
                    <a:pt x="345" y="239"/>
                  </a:lnTo>
                  <a:lnTo>
                    <a:pt x="345" y="235"/>
                  </a:lnTo>
                  <a:lnTo>
                    <a:pt x="346" y="230"/>
                  </a:lnTo>
                  <a:lnTo>
                    <a:pt x="346" y="227"/>
                  </a:lnTo>
                  <a:lnTo>
                    <a:pt x="344" y="227"/>
                  </a:lnTo>
                  <a:lnTo>
                    <a:pt x="342" y="227"/>
                  </a:lnTo>
                  <a:lnTo>
                    <a:pt x="340" y="228"/>
                  </a:lnTo>
                  <a:lnTo>
                    <a:pt x="337" y="229"/>
                  </a:lnTo>
                  <a:lnTo>
                    <a:pt x="336" y="229"/>
                  </a:lnTo>
                  <a:lnTo>
                    <a:pt x="332" y="233"/>
                  </a:lnTo>
                  <a:lnTo>
                    <a:pt x="328" y="235"/>
                  </a:lnTo>
                  <a:lnTo>
                    <a:pt x="324" y="235"/>
                  </a:lnTo>
                  <a:lnTo>
                    <a:pt x="320" y="236"/>
                  </a:lnTo>
                  <a:lnTo>
                    <a:pt x="317" y="237"/>
                  </a:lnTo>
                  <a:lnTo>
                    <a:pt x="313" y="238"/>
                  </a:lnTo>
                  <a:lnTo>
                    <a:pt x="310" y="239"/>
                  </a:lnTo>
                  <a:lnTo>
                    <a:pt x="306" y="239"/>
                  </a:lnTo>
                  <a:lnTo>
                    <a:pt x="302" y="239"/>
                  </a:lnTo>
                  <a:lnTo>
                    <a:pt x="297" y="239"/>
                  </a:lnTo>
                  <a:lnTo>
                    <a:pt x="295" y="239"/>
                  </a:lnTo>
                  <a:lnTo>
                    <a:pt x="288" y="237"/>
                  </a:lnTo>
                  <a:lnTo>
                    <a:pt x="284" y="237"/>
                  </a:lnTo>
                  <a:lnTo>
                    <a:pt x="280" y="235"/>
                  </a:lnTo>
                  <a:lnTo>
                    <a:pt x="276" y="231"/>
                  </a:lnTo>
                  <a:lnTo>
                    <a:pt x="272" y="229"/>
                  </a:lnTo>
                  <a:lnTo>
                    <a:pt x="270" y="224"/>
                  </a:lnTo>
                  <a:lnTo>
                    <a:pt x="266" y="217"/>
                  </a:lnTo>
                  <a:lnTo>
                    <a:pt x="265" y="214"/>
                  </a:lnTo>
                  <a:lnTo>
                    <a:pt x="265" y="209"/>
                  </a:lnTo>
                  <a:lnTo>
                    <a:pt x="265" y="206"/>
                  </a:lnTo>
                  <a:lnTo>
                    <a:pt x="264" y="200"/>
                  </a:lnTo>
                  <a:lnTo>
                    <a:pt x="263" y="196"/>
                  </a:lnTo>
                  <a:lnTo>
                    <a:pt x="262" y="193"/>
                  </a:lnTo>
                  <a:lnTo>
                    <a:pt x="258" y="191"/>
                  </a:lnTo>
                  <a:lnTo>
                    <a:pt x="255" y="191"/>
                  </a:lnTo>
                  <a:lnTo>
                    <a:pt x="252" y="191"/>
                  </a:lnTo>
                  <a:lnTo>
                    <a:pt x="248" y="191"/>
                  </a:lnTo>
                  <a:lnTo>
                    <a:pt x="246" y="191"/>
                  </a:lnTo>
                  <a:lnTo>
                    <a:pt x="240" y="191"/>
                  </a:lnTo>
                  <a:lnTo>
                    <a:pt x="238" y="191"/>
                  </a:lnTo>
                  <a:lnTo>
                    <a:pt x="237" y="189"/>
                  </a:lnTo>
                  <a:lnTo>
                    <a:pt x="236" y="188"/>
                  </a:lnTo>
                  <a:lnTo>
                    <a:pt x="232" y="187"/>
                  </a:lnTo>
                  <a:lnTo>
                    <a:pt x="230" y="188"/>
                  </a:lnTo>
                  <a:lnTo>
                    <a:pt x="226" y="188"/>
                  </a:lnTo>
                  <a:lnTo>
                    <a:pt x="224" y="187"/>
                  </a:lnTo>
                  <a:lnTo>
                    <a:pt x="222" y="185"/>
                  </a:lnTo>
                  <a:lnTo>
                    <a:pt x="221" y="184"/>
                  </a:lnTo>
                  <a:lnTo>
                    <a:pt x="220" y="182"/>
                  </a:lnTo>
                  <a:lnTo>
                    <a:pt x="218" y="180"/>
                  </a:lnTo>
                  <a:lnTo>
                    <a:pt x="217" y="179"/>
                  </a:lnTo>
                  <a:lnTo>
                    <a:pt x="215" y="177"/>
                  </a:lnTo>
                  <a:lnTo>
                    <a:pt x="214" y="177"/>
                  </a:lnTo>
                  <a:lnTo>
                    <a:pt x="210" y="177"/>
                  </a:lnTo>
                  <a:lnTo>
                    <a:pt x="208" y="176"/>
                  </a:lnTo>
                  <a:lnTo>
                    <a:pt x="206" y="176"/>
                  </a:lnTo>
                  <a:lnTo>
                    <a:pt x="204" y="175"/>
                  </a:lnTo>
                  <a:lnTo>
                    <a:pt x="196" y="171"/>
                  </a:lnTo>
                  <a:lnTo>
                    <a:pt x="193" y="168"/>
                  </a:lnTo>
                  <a:lnTo>
                    <a:pt x="191" y="167"/>
                  </a:lnTo>
                  <a:lnTo>
                    <a:pt x="190" y="165"/>
                  </a:lnTo>
                  <a:lnTo>
                    <a:pt x="189" y="163"/>
                  </a:lnTo>
                  <a:lnTo>
                    <a:pt x="189" y="160"/>
                  </a:lnTo>
                  <a:lnTo>
                    <a:pt x="190" y="157"/>
                  </a:lnTo>
                  <a:lnTo>
                    <a:pt x="190" y="155"/>
                  </a:lnTo>
                  <a:lnTo>
                    <a:pt x="191" y="152"/>
                  </a:lnTo>
                  <a:lnTo>
                    <a:pt x="191" y="151"/>
                  </a:lnTo>
                  <a:lnTo>
                    <a:pt x="191" y="149"/>
                  </a:lnTo>
                  <a:lnTo>
                    <a:pt x="190" y="148"/>
                  </a:lnTo>
                  <a:lnTo>
                    <a:pt x="188" y="148"/>
                  </a:lnTo>
                  <a:lnTo>
                    <a:pt x="185" y="148"/>
                  </a:lnTo>
                  <a:lnTo>
                    <a:pt x="183" y="148"/>
                  </a:lnTo>
                  <a:lnTo>
                    <a:pt x="182" y="149"/>
                  </a:lnTo>
                  <a:lnTo>
                    <a:pt x="182" y="147"/>
                  </a:lnTo>
                  <a:lnTo>
                    <a:pt x="178" y="143"/>
                  </a:lnTo>
                  <a:lnTo>
                    <a:pt x="177" y="142"/>
                  </a:lnTo>
                  <a:lnTo>
                    <a:pt x="175" y="139"/>
                  </a:lnTo>
                  <a:lnTo>
                    <a:pt x="172" y="137"/>
                  </a:lnTo>
                  <a:lnTo>
                    <a:pt x="169" y="136"/>
                  </a:lnTo>
                  <a:lnTo>
                    <a:pt x="166" y="136"/>
                  </a:lnTo>
                  <a:lnTo>
                    <a:pt x="164" y="135"/>
                  </a:lnTo>
                  <a:lnTo>
                    <a:pt x="160" y="135"/>
                  </a:lnTo>
                  <a:lnTo>
                    <a:pt x="158" y="133"/>
                  </a:lnTo>
                  <a:lnTo>
                    <a:pt x="156" y="129"/>
                  </a:lnTo>
                  <a:lnTo>
                    <a:pt x="154" y="128"/>
                  </a:lnTo>
                  <a:lnTo>
                    <a:pt x="154" y="125"/>
                  </a:lnTo>
                  <a:lnTo>
                    <a:pt x="154" y="120"/>
                  </a:lnTo>
                  <a:lnTo>
                    <a:pt x="154" y="119"/>
                  </a:lnTo>
                  <a:lnTo>
                    <a:pt x="153" y="117"/>
                  </a:lnTo>
                  <a:lnTo>
                    <a:pt x="152" y="115"/>
                  </a:lnTo>
                  <a:lnTo>
                    <a:pt x="150" y="115"/>
                  </a:lnTo>
                  <a:lnTo>
                    <a:pt x="149" y="112"/>
                  </a:lnTo>
                  <a:lnTo>
                    <a:pt x="145" y="110"/>
                  </a:lnTo>
                  <a:lnTo>
                    <a:pt x="143" y="108"/>
                  </a:lnTo>
                  <a:lnTo>
                    <a:pt x="142" y="107"/>
                  </a:lnTo>
                  <a:lnTo>
                    <a:pt x="141" y="105"/>
                  </a:lnTo>
                  <a:lnTo>
                    <a:pt x="138" y="103"/>
                  </a:lnTo>
                  <a:lnTo>
                    <a:pt x="137" y="101"/>
                  </a:lnTo>
                  <a:lnTo>
                    <a:pt x="137" y="97"/>
                  </a:lnTo>
                  <a:lnTo>
                    <a:pt x="140" y="95"/>
                  </a:lnTo>
                  <a:lnTo>
                    <a:pt x="142" y="93"/>
                  </a:lnTo>
                  <a:lnTo>
                    <a:pt x="145" y="92"/>
                  </a:lnTo>
                  <a:lnTo>
                    <a:pt x="148" y="91"/>
                  </a:lnTo>
                  <a:lnTo>
                    <a:pt x="151" y="89"/>
                  </a:lnTo>
                  <a:lnTo>
                    <a:pt x="153" y="87"/>
                  </a:lnTo>
                  <a:lnTo>
                    <a:pt x="156" y="85"/>
                  </a:lnTo>
                  <a:lnTo>
                    <a:pt x="154" y="83"/>
                  </a:lnTo>
                  <a:lnTo>
                    <a:pt x="153" y="81"/>
                  </a:lnTo>
                  <a:lnTo>
                    <a:pt x="151" y="80"/>
                  </a:lnTo>
                  <a:lnTo>
                    <a:pt x="149" y="80"/>
                  </a:lnTo>
                  <a:lnTo>
                    <a:pt x="145" y="80"/>
                  </a:lnTo>
                  <a:lnTo>
                    <a:pt x="143" y="81"/>
                  </a:lnTo>
                  <a:lnTo>
                    <a:pt x="138" y="83"/>
                  </a:lnTo>
                  <a:lnTo>
                    <a:pt x="136" y="84"/>
                  </a:lnTo>
                  <a:lnTo>
                    <a:pt x="134" y="84"/>
                  </a:lnTo>
                  <a:lnTo>
                    <a:pt x="132" y="84"/>
                  </a:lnTo>
                  <a:lnTo>
                    <a:pt x="129" y="83"/>
                  </a:lnTo>
                  <a:lnTo>
                    <a:pt x="127" y="81"/>
                  </a:lnTo>
                  <a:lnTo>
                    <a:pt x="126" y="80"/>
                  </a:lnTo>
                  <a:lnTo>
                    <a:pt x="124" y="79"/>
                  </a:lnTo>
                  <a:lnTo>
                    <a:pt x="121" y="79"/>
                  </a:lnTo>
                  <a:lnTo>
                    <a:pt x="120" y="78"/>
                  </a:lnTo>
                  <a:lnTo>
                    <a:pt x="119" y="76"/>
                  </a:lnTo>
                  <a:lnTo>
                    <a:pt x="118" y="73"/>
                  </a:lnTo>
                  <a:lnTo>
                    <a:pt x="118" y="72"/>
                  </a:lnTo>
                  <a:lnTo>
                    <a:pt x="118" y="69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9" y="63"/>
                  </a:lnTo>
                  <a:lnTo>
                    <a:pt x="119" y="62"/>
                  </a:lnTo>
                  <a:lnTo>
                    <a:pt x="118" y="60"/>
                  </a:lnTo>
                  <a:lnTo>
                    <a:pt x="114" y="57"/>
                  </a:lnTo>
                  <a:lnTo>
                    <a:pt x="112" y="57"/>
                  </a:lnTo>
                  <a:lnTo>
                    <a:pt x="110" y="57"/>
                  </a:lnTo>
                  <a:lnTo>
                    <a:pt x="109" y="59"/>
                  </a:lnTo>
                  <a:lnTo>
                    <a:pt x="108" y="60"/>
                  </a:lnTo>
                  <a:lnTo>
                    <a:pt x="105" y="61"/>
                  </a:lnTo>
                  <a:lnTo>
                    <a:pt x="104" y="62"/>
                  </a:lnTo>
                  <a:lnTo>
                    <a:pt x="101" y="63"/>
                  </a:lnTo>
                  <a:lnTo>
                    <a:pt x="100" y="63"/>
                  </a:lnTo>
                  <a:lnTo>
                    <a:pt x="98" y="62"/>
                  </a:lnTo>
                  <a:lnTo>
                    <a:pt x="97" y="59"/>
                  </a:lnTo>
                  <a:lnTo>
                    <a:pt x="97" y="56"/>
                  </a:lnTo>
                  <a:lnTo>
                    <a:pt x="96" y="54"/>
                  </a:lnTo>
                  <a:lnTo>
                    <a:pt x="95" y="48"/>
                  </a:lnTo>
                  <a:lnTo>
                    <a:pt x="95" y="46"/>
                  </a:lnTo>
                  <a:lnTo>
                    <a:pt x="94" y="44"/>
                  </a:lnTo>
                  <a:lnTo>
                    <a:pt x="93" y="43"/>
                  </a:lnTo>
                  <a:lnTo>
                    <a:pt x="90" y="43"/>
                  </a:lnTo>
                  <a:lnTo>
                    <a:pt x="88" y="44"/>
                  </a:lnTo>
                  <a:lnTo>
                    <a:pt x="85" y="45"/>
                  </a:lnTo>
                  <a:lnTo>
                    <a:pt x="82" y="46"/>
                  </a:lnTo>
                  <a:lnTo>
                    <a:pt x="80" y="45"/>
                  </a:lnTo>
                  <a:lnTo>
                    <a:pt x="80" y="44"/>
                  </a:lnTo>
                  <a:lnTo>
                    <a:pt x="80" y="38"/>
                  </a:lnTo>
                  <a:lnTo>
                    <a:pt x="80" y="36"/>
                  </a:lnTo>
                  <a:lnTo>
                    <a:pt x="80" y="33"/>
                  </a:lnTo>
                  <a:lnTo>
                    <a:pt x="80" y="30"/>
                  </a:lnTo>
                  <a:lnTo>
                    <a:pt x="79" y="29"/>
                  </a:lnTo>
                  <a:lnTo>
                    <a:pt x="78" y="27"/>
                  </a:lnTo>
                  <a:lnTo>
                    <a:pt x="76" y="25"/>
                  </a:lnTo>
                  <a:lnTo>
                    <a:pt x="72" y="25"/>
                  </a:lnTo>
                  <a:lnTo>
                    <a:pt x="70" y="27"/>
                  </a:lnTo>
                  <a:lnTo>
                    <a:pt x="68" y="27"/>
                  </a:lnTo>
                  <a:lnTo>
                    <a:pt x="65" y="29"/>
                  </a:lnTo>
                  <a:lnTo>
                    <a:pt x="64" y="32"/>
                  </a:lnTo>
                  <a:lnTo>
                    <a:pt x="63" y="36"/>
                  </a:lnTo>
                  <a:lnTo>
                    <a:pt x="62" y="38"/>
                  </a:lnTo>
                  <a:lnTo>
                    <a:pt x="60" y="38"/>
                  </a:lnTo>
                  <a:lnTo>
                    <a:pt x="58" y="37"/>
                  </a:lnTo>
                  <a:lnTo>
                    <a:pt x="57" y="35"/>
                  </a:lnTo>
                  <a:lnTo>
                    <a:pt x="56" y="31"/>
                  </a:lnTo>
                  <a:lnTo>
                    <a:pt x="56" y="29"/>
                  </a:lnTo>
                  <a:lnTo>
                    <a:pt x="56" y="27"/>
                  </a:lnTo>
                  <a:lnTo>
                    <a:pt x="55" y="24"/>
                  </a:lnTo>
                  <a:lnTo>
                    <a:pt x="55" y="20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49" y="19"/>
                  </a:lnTo>
                  <a:lnTo>
                    <a:pt x="46" y="19"/>
                  </a:lnTo>
                  <a:lnTo>
                    <a:pt x="44" y="19"/>
                  </a:lnTo>
                  <a:lnTo>
                    <a:pt x="44" y="16"/>
                  </a:lnTo>
                  <a:lnTo>
                    <a:pt x="42" y="15"/>
                  </a:lnTo>
                  <a:lnTo>
                    <a:pt x="42" y="13"/>
                  </a:lnTo>
                  <a:lnTo>
                    <a:pt x="44" y="12"/>
                  </a:lnTo>
                  <a:lnTo>
                    <a:pt x="45" y="8"/>
                  </a:lnTo>
                  <a:lnTo>
                    <a:pt x="45" y="4"/>
                  </a:lnTo>
                  <a:lnTo>
                    <a:pt x="45" y="3"/>
                  </a:lnTo>
                  <a:lnTo>
                    <a:pt x="44" y="1"/>
                  </a:lnTo>
                  <a:lnTo>
                    <a:pt x="41" y="0"/>
                  </a:lnTo>
                  <a:lnTo>
                    <a:pt x="39" y="1"/>
                  </a:lnTo>
                  <a:lnTo>
                    <a:pt x="33" y="3"/>
                  </a:lnTo>
                  <a:lnTo>
                    <a:pt x="28" y="4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13" y="9"/>
                  </a:lnTo>
                  <a:lnTo>
                    <a:pt x="6" y="11"/>
                  </a:lnTo>
                  <a:lnTo>
                    <a:pt x="0" y="4"/>
                  </a:lnTo>
                  <a:lnTo>
                    <a:pt x="1" y="9"/>
                  </a:lnTo>
                  <a:lnTo>
                    <a:pt x="4" y="13"/>
                  </a:lnTo>
                  <a:lnTo>
                    <a:pt x="7" y="20"/>
                  </a:lnTo>
                  <a:lnTo>
                    <a:pt x="12" y="29"/>
                  </a:lnTo>
                  <a:lnTo>
                    <a:pt x="16" y="40"/>
                  </a:lnTo>
                  <a:lnTo>
                    <a:pt x="18" y="49"/>
                  </a:lnTo>
                  <a:lnTo>
                    <a:pt x="21" y="59"/>
                  </a:lnTo>
                  <a:lnTo>
                    <a:pt x="23" y="65"/>
                  </a:lnTo>
                  <a:lnTo>
                    <a:pt x="26" y="73"/>
                  </a:lnTo>
                  <a:lnTo>
                    <a:pt x="31" y="81"/>
                  </a:lnTo>
                  <a:lnTo>
                    <a:pt x="34" y="84"/>
                  </a:lnTo>
                  <a:lnTo>
                    <a:pt x="38" y="87"/>
                  </a:lnTo>
                  <a:lnTo>
                    <a:pt x="39" y="91"/>
                  </a:lnTo>
                  <a:lnTo>
                    <a:pt x="41" y="95"/>
                  </a:lnTo>
                  <a:lnTo>
                    <a:pt x="41" y="100"/>
                  </a:lnTo>
                  <a:lnTo>
                    <a:pt x="46" y="104"/>
                  </a:lnTo>
                  <a:lnTo>
                    <a:pt x="50" y="112"/>
                  </a:lnTo>
                  <a:lnTo>
                    <a:pt x="55" y="120"/>
                  </a:lnTo>
                  <a:lnTo>
                    <a:pt x="60" y="128"/>
                  </a:lnTo>
                  <a:lnTo>
                    <a:pt x="62" y="136"/>
                  </a:lnTo>
                  <a:lnTo>
                    <a:pt x="63" y="142"/>
                  </a:lnTo>
                  <a:lnTo>
                    <a:pt x="63" y="147"/>
                  </a:lnTo>
                  <a:lnTo>
                    <a:pt x="64" y="150"/>
                  </a:lnTo>
                  <a:lnTo>
                    <a:pt x="68" y="153"/>
                  </a:lnTo>
                  <a:lnTo>
                    <a:pt x="70" y="158"/>
                  </a:lnTo>
                  <a:lnTo>
                    <a:pt x="73" y="169"/>
                  </a:lnTo>
                  <a:lnTo>
                    <a:pt x="79" y="182"/>
                  </a:lnTo>
                  <a:lnTo>
                    <a:pt x="86" y="198"/>
                  </a:lnTo>
                  <a:lnTo>
                    <a:pt x="90" y="209"/>
                  </a:lnTo>
                  <a:lnTo>
                    <a:pt x="94" y="214"/>
                  </a:lnTo>
                  <a:lnTo>
                    <a:pt x="98" y="216"/>
                  </a:lnTo>
                  <a:lnTo>
                    <a:pt x="101" y="215"/>
                  </a:lnTo>
                  <a:lnTo>
                    <a:pt x="103" y="214"/>
                  </a:lnTo>
                  <a:lnTo>
                    <a:pt x="104" y="214"/>
                  </a:lnTo>
                  <a:lnTo>
                    <a:pt x="112" y="224"/>
                  </a:lnTo>
                  <a:lnTo>
                    <a:pt x="121" y="233"/>
                  </a:lnTo>
                  <a:lnTo>
                    <a:pt x="128" y="244"/>
                  </a:lnTo>
                  <a:lnTo>
                    <a:pt x="134" y="249"/>
                  </a:lnTo>
                  <a:lnTo>
                    <a:pt x="135" y="253"/>
                  </a:lnTo>
                  <a:lnTo>
                    <a:pt x="138" y="256"/>
                  </a:lnTo>
                  <a:lnTo>
                    <a:pt x="146" y="259"/>
                  </a:lnTo>
                  <a:lnTo>
                    <a:pt x="153" y="263"/>
                  </a:lnTo>
                  <a:lnTo>
                    <a:pt x="157" y="270"/>
                  </a:lnTo>
                  <a:lnTo>
                    <a:pt x="160" y="278"/>
                  </a:lnTo>
                  <a:lnTo>
                    <a:pt x="166" y="283"/>
                  </a:lnTo>
                  <a:lnTo>
                    <a:pt x="172" y="287"/>
                  </a:lnTo>
                  <a:lnTo>
                    <a:pt x="177" y="289"/>
                  </a:lnTo>
                  <a:lnTo>
                    <a:pt x="181" y="295"/>
                  </a:lnTo>
                  <a:lnTo>
                    <a:pt x="185" y="303"/>
                  </a:lnTo>
                  <a:lnTo>
                    <a:pt x="185" y="302"/>
                  </a:lnTo>
                  <a:lnTo>
                    <a:pt x="186" y="301"/>
                  </a:lnTo>
                  <a:lnTo>
                    <a:pt x="186" y="300"/>
                  </a:lnTo>
                  <a:lnTo>
                    <a:pt x="188" y="299"/>
                  </a:lnTo>
                  <a:lnTo>
                    <a:pt x="189" y="299"/>
                  </a:lnTo>
                  <a:lnTo>
                    <a:pt x="189" y="297"/>
                  </a:lnTo>
                  <a:lnTo>
                    <a:pt x="190" y="296"/>
                  </a:lnTo>
                  <a:lnTo>
                    <a:pt x="191" y="295"/>
                  </a:lnTo>
                  <a:lnTo>
                    <a:pt x="193" y="294"/>
                  </a:lnTo>
                  <a:lnTo>
                    <a:pt x="194" y="294"/>
                  </a:lnTo>
                  <a:lnTo>
                    <a:pt x="196" y="293"/>
                  </a:lnTo>
                  <a:lnTo>
                    <a:pt x="197" y="292"/>
                  </a:lnTo>
                  <a:lnTo>
                    <a:pt x="199" y="292"/>
                  </a:lnTo>
                  <a:lnTo>
                    <a:pt x="200" y="292"/>
                  </a:lnTo>
                  <a:lnTo>
                    <a:pt x="201" y="292"/>
                  </a:lnTo>
                  <a:lnTo>
                    <a:pt x="204" y="293"/>
                  </a:lnTo>
                  <a:lnTo>
                    <a:pt x="205" y="294"/>
                  </a:lnTo>
                  <a:lnTo>
                    <a:pt x="206" y="295"/>
                  </a:lnTo>
                  <a:lnTo>
                    <a:pt x="207" y="296"/>
                  </a:lnTo>
                  <a:lnTo>
                    <a:pt x="207" y="297"/>
                  </a:lnTo>
                  <a:lnTo>
                    <a:pt x="208" y="300"/>
                  </a:lnTo>
                  <a:lnTo>
                    <a:pt x="208" y="302"/>
                  </a:lnTo>
                  <a:lnTo>
                    <a:pt x="208" y="304"/>
                  </a:lnTo>
                  <a:lnTo>
                    <a:pt x="208" y="305"/>
                  </a:lnTo>
                  <a:lnTo>
                    <a:pt x="208" y="308"/>
                  </a:lnTo>
                  <a:lnTo>
                    <a:pt x="207" y="309"/>
                  </a:lnTo>
                  <a:lnTo>
                    <a:pt x="207" y="310"/>
                  </a:lnTo>
                  <a:lnTo>
                    <a:pt x="205" y="312"/>
                  </a:lnTo>
                  <a:lnTo>
                    <a:pt x="204" y="313"/>
                  </a:lnTo>
                  <a:lnTo>
                    <a:pt x="201" y="315"/>
                  </a:lnTo>
                  <a:lnTo>
                    <a:pt x="199" y="316"/>
                  </a:lnTo>
                  <a:lnTo>
                    <a:pt x="197" y="316"/>
                  </a:lnTo>
                  <a:lnTo>
                    <a:pt x="196" y="316"/>
                  </a:lnTo>
                  <a:lnTo>
                    <a:pt x="193" y="316"/>
                  </a:lnTo>
                  <a:lnTo>
                    <a:pt x="192" y="316"/>
                  </a:lnTo>
                  <a:lnTo>
                    <a:pt x="190" y="316"/>
                  </a:lnTo>
                  <a:lnTo>
                    <a:pt x="185" y="303"/>
                  </a:lnTo>
                  <a:close/>
                </a:path>
              </a:pathLst>
            </a:custGeom>
            <a:solidFill>
              <a:srgbClr val="FF0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56" name="TR"/>
            <p:cNvSpPr>
              <a:spLocks/>
            </p:cNvSpPr>
            <p:nvPr/>
          </p:nvSpPr>
          <p:spPr bwMode="auto">
            <a:xfrm>
              <a:off x="7878813" y="3263996"/>
              <a:ext cx="133236" cy="173052"/>
            </a:xfrm>
            <a:custGeom>
              <a:avLst/>
              <a:gdLst>
                <a:gd name="T0" fmla="*/ 273 w 336"/>
                <a:gd name="T1" fmla="*/ 6 h 451"/>
                <a:gd name="T2" fmla="*/ 271 w 336"/>
                <a:gd name="T3" fmla="*/ 37 h 451"/>
                <a:gd name="T4" fmla="*/ 246 w 336"/>
                <a:gd name="T5" fmla="*/ 44 h 451"/>
                <a:gd name="T6" fmla="*/ 230 w 336"/>
                <a:gd name="T7" fmla="*/ 48 h 451"/>
                <a:gd name="T8" fmla="*/ 211 w 336"/>
                <a:gd name="T9" fmla="*/ 55 h 451"/>
                <a:gd name="T10" fmla="*/ 216 w 336"/>
                <a:gd name="T11" fmla="*/ 84 h 451"/>
                <a:gd name="T12" fmla="*/ 208 w 336"/>
                <a:gd name="T13" fmla="*/ 108 h 451"/>
                <a:gd name="T14" fmla="*/ 187 w 336"/>
                <a:gd name="T15" fmla="*/ 92 h 451"/>
                <a:gd name="T16" fmla="*/ 165 w 336"/>
                <a:gd name="T17" fmla="*/ 87 h 451"/>
                <a:gd name="T18" fmla="*/ 161 w 336"/>
                <a:gd name="T19" fmla="*/ 106 h 451"/>
                <a:gd name="T20" fmla="*/ 146 w 336"/>
                <a:gd name="T21" fmla="*/ 85 h 451"/>
                <a:gd name="T22" fmla="*/ 134 w 336"/>
                <a:gd name="T23" fmla="*/ 108 h 451"/>
                <a:gd name="T24" fmla="*/ 114 w 336"/>
                <a:gd name="T25" fmla="*/ 127 h 451"/>
                <a:gd name="T26" fmla="*/ 85 w 336"/>
                <a:gd name="T27" fmla="*/ 120 h 451"/>
                <a:gd name="T28" fmla="*/ 66 w 336"/>
                <a:gd name="T29" fmla="*/ 146 h 451"/>
                <a:gd name="T30" fmla="*/ 39 w 336"/>
                <a:gd name="T31" fmla="*/ 168 h 451"/>
                <a:gd name="T32" fmla="*/ 29 w 336"/>
                <a:gd name="T33" fmla="*/ 200 h 451"/>
                <a:gd name="T34" fmla="*/ 14 w 336"/>
                <a:gd name="T35" fmla="*/ 219 h 451"/>
                <a:gd name="T36" fmla="*/ 16 w 336"/>
                <a:gd name="T37" fmla="*/ 255 h 451"/>
                <a:gd name="T38" fmla="*/ 2 w 336"/>
                <a:gd name="T39" fmla="*/ 270 h 451"/>
                <a:gd name="T40" fmla="*/ 18 w 336"/>
                <a:gd name="T41" fmla="*/ 300 h 451"/>
                <a:gd name="T42" fmla="*/ 43 w 336"/>
                <a:gd name="T43" fmla="*/ 333 h 451"/>
                <a:gd name="T44" fmla="*/ 59 w 336"/>
                <a:gd name="T45" fmla="*/ 374 h 451"/>
                <a:gd name="T46" fmla="*/ 61 w 336"/>
                <a:gd name="T47" fmla="*/ 392 h 451"/>
                <a:gd name="T48" fmla="*/ 66 w 336"/>
                <a:gd name="T49" fmla="*/ 413 h 451"/>
                <a:gd name="T50" fmla="*/ 78 w 336"/>
                <a:gd name="T51" fmla="*/ 420 h 451"/>
                <a:gd name="T52" fmla="*/ 74 w 336"/>
                <a:gd name="T53" fmla="*/ 405 h 451"/>
                <a:gd name="T54" fmla="*/ 73 w 336"/>
                <a:gd name="T55" fmla="*/ 389 h 451"/>
                <a:gd name="T56" fmla="*/ 74 w 336"/>
                <a:gd name="T57" fmla="*/ 365 h 451"/>
                <a:gd name="T58" fmla="*/ 86 w 336"/>
                <a:gd name="T59" fmla="*/ 360 h 451"/>
                <a:gd name="T60" fmla="*/ 99 w 336"/>
                <a:gd name="T61" fmla="*/ 376 h 451"/>
                <a:gd name="T62" fmla="*/ 109 w 336"/>
                <a:gd name="T63" fmla="*/ 395 h 451"/>
                <a:gd name="T64" fmla="*/ 118 w 336"/>
                <a:gd name="T65" fmla="*/ 418 h 451"/>
                <a:gd name="T66" fmla="*/ 122 w 336"/>
                <a:gd name="T67" fmla="*/ 438 h 451"/>
                <a:gd name="T68" fmla="*/ 137 w 336"/>
                <a:gd name="T69" fmla="*/ 446 h 451"/>
                <a:gd name="T70" fmla="*/ 154 w 336"/>
                <a:gd name="T71" fmla="*/ 442 h 451"/>
                <a:gd name="T72" fmla="*/ 176 w 336"/>
                <a:gd name="T73" fmla="*/ 430 h 451"/>
                <a:gd name="T74" fmla="*/ 185 w 336"/>
                <a:gd name="T75" fmla="*/ 416 h 451"/>
                <a:gd name="T76" fmla="*/ 192 w 336"/>
                <a:gd name="T77" fmla="*/ 398 h 451"/>
                <a:gd name="T78" fmla="*/ 186 w 336"/>
                <a:gd name="T79" fmla="*/ 376 h 451"/>
                <a:gd name="T80" fmla="*/ 184 w 336"/>
                <a:gd name="T81" fmla="*/ 342 h 451"/>
                <a:gd name="T82" fmla="*/ 218 w 336"/>
                <a:gd name="T83" fmla="*/ 306 h 451"/>
                <a:gd name="T84" fmla="*/ 224 w 336"/>
                <a:gd name="T85" fmla="*/ 278 h 451"/>
                <a:gd name="T86" fmla="*/ 222 w 336"/>
                <a:gd name="T87" fmla="*/ 244 h 451"/>
                <a:gd name="T88" fmla="*/ 233 w 336"/>
                <a:gd name="T89" fmla="*/ 231 h 451"/>
                <a:gd name="T90" fmla="*/ 255 w 336"/>
                <a:gd name="T91" fmla="*/ 246 h 451"/>
                <a:gd name="T92" fmla="*/ 282 w 336"/>
                <a:gd name="T93" fmla="*/ 222 h 451"/>
                <a:gd name="T94" fmla="*/ 296 w 336"/>
                <a:gd name="T95" fmla="*/ 240 h 451"/>
                <a:gd name="T96" fmla="*/ 313 w 336"/>
                <a:gd name="T97" fmla="*/ 214 h 451"/>
                <a:gd name="T98" fmla="*/ 312 w 336"/>
                <a:gd name="T99" fmla="*/ 192 h 451"/>
                <a:gd name="T100" fmla="*/ 334 w 336"/>
                <a:gd name="T101" fmla="*/ 187 h 451"/>
                <a:gd name="T102" fmla="*/ 322 w 336"/>
                <a:gd name="T103" fmla="*/ 165 h 451"/>
                <a:gd name="T104" fmla="*/ 319 w 336"/>
                <a:gd name="T105" fmla="*/ 142 h 451"/>
                <a:gd name="T106" fmla="*/ 330 w 336"/>
                <a:gd name="T107" fmla="*/ 118 h 451"/>
                <a:gd name="T108" fmla="*/ 318 w 336"/>
                <a:gd name="T109" fmla="*/ 107 h 451"/>
                <a:gd name="T110" fmla="*/ 321 w 336"/>
                <a:gd name="T111" fmla="*/ 90 h 451"/>
                <a:gd name="T112" fmla="*/ 297 w 336"/>
                <a:gd name="T113" fmla="*/ 80 h 451"/>
                <a:gd name="T114" fmla="*/ 297 w 336"/>
                <a:gd name="T115" fmla="*/ 62 h 451"/>
                <a:gd name="T116" fmla="*/ 304 w 336"/>
                <a:gd name="T117" fmla="*/ 38 h 451"/>
                <a:gd name="T118" fmla="*/ 297 w 336"/>
                <a:gd name="T119" fmla="*/ 18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6" h="451">
                  <a:moveTo>
                    <a:pt x="295" y="7"/>
                  </a:moveTo>
                  <a:lnTo>
                    <a:pt x="289" y="6"/>
                  </a:lnTo>
                  <a:lnTo>
                    <a:pt x="286" y="5"/>
                  </a:lnTo>
                  <a:lnTo>
                    <a:pt x="283" y="2"/>
                  </a:lnTo>
                  <a:lnTo>
                    <a:pt x="279" y="0"/>
                  </a:lnTo>
                  <a:lnTo>
                    <a:pt x="274" y="2"/>
                  </a:lnTo>
                  <a:lnTo>
                    <a:pt x="273" y="6"/>
                  </a:lnTo>
                  <a:lnTo>
                    <a:pt x="272" y="10"/>
                  </a:lnTo>
                  <a:lnTo>
                    <a:pt x="272" y="12"/>
                  </a:lnTo>
                  <a:lnTo>
                    <a:pt x="277" y="18"/>
                  </a:lnTo>
                  <a:lnTo>
                    <a:pt x="277" y="21"/>
                  </a:lnTo>
                  <a:lnTo>
                    <a:pt x="278" y="24"/>
                  </a:lnTo>
                  <a:lnTo>
                    <a:pt x="272" y="36"/>
                  </a:lnTo>
                  <a:lnTo>
                    <a:pt x="271" y="37"/>
                  </a:lnTo>
                  <a:lnTo>
                    <a:pt x="267" y="38"/>
                  </a:lnTo>
                  <a:lnTo>
                    <a:pt x="265" y="40"/>
                  </a:lnTo>
                  <a:lnTo>
                    <a:pt x="262" y="43"/>
                  </a:lnTo>
                  <a:lnTo>
                    <a:pt x="257" y="44"/>
                  </a:lnTo>
                  <a:lnTo>
                    <a:pt x="253" y="45"/>
                  </a:lnTo>
                  <a:lnTo>
                    <a:pt x="250" y="45"/>
                  </a:lnTo>
                  <a:lnTo>
                    <a:pt x="246" y="44"/>
                  </a:lnTo>
                  <a:lnTo>
                    <a:pt x="241" y="44"/>
                  </a:lnTo>
                  <a:lnTo>
                    <a:pt x="238" y="42"/>
                  </a:lnTo>
                  <a:lnTo>
                    <a:pt x="234" y="40"/>
                  </a:lnTo>
                  <a:lnTo>
                    <a:pt x="231" y="39"/>
                  </a:lnTo>
                  <a:lnTo>
                    <a:pt x="230" y="40"/>
                  </a:lnTo>
                  <a:lnTo>
                    <a:pt x="229" y="44"/>
                  </a:lnTo>
                  <a:lnTo>
                    <a:pt x="230" y="48"/>
                  </a:lnTo>
                  <a:lnTo>
                    <a:pt x="230" y="51"/>
                  </a:lnTo>
                  <a:lnTo>
                    <a:pt x="229" y="53"/>
                  </a:lnTo>
                  <a:lnTo>
                    <a:pt x="224" y="52"/>
                  </a:lnTo>
                  <a:lnTo>
                    <a:pt x="221" y="48"/>
                  </a:lnTo>
                  <a:lnTo>
                    <a:pt x="218" y="47"/>
                  </a:lnTo>
                  <a:lnTo>
                    <a:pt x="215" y="48"/>
                  </a:lnTo>
                  <a:lnTo>
                    <a:pt x="211" y="55"/>
                  </a:lnTo>
                  <a:lnTo>
                    <a:pt x="211" y="60"/>
                  </a:lnTo>
                  <a:lnTo>
                    <a:pt x="210" y="66"/>
                  </a:lnTo>
                  <a:lnTo>
                    <a:pt x="213" y="69"/>
                  </a:lnTo>
                  <a:lnTo>
                    <a:pt x="214" y="72"/>
                  </a:lnTo>
                  <a:lnTo>
                    <a:pt x="216" y="76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93"/>
                  </a:lnTo>
                  <a:lnTo>
                    <a:pt x="216" y="98"/>
                  </a:lnTo>
                  <a:lnTo>
                    <a:pt x="215" y="101"/>
                  </a:lnTo>
                  <a:lnTo>
                    <a:pt x="214" y="104"/>
                  </a:lnTo>
                  <a:lnTo>
                    <a:pt x="211" y="107"/>
                  </a:lnTo>
                  <a:lnTo>
                    <a:pt x="208" y="108"/>
                  </a:lnTo>
                  <a:lnTo>
                    <a:pt x="203" y="108"/>
                  </a:lnTo>
                  <a:lnTo>
                    <a:pt x="201" y="106"/>
                  </a:lnTo>
                  <a:lnTo>
                    <a:pt x="200" y="103"/>
                  </a:lnTo>
                  <a:lnTo>
                    <a:pt x="197" y="100"/>
                  </a:lnTo>
                  <a:lnTo>
                    <a:pt x="194" y="98"/>
                  </a:lnTo>
                  <a:lnTo>
                    <a:pt x="193" y="95"/>
                  </a:lnTo>
                  <a:lnTo>
                    <a:pt x="187" y="92"/>
                  </a:lnTo>
                  <a:lnTo>
                    <a:pt x="184" y="87"/>
                  </a:lnTo>
                  <a:lnTo>
                    <a:pt x="182" y="87"/>
                  </a:lnTo>
                  <a:lnTo>
                    <a:pt x="177" y="85"/>
                  </a:lnTo>
                  <a:lnTo>
                    <a:pt x="174" y="84"/>
                  </a:lnTo>
                  <a:lnTo>
                    <a:pt x="170" y="83"/>
                  </a:lnTo>
                  <a:lnTo>
                    <a:pt x="168" y="83"/>
                  </a:lnTo>
                  <a:lnTo>
                    <a:pt x="165" y="87"/>
                  </a:lnTo>
                  <a:lnTo>
                    <a:pt x="166" y="92"/>
                  </a:lnTo>
                  <a:lnTo>
                    <a:pt x="167" y="94"/>
                  </a:lnTo>
                  <a:lnTo>
                    <a:pt x="167" y="98"/>
                  </a:lnTo>
                  <a:lnTo>
                    <a:pt x="166" y="100"/>
                  </a:lnTo>
                  <a:lnTo>
                    <a:pt x="166" y="102"/>
                  </a:lnTo>
                  <a:lnTo>
                    <a:pt x="165" y="104"/>
                  </a:lnTo>
                  <a:lnTo>
                    <a:pt x="161" y="106"/>
                  </a:lnTo>
                  <a:lnTo>
                    <a:pt x="158" y="106"/>
                  </a:lnTo>
                  <a:lnTo>
                    <a:pt x="152" y="102"/>
                  </a:lnTo>
                  <a:lnTo>
                    <a:pt x="151" y="96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49" y="86"/>
                  </a:lnTo>
                  <a:lnTo>
                    <a:pt x="146" y="85"/>
                  </a:lnTo>
                  <a:lnTo>
                    <a:pt x="143" y="85"/>
                  </a:lnTo>
                  <a:lnTo>
                    <a:pt x="141" y="88"/>
                  </a:lnTo>
                  <a:lnTo>
                    <a:pt x="143" y="93"/>
                  </a:lnTo>
                  <a:lnTo>
                    <a:pt x="142" y="98"/>
                  </a:lnTo>
                  <a:lnTo>
                    <a:pt x="139" y="103"/>
                  </a:lnTo>
                  <a:lnTo>
                    <a:pt x="137" y="104"/>
                  </a:lnTo>
                  <a:lnTo>
                    <a:pt x="134" y="108"/>
                  </a:lnTo>
                  <a:lnTo>
                    <a:pt x="134" y="111"/>
                  </a:lnTo>
                  <a:lnTo>
                    <a:pt x="134" y="115"/>
                  </a:lnTo>
                  <a:lnTo>
                    <a:pt x="130" y="118"/>
                  </a:lnTo>
                  <a:lnTo>
                    <a:pt x="127" y="122"/>
                  </a:lnTo>
                  <a:lnTo>
                    <a:pt x="125" y="124"/>
                  </a:lnTo>
                  <a:lnTo>
                    <a:pt x="120" y="125"/>
                  </a:lnTo>
                  <a:lnTo>
                    <a:pt x="114" y="127"/>
                  </a:lnTo>
                  <a:lnTo>
                    <a:pt x="112" y="128"/>
                  </a:lnTo>
                  <a:lnTo>
                    <a:pt x="110" y="128"/>
                  </a:lnTo>
                  <a:lnTo>
                    <a:pt x="106" y="128"/>
                  </a:lnTo>
                  <a:lnTo>
                    <a:pt x="101" y="126"/>
                  </a:lnTo>
                  <a:lnTo>
                    <a:pt x="94" y="124"/>
                  </a:lnTo>
                  <a:lnTo>
                    <a:pt x="90" y="122"/>
                  </a:lnTo>
                  <a:lnTo>
                    <a:pt x="85" y="120"/>
                  </a:lnTo>
                  <a:lnTo>
                    <a:pt x="77" y="122"/>
                  </a:lnTo>
                  <a:lnTo>
                    <a:pt x="71" y="124"/>
                  </a:lnTo>
                  <a:lnTo>
                    <a:pt x="69" y="127"/>
                  </a:lnTo>
                  <a:lnTo>
                    <a:pt x="67" y="133"/>
                  </a:lnTo>
                  <a:lnTo>
                    <a:pt x="67" y="138"/>
                  </a:lnTo>
                  <a:lnTo>
                    <a:pt x="66" y="140"/>
                  </a:lnTo>
                  <a:lnTo>
                    <a:pt x="66" y="146"/>
                  </a:lnTo>
                  <a:lnTo>
                    <a:pt x="65" y="151"/>
                  </a:lnTo>
                  <a:lnTo>
                    <a:pt x="63" y="152"/>
                  </a:lnTo>
                  <a:lnTo>
                    <a:pt x="56" y="152"/>
                  </a:lnTo>
                  <a:lnTo>
                    <a:pt x="51" y="155"/>
                  </a:lnTo>
                  <a:lnTo>
                    <a:pt x="45" y="159"/>
                  </a:lnTo>
                  <a:lnTo>
                    <a:pt x="41" y="162"/>
                  </a:lnTo>
                  <a:lnTo>
                    <a:pt x="39" y="168"/>
                  </a:lnTo>
                  <a:lnTo>
                    <a:pt x="37" y="172"/>
                  </a:lnTo>
                  <a:lnTo>
                    <a:pt x="35" y="174"/>
                  </a:lnTo>
                  <a:lnTo>
                    <a:pt x="33" y="178"/>
                  </a:lnTo>
                  <a:lnTo>
                    <a:pt x="31" y="182"/>
                  </a:lnTo>
                  <a:lnTo>
                    <a:pt x="29" y="192"/>
                  </a:lnTo>
                  <a:lnTo>
                    <a:pt x="29" y="197"/>
                  </a:lnTo>
                  <a:lnTo>
                    <a:pt x="29" y="200"/>
                  </a:lnTo>
                  <a:lnTo>
                    <a:pt x="29" y="204"/>
                  </a:lnTo>
                  <a:lnTo>
                    <a:pt x="29" y="208"/>
                  </a:lnTo>
                  <a:lnTo>
                    <a:pt x="26" y="212"/>
                  </a:lnTo>
                  <a:lnTo>
                    <a:pt x="24" y="213"/>
                  </a:lnTo>
                  <a:lnTo>
                    <a:pt x="23" y="215"/>
                  </a:lnTo>
                  <a:lnTo>
                    <a:pt x="19" y="218"/>
                  </a:lnTo>
                  <a:lnTo>
                    <a:pt x="14" y="219"/>
                  </a:lnTo>
                  <a:lnTo>
                    <a:pt x="9" y="220"/>
                  </a:lnTo>
                  <a:lnTo>
                    <a:pt x="6" y="221"/>
                  </a:lnTo>
                  <a:lnTo>
                    <a:pt x="5" y="226"/>
                  </a:lnTo>
                  <a:lnTo>
                    <a:pt x="3" y="229"/>
                  </a:lnTo>
                  <a:lnTo>
                    <a:pt x="5" y="235"/>
                  </a:lnTo>
                  <a:lnTo>
                    <a:pt x="15" y="254"/>
                  </a:lnTo>
                  <a:lnTo>
                    <a:pt x="16" y="255"/>
                  </a:lnTo>
                  <a:lnTo>
                    <a:pt x="16" y="258"/>
                  </a:lnTo>
                  <a:lnTo>
                    <a:pt x="15" y="259"/>
                  </a:lnTo>
                  <a:lnTo>
                    <a:pt x="10" y="258"/>
                  </a:lnTo>
                  <a:lnTo>
                    <a:pt x="7" y="256"/>
                  </a:lnTo>
                  <a:lnTo>
                    <a:pt x="2" y="255"/>
                  </a:lnTo>
                  <a:lnTo>
                    <a:pt x="0" y="262"/>
                  </a:lnTo>
                  <a:lnTo>
                    <a:pt x="2" y="270"/>
                  </a:lnTo>
                  <a:lnTo>
                    <a:pt x="6" y="274"/>
                  </a:lnTo>
                  <a:lnTo>
                    <a:pt x="7" y="279"/>
                  </a:lnTo>
                  <a:lnTo>
                    <a:pt x="9" y="283"/>
                  </a:lnTo>
                  <a:lnTo>
                    <a:pt x="11" y="285"/>
                  </a:lnTo>
                  <a:lnTo>
                    <a:pt x="15" y="290"/>
                  </a:lnTo>
                  <a:lnTo>
                    <a:pt x="16" y="294"/>
                  </a:lnTo>
                  <a:lnTo>
                    <a:pt x="18" y="300"/>
                  </a:lnTo>
                  <a:lnTo>
                    <a:pt x="23" y="303"/>
                  </a:lnTo>
                  <a:lnTo>
                    <a:pt x="27" y="306"/>
                  </a:lnTo>
                  <a:lnTo>
                    <a:pt x="32" y="310"/>
                  </a:lnTo>
                  <a:lnTo>
                    <a:pt x="35" y="314"/>
                  </a:lnTo>
                  <a:lnTo>
                    <a:pt x="38" y="319"/>
                  </a:lnTo>
                  <a:lnTo>
                    <a:pt x="40" y="325"/>
                  </a:lnTo>
                  <a:lnTo>
                    <a:pt x="43" y="333"/>
                  </a:lnTo>
                  <a:lnTo>
                    <a:pt x="47" y="340"/>
                  </a:lnTo>
                  <a:lnTo>
                    <a:pt x="53" y="355"/>
                  </a:lnTo>
                  <a:lnTo>
                    <a:pt x="57" y="364"/>
                  </a:lnTo>
                  <a:lnTo>
                    <a:pt x="58" y="367"/>
                  </a:lnTo>
                  <a:lnTo>
                    <a:pt x="58" y="370"/>
                  </a:lnTo>
                  <a:lnTo>
                    <a:pt x="58" y="373"/>
                  </a:lnTo>
                  <a:lnTo>
                    <a:pt x="59" y="374"/>
                  </a:lnTo>
                  <a:lnTo>
                    <a:pt x="59" y="376"/>
                  </a:lnTo>
                  <a:lnTo>
                    <a:pt x="61" y="380"/>
                  </a:lnTo>
                  <a:lnTo>
                    <a:pt x="61" y="382"/>
                  </a:lnTo>
                  <a:lnTo>
                    <a:pt x="61" y="384"/>
                  </a:lnTo>
                  <a:lnTo>
                    <a:pt x="61" y="387"/>
                  </a:lnTo>
                  <a:lnTo>
                    <a:pt x="61" y="389"/>
                  </a:lnTo>
                  <a:lnTo>
                    <a:pt x="61" y="392"/>
                  </a:lnTo>
                  <a:lnTo>
                    <a:pt x="61" y="395"/>
                  </a:lnTo>
                  <a:lnTo>
                    <a:pt x="61" y="398"/>
                  </a:lnTo>
                  <a:lnTo>
                    <a:pt x="62" y="400"/>
                  </a:lnTo>
                  <a:lnTo>
                    <a:pt x="63" y="403"/>
                  </a:lnTo>
                  <a:lnTo>
                    <a:pt x="64" y="406"/>
                  </a:lnTo>
                  <a:lnTo>
                    <a:pt x="65" y="411"/>
                  </a:lnTo>
                  <a:lnTo>
                    <a:pt x="66" y="413"/>
                  </a:lnTo>
                  <a:lnTo>
                    <a:pt x="67" y="415"/>
                  </a:lnTo>
                  <a:lnTo>
                    <a:pt x="69" y="416"/>
                  </a:lnTo>
                  <a:lnTo>
                    <a:pt x="70" y="419"/>
                  </a:lnTo>
                  <a:lnTo>
                    <a:pt x="71" y="420"/>
                  </a:lnTo>
                  <a:lnTo>
                    <a:pt x="74" y="420"/>
                  </a:lnTo>
                  <a:lnTo>
                    <a:pt x="75" y="420"/>
                  </a:lnTo>
                  <a:lnTo>
                    <a:pt x="78" y="420"/>
                  </a:lnTo>
                  <a:lnTo>
                    <a:pt x="79" y="419"/>
                  </a:lnTo>
                  <a:lnTo>
                    <a:pt x="81" y="416"/>
                  </a:lnTo>
                  <a:lnTo>
                    <a:pt x="81" y="415"/>
                  </a:lnTo>
                  <a:lnTo>
                    <a:pt x="80" y="413"/>
                  </a:lnTo>
                  <a:lnTo>
                    <a:pt x="79" y="411"/>
                  </a:lnTo>
                  <a:lnTo>
                    <a:pt x="77" y="408"/>
                  </a:lnTo>
                  <a:lnTo>
                    <a:pt x="74" y="405"/>
                  </a:lnTo>
                  <a:lnTo>
                    <a:pt x="74" y="404"/>
                  </a:lnTo>
                  <a:lnTo>
                    <a:pt x="74" y="402"/>
                  </a:lnTo>
                  <a:lnTo>
                    <a:pt x="73" y="399"/>
                  </a:lnTo>
                  <a:lnTo>
                    <a:pt x="72" y="397"/>
                  </a:lnTo>
                  <a:lnTo>
                    <a:pt x="73" y="395"/>
                  </a:lnTo>
                  <a:lnTo>
                    <a:pt x="73" y="392"/>
                  </a:lnTo>
                  <a:lnTo>
                    <a:pt x="73" y="389"/>
                  </a:lnTo>
                  <a:lnTo>
                    <a:pt x="73" y="384"/>
                  </a:lnTo>
                  <a:lnTo>
                    <a:pt x="73" y="381"/>
                  </a:lnTo>
                  <a:lnTo>
                    <a:pt x="73" y="378"/>
                  </a:lnTo>
                  <a:lnTo>
                    <a:pt x="73" y="374"/>
                  </a:lnTo>
                  <a:lnTo>
                    <a:pt x="73" y="372"/>
                  </a:lnTo>
                  <a:lnTo>
                    <a:pt x="73" y="368"/>
                  </a:lnTo>
                  <a:lnTo>
                    <a:pt x="74" y="365"/>
                  </a:lnTo>
                  <a:lnTo>
                    <a:pt x="75" y="362"/>
                  </a:lnTo>
                  <a:lnTo>
                    <a:pt x="75" y="360"/>
                  </a:lnTo>
                  <a:lnTo>
                    <a:pt x="77" y="359"/>
                  </a:lnTo>
                  <a:lnTo>
                    <a:pt x="78" y="359"/>
                  </a:lnTo>
                  <a:lnTo>
                    <a:pt x="80" y="359"/>
                  </a:lnTo>
                  <a:lnTo>
                    <a:pt x="83" y="360"/>
                  </a:lnTo>
                  <a:lnTo>
                    <a:pt x="86" y="360"/>
                  </a:lnTo>
                  <a:lnTo>
                    <a:pt x="86" y="363"/>
                  </a:lnTo>
                  <a:lnTo>
                    <a:pt x="88" y="364"/>
                  </a:lnTo>
                  <a:lnTo>
                    <a:pt x="90" y="366"/>
                  </a:lnTo>
                  <a:lnTo>
                    <a:pt x="93" y="367"/>
                  </a:lnTo>
                  <a:lnTo>
                    <a:pt x="96" y="371"/>
                  </a:lnTo>
                  <a:lnTo>
                    <a:pt x="98" y="374"/>
                  </a:lnTo>
                  <a:lnTo>
                    <a:pt x="99" y="376"/>
                  </a:lnTo>
                  <a:lnTo>
                    <a:pt x="101" y="379"/>
                  </a:lnTo>
                  <a:lnTo>
                    <a:pt x="103" y="381"/>
                  </a:lnTo>
                  <a:lnTo>
                    <a:pt x="104" y="383"/>
                  </a:lnTo>
                  <a:lnTo>
                    <a:pt x="105" y="387"/>
                  </a:lnTo>
                  <a:lnTo>
                    <a:pt x="106" y="389"/>
                  </a:lnTo>
                  <a:lnTo>
                    <a:pt x="107" y="391"/>
                  </a:lnTo>
                  <a:lnTo>
                    <a:pt x="109" y="395"/>
                  </a:lnTo>
                  <a:lnTo>
                    <a:pt x="109" y="397"/>
                  </a:lnTo>
                  <a:lnTo>
                    <a:pt x="110" y="399"/>
                  </a:lnTo>
                  <a:lnTo>
                    <a:pt x="111" y="402"/>
                  </a:lnTo>
                  <a:lnTo>
                    <a:pt x="112" y="405"/>
                  </a:lnTo>
                  <a:lnTo>
                    <a:pt x="113" y="407"/>
                  </a:lnTo>
                  <a:lnTo>
                    <a:pt x="114" y="413"/>
                  </a:lnTo>
                  <a:lnTo>
                    <a:pt x="118" y="418"/>
                  </a:lnTo>
                  <a:lnTo>
                    <a:pt x="118" y="421"/>
                  </a:lnTo>
                  <a:lnTo>
                    <a:pt x="118" y="423"/>
                  </a:lnTo>
                  <a:lnTo>
                    <a:pt x="119" y="427"/>
                  </a:lnTo>
                  <a:lnTo>
                    <a:pt x="120" y="430"/>
                  </a:lnTo>
                  <a:lnTo>
                    <a:pt x="121" y="434"/>
                  </a:lnTo>
                  <a:lnTo>
                    <a:pt x="122" y="436"/>
                  </a:lnTo>
                  <a:lnTo>
                    <a:pt x="122" y="438"/>
                  </a:lnTo>
                  <a:lnTo>
                    <a:pt x="123" y="442"/>
                  </a:lnTo>
                  <a:lnTo>
                    <a:pt x="123" y="443"/>
                  </a:lnTo>
                  <a:lnTo>
                    <a:pt x="125" y="445"/>
                  </a:lnTo>
                  <a:lnTo>
                    <a:pt x="128" y="446"/>
                  </a:lnTo>
                  <a:lnTo>
                    <a:pt x="130" y="445"/>
                  </a:lnTo>
                  <a:lnTo>
                    <a:pt x="133" y="444"/>
                  </a:lnTo>
                  <a:lnTo>
                    <a:pt x="137" y="446"/>
                  </a:lnTo>
                  <a:lnTo>
                    <a:pt x="141" y="450"/>
                  </a:lnTo>
                  <a:lnTo>
                    <a:pt x="143" y="451"/>
                  </a:lnTo>
                  <a:lnTo>
                    <a:pt x="146" y="450"/>
                  </a:lnTo>
                  <a:lnTo>
                    <a:pt x="147" y="447"/>
                  </a:lnTo>
                  <a:lnTo>
                    <a:pt x="150" y="445"/>
                  </a:lnTo>
                  <a:lnTo>
                    <a:pt x="152" y="444"/>
                  </a:lnTo>
                  <a:lnTo>
                    <a:pt x="154" y="442"/>
                  </a:lnTo>
                  <a:lnTo>
                    <a:pt x="158" y="440"/>
                  </a:lnTo>
                  <a:lnTo>
                    <a:pt x="161" y="439"/>
                  </a:lnTo>
                  <a:lnTo>
                    <a:pt x="163" y="438"/>
                  </a:lnTo>
                  <a:lnTo>
                    <a:pt x="168" y="435"/>
                  </a:lnTo>
                  <a:lnTo>
                    <a:pt x="170" y="434"/>
                  </a:lnTo>
                  <a:lnTo>
                    <a:pt x="174" y="432"/>
                  </a:lnTo>
                  <a:lnTo>
                    <a:pt x="176" y="430"/>
                  </a:lnTo>
                  <a:lnTo>
                    <a:pt x="178" y="427"/>
                  </a:lnTo>
                  <a:lnTo>
                    <a:pt x="179" y="426"/>
                  </a:lnTo>
                  <a:lnTo>
                    <a:pt x="182" y="423"/>
                  </a:lnTo>
                  <a:lnTo>
                    <a:pt x="184" y="421"/>
                  </a:lnTo>
                  <a:lnTo>
                    <a:pt x="184" y="420"/>
                  </a:lnTo>
                  <a:lnTo>
                    <a:pt x="185" y="418"/>
                  </a:lnTo>
                  <a:lnTo>
                    <a:pt x="185" y="416"/>
                  </a:lnTo>
                  <a:lnTo>
                    <a:pt x="186" y="414"/>
                  </a:lnTo>
                  <a:lnTo>
                    <a:pt x="189" y="412"/>
                  </a:lnTo>
                  <a:lnTo>
                    <a:pt x="190" y="411"/>
                  </a:lnTo>
                  <a:lnTo>
                    <a:pt x="194" y="407"/>
                  </a:lnTo>
                  <a:lnTo>
                    <a:pt x="194" y="406"/>
                  </a:lnTo>
                  <a:lnTo>
                    <a:pt x="194" y="403"/>
                  </a:lnTo>
                  <a:lnTo>
                    <a:pt x="192" y="398"/>
                  </a:lnTo>
                  <a:lnTo>
                    <a:pt x="192" y="396"/>
                  </a:lnTo>
                  <a:lnTo>
                    <a:pt x="191" y="391"/>
                  </a:lnTo>
                  <a:lnTo>
                    <a:pt x="191" y="389"/>
                  </a:lnTo>
                  <a:lnTo>
                    <a:pt x="189" y="386"/>
                  </a:lnTo>
                  <a:lnTo>
                    <a:pt x="187" y="383"/>
                  </a:lnTo>
                  <a:lnTo>
                    <a:pt x="186" y="380"/>
                  </a:lnTo>
                  <a:lnTo>
                    <a:pt x="186" y="376"/>
                  </a:lnTo>
                  <a:lnTo>
                    <a:pt x="185" y="373"/>
                  </a:lnTo>
                  <a:lnTo>
                    <a:pt x="183" y="368"/>
                  </a:lnTo>
                  <a:lnTo>
                    <a:pt x="181" y="360"/>
                  </a:lnTo>
                  <a:lnTo>
                    <a:pt x="181" y="355"/>
                  </a:lnTo>
                  <a:lnTo>
                    <a:pt x="182" y="351"/>
                  </a:lnTo>
                  <a:lnTo>
                    <a:pt x="182" y="347"/>
                  </a:lnTo>
                  <a:lnTo>
                    <a:pt x="184" y="342"/>
                  </a:lnTo>
                  <a:lnTo>
                    <a:pt x="186" y="338"/>
                  </a:lnTo>
                  <a:lnTo>
                    <a:pt x="195" y="328"/>
                  </a:lnTo>
                  <a:lnTo>
                    <a:pt x="202" y="320"/>
                  </a:lnTo>
                  <a:lnTo>
                    <a:pt x="207" y="317"/>
                  </a:lnTo>
                  <a:lnTo>
                    <a:pt x="209" y="314"/>
                  </a:lnTo>
                  <a:lnTo>
                    <a:pt x="214" y="310"/>
                  </a:lnTo>
                  <a:lnTo>
                    <a:pt x="218" y="306"/>
                  </a:lnTo>
                  <a:lnTo>
                    <a:pt x="223" y="302"/>
                  </a:lnTo>
                  <a:lnTo>
                    <a:pt x="226" y="299"/>
                  </a:lnTo>
                  <a:lnTo>
                    <a:pt x="230" y="296"/>
                  </a:lnTo>
                  <a:lnTo>
                    <a:pt x="229" y="293"/>
                  </a:lnTo>
                  <a:lnTo>
                    <a:pt x="227" y="288"/>
                  </a:lnTo>
                  <a:lnTo>
                    <a:pt x="225" y="283"/>
                  </a:lnTo>
                  <a:lnTo>
                    <a:pt x="224" y="278"/>
                  </a:lnTo>
                  <a:lnTo>
                    <a:pt x="225" y="272"/>
                  </a:lnTo>
                  <a:lnTo>
                    <a:pt x="223" y="268"/>
                  </a:lnTo>
                  <a:lnTo>
                    <a:pt x="222" y="263"/>
                  </a:lnTo>
                  <a:lnTo>
                    <a:pt x="219" y="258"/>
                  </a:lnTo>
                  <a:lnTo>
                    <a:pt x="222" y="250"/>
                  </a:lnTo>
                  <a:lnTo>
                    <a:pt x="223" y="247"/>
                  </a:lnTo>
                  <a:lnTo>
                    <a:pt x="222" y="244"/>
                  </a:lnTo>
                  <a:lnTo>
                    <a:pt x="219" y="237"/>
                  </a:lnTo>
                  <a:lnTo>
                    <a:pt x="218" y="234"/>
                  </a:lnTo>
                  <a:lnTo>
                    <a:pt x="219" y="229"/>
                  </a:lnTo>
                  <a:lnTo>
                    <a:pt x="222" y="226"/>
                  </a:lnTo>
                  <a:lnTo>
                    <a:pt x="224" y="226"/>
                  </a:lnTo>
                  <a:lnTo>
                    <a:pt x="229" y="228"/>
                  </a:lnTo>
                  <a:lnTo>
                    <a:pt x="233" y="231"/>
                  </a:lnTo>
                  <a:lnTo>
                    <a:pt x="238" y="234"/>
                  </a:lnTo>
                  <a:lnTo>
                    <a:pt x="242" y="236"/>
                  </a:lnTo>
                  <a:lnTo>
                    <a:pt x="245" y="238"/>
                  </a:lnTo>
                  <a:lnTo>
                    <a:pt x="247" y="242"/>
                  </a:lnTo>
                  <a:lnTo>
                    <a:pt x="251" y="245"/>
                  </a:lnTo>
                  <a:lnTo>
                    <a:pt x="253" y="246"/>
                  </a:lnTo>
                  <a:lnTo>
                    <a:pt x="255" y="246"/>
                  </a:lnTo>
                  <a:lnTo>
                    <a:pt x="259" y="243"/>
                  </a:lnTo>
                  <a:lnTo>
                    <a:pt x="263" y="239"/>
                  </a:lnTo>
                  <a:lnTo>
                    <a:pt x="270" y="231"/>
                  </a:lnTo>
                  <a:lnTo>
                    <a:pt x="274" y="229"/>
                  </a:lnTo>
                  <a:lnTo>
                    <a:pt x="277" y="227"/>
                  </a:lnTo>
                  <a:lnTo>
                    <a:pt x="279" y="223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0" y="224"/>
                  </a:lnTo>
                  <a:lnTo>
                    <a:pt x="290" y="228"/>
                  </a:lnTo>
                  <a:lnTo>
                    <a:pt x="290" y="234"/>
                  </a:lnTo>
                  <a:lnTo>
                    <a:pt x="290" y="239"/>
                  </a:lnTo>
                  <a:lnTo>
                    <a:pt x="294" y="242"/>
                  </a:lnTo>
                  <a:lnTo>
                    <a:pt x="296" y="240"/>
                  </a:lnTo>
                  <a:lnTo>
                    <a:pt x="299" y="238"/>
                  </a:lnTo>
                  <a:lnTo>
                    <a:pt x="301" y="235"/>
                  </a:lnTo>
                  <a:lnTo>
                    <a:pt x="302" y="228"/>
                  </a:lnTo>
                  <a:lnTo>
                    <a:pt x="304" y="222"/>
                  </a:lnTo>
                  <a:lnTo>
                    <a:pt x="309" y="216"/>
                  </a:lnTo>
                  <a:lnTo>
                    <a:pt x="311" y="214"/>
                  </a:lnTo>
                  <a:lnTo>
                    <a:pt x="313" y="214"/>
                  </a:lnTo>
                  <a:lnTo>
                    <a:pt x="313" y="210"/>
                  </a:lnTo>
                  <a:lnTo>
                    <a:pt x="313" y="207"/>
                  </a:lnTo>
                  <a:lnTo>
                    <a:pt x="312" y="205"/>
                  </a:lnTo>
                  <a:lnTo>
                    <a:pt x="310" y="203"/>
                  </a:lnTo>
                  <a:lnTo>
                    <a:pt x="309" y="199"/>
                  </a:lnTo>
                  <a:lnTo>
                    <a:pt x="307" y="196"/>
                  </a:lnTo>
                  <a:lnTo>
                    <a:pt x="312" y="192"/>
                  </a:lnTo>
                  <a:lnTo>
                    <a:pt x="317" y="191"/>
                  </a:lnTo>
                  <a:lnTo>
                    <a:pt x="320" y="191"/>
                  </a:lnTo>
                  <a:lnTo>
                    <a:pt x="323" y="191"/>
                  </a:lnTo>
                  <a:lnTo>
                    <a:pt x="326" y="190"/>
                  </a:lnTo>
                  <a:lnTo>
                    <a:pt x="328" y="190"/>
                  </a:lnTo>
                  <a:lnTo>
                    <a:pt x="331" y="190"/>
                  </a:lnTo>
                  <a:lnTo>
                    <a:pt x="334" y="187"/>
                  </a:lnTo>
                  <a:lnTo>
                    <a:pt x="336" y="182"/>
                  </a:lnTo>
                  <a:lnTo>
                    <a:pt x="336" y="179"/>
                  </a:lnTo>
                  <a:lnTo>
                    <a:pt x="335" y="174"/>
                  </a:lnTo>
                  <a:lnTo>
                    <a:pt x="334" y="173"/>
                  </a:lnTo>
                  <a:lnTo>
                    <a:pt x="331" y="171"/>
                  </a:lnTo>
                  <a:lnTo>
                    <a:pt x="327" y="168"/>
                  </a:lnTo>
                  <a:lnTo>
                    <a:pt x="322" y="165"/>
                  </a:lnTo>
                  <a:lnTo>
                    <a:pt x="320" y="163"/>
                  </a:lnTo>
                  <a:lnTo>
                    <a:pt x="318" y="159"/>
                  </a:lnTo>
                  <a:lnTo>
                    <a:pt x="318" y="156"/>
                  </a:lnTo>
                  <a:lnTo>
                    <a:pt x="318" y="154"/>
                  </a:lnTo>
                  <a:lnTo>
                    <a:pt x="317" y="150"/>
                  </a:lnTo>
                  <a:lnTo>
                    <a:pt x="318" y="148"/>
                  </a:lnTo>
                  <a:lnTo>
                    <a:pt x="319" y="142"/>
                  </a:lnTo>
                  <a:lnTo>
                    <a:pt x="320" y="139"/>
                  </a:lnTo>
                  <a:lnTo>
                    <a:pt x="321" y="136"/>
                  </a:lnTo>
                  <a:lnTo>
                    <a:pt x="323" y="132"/>
                  </a:lnTo>
                  <a:lnTo>
                    <a:pt x="326" y="130"/>
                  </a:lnTo>
                  <a:lnTo>
                    <a:pt x="328" y="125"/>
                  </a:lnTo>
                  <a:lnTo>
                    <a:pt x="329" y="122"/>
                  </a:lnTo>
                  <a:lnTo>
                    <a:pt x="330" y="118"/>
                  </a:lnTo>
                  <a:lnTo>
                    <a:pt x="329" y="115"/>
                  </a:lnTo>
                  <a:lnTo>
                    <a:pt x="327" y="112"/>
                  </a:lnTo>
                  <a:lnTo>
                    <a:pt x="323" y="112"/>
                  </a:lnTo>
                  <a:lnTo>
                    <a:pt x="321" y="111"/>
                  </a:lnTo>
                  <a:lnTo>
                    <a:pt x="320" y="110"/>
                  </a:lnTo>
                  <a:lnTo>
                    <a:pt x="318" y="109"/>
                  </a:lnTo>
                  <a:lnTo>
                    <a:pt x="318" y="107"/>
                  </a:lnTo>
                  <a:lnTo>
                    <a:pt x="317" y="104"/>
                  </a:lnTo>
                  <a:lnTo>
                    <a:pt x="315" y="102"/>
                  </a:lnTo>
                  <a:lnTo>
                    <a:pt x="315" y="99"/>
                  </a:lnTo>
                  <a:lnTo>
                    <a:pt x="318" y="96"/>
                  </a:lnTo>
                  <a:lnTo>
                    <a:pt x="320" y="94"/>
                  </a:lnTo>
                  <a:lnTo>
                    <a:pt x="321" y="93"/>
                  </a:lnTo>
                  <a:lnTo>
                    <a:pt x="321" y="90"/>
                  </a:lnTo>
                  <a:lnTo>
                    <a:pt x="320" y="80"/>
                  </a:lnTo>
                  <a:lnTo>
                    <a:pt x="315" y="79"/>
                  </a:lnTo>
                  <a:lnTo>
                    <a:pt x="313" y="80"/>
                  </a:lnTo>
                  <a:lnTo>
                    <a:pt x="309" y="82"/>
                  </a:lnTo>
                  <a:lnTo>
                    <a:pt x="304" y="82"/>
                  </a:lnTo>
                  <a:lnTo>
                    <a:pt x="301" y="82"/>
                  </a:lnTo>
                  <a:lnTo>
                    <a:pt x="297" y="80"/>
                  </a:lnTo>
                  <a:lnTo>
                    <a:pt x="296" y="78"/>
                  </a:lnTo>
                  <a:lnTo>
                    <a:pt x="295" y="76"/>
                  </a:lnTo>
                  <a:lnTo>
                    <a:pt x="295" y="75"/>
                  </a:lnTo>
                  <a:lnTo>
                    <a:pt x="295" y="72"/>
                  </a:lnTo>
                  <a:lnTo>
                    <a:pt x="295" y="69"/>
                  </a:lnTo>
                  <a:lnTo>
                    <a:pt x="296" y="66"/>
                  </a:lnTo>
                  <a:lnTo>
                    <a:pt x="297" y="62"/>
                  </a:lnTo>
                  <a:lnTo>
                    <a:pt x="298" y="59"/>
                  </a:lnTo>
                  <a:lnTo>
                    <a:pt x="299" y="56"/>
                  </a:lnTo>
                  <a:lnTo>
                    <a:pt x="302" y="53"/>
                  </a:lnTo>
                  <a:lnTo>
                    <a:pt x="303" y="50"/>
                  </a:lnTo>
                  <a:lnTo>
                    <a:pt x="303" y="46"/>
                  </a:lnTo>
                  <a:lnTo>
                    <a:pt x="304" y="42"/>
                  </a:lnTo>
                  <a:lnTo>
                    <a:pt x="304" y="38"/>
                  </a:lnTo>
                  <a:lnTo>
                    <a:pt x="303" y="36"/>
                  </a:lnTo>
                  <a:lnTo>
                    <a:pt x="302" y="34"/>
                  </a:lnTo>
                  <a:lnTo>
                    <a:pt x="301" y="32"/>
                  </a:lnTo>
                  <a:lnTo>
                    <a:pt x="299" y="30"/>
                  </a:lnTo>
                  <a:lnTo>
                    <a:pt x="297" y="26"/>
                  </a:lnTo>
                  <a:lnTo>
                    <a:pt x="297" y="20"/>
                  </a:lnTo>
                  <a:lnTo>
                    <a:pt x="297" y="18"/>
                  </a:lnTo>
                  <a:lnTo>
                    <a:pt x="294" y="14"/>
                  </a:lnTo>
                  <a:lnTo>
                    <a:pt x="295" y="7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57" name="ML"/>
            <p:cNvSpPr>
              <a:spLocks/>
            </p:cNvSpPr>
            <p:nvPr/>
          </p:nvSpPr>
          <p:spPr bwMode="auto">
            <a:xfrm>
              <a:off x="7724228" y="3096715"/>
              <a:ext cx="327959" cy="114543"/>
            </a:xfrm>
            <a:custGeom>
              <a:avLst/>
              <a:gdLst>
                <a:gd name="T0" fmla="*/ 3 w 824"/>
                <a:gd name="T1" fmla="*/ 191 h 295"/>
                <a:gd name="T2" fmla="*/ 24 w 824"/>
                <a:gd name="T3" fmla="*/ 225 h 295"/>
                <a:gd name="T4" fmla="*/ 81 w 824"/>
                <a:gd name="T5" fmla="*/ 244 h 295"/>
                <a:gd name="T6" fmla="*/ 150 w 824"/>
                <a:gd name="T7" fmla="*/ 263 h 295"/>
                <a:gd name="T8" fmla="*/ 210 w 824"/>
                <a:gd name="T9" fmla="*/ 262 h 295"/>
                <a:gd name="T10" fmla="*/ 265 w 824"/>
                <a:gd name="T11" fmla="*/ 262 h 295"/>
                <a:gd name="T12" fmla="*/ 342 w 824"/>
                <a:gd name="T13" fmla="*/ 255 h 295"/>
                <a:gd name="T14" fmla="*/ 419 w 824"/>
                <a:gd name="T15" fmla="*/ 256 h 295"/>
                <a:gd name="T16" fmla="*/ 499 w 824"/>
                <a:gd name="T17" fmla="*/ 258 h 295"/>
                <a:gd name="T18" fmla="*/ 555 w 824"/>
                <a:gd name="T19" fmla="*/ 262 h 295"/>
                <a:gd name="T20" fmla="*/ 656 w 824"/>
                <a:gd name="T21" fmla="*/ 265 h 295"/>
                <a:gd name="T22" fmla="*/ 697 w 824"/>
                <a:gd name="T23" fmla="*/ 281 h 295"/>
                <a:gd name="T24" fmla="*/ 732 w 824"/>
                <a:gd name="T25" fmla="*/ 288 h 295"/>
                <a:gd name="T26" fmla="*/ 755 w 824"/>
                <a:gd name="T27" fmla="*/ 270 h 295"/>
                <a:gd name="T28" fmla="*/ 770 w 824"/>
                <a:gd name="T29" fmla="*/ 268 h 295"/>
                <a:gd name="T30" fmla="*/ 816 w 824"/>
                <a:gd name="T31" fmla="*/ 250 h 295"/>
                <a:gd name="T32" fmla="*/ 821 w 824"/>
                <a:gd name="T33" fmla="*/ 222 h 295"/>
                <a:gd name="T34" fmla="*/ 786 w 824"/>
                <a:gd name="T35" fmla="*/ 185 h 295"/>
                <a:gd name="T36" fmla="*/ 774 w 824"/>
                <a:gd name="T37" fmla="*/ 159 h 295"/>
                <a:gd name="T38" fmla="*/ 780 w 824"/>
                <a:gd name="T39" fmla="*/ 137 h 295"/>
                <a:gd name="T40" fmla="*/ 752 w 824"/>
                <a:gd name="T41" fmla="*/ 119 h 295"/>
                <a:gd name="T42" fmla="*/ 717 w 824"/>
                <a:gd name="T43" fmla="*/ 97 h 295"/>
                <a:gd name="T44" fmla="*/ 677 w 824"/>
                <a:gd name="T45" fmla="*/ 101 h 295"/>
                <a:gd name="T46" fmla="*/ 651 w 824"/>
                <a:gd name="T47" fmla="*/ 112 h 295"/>
                <a:gd name="T48" fmla="*/ 644 w 824"/>
                <a:gd name="T49" fmla="*/ 95 h 295"/>
                <a:gd name="T50" fmla="*/ 654 w 824"/>
                <a:gd name="T51" fmla="*/ 63 h 295"/>
                <a:gd name="T52" fmla="*/ 648 w 824"/>
                <a:gd name="T53" fmla="*/ 46 h 295"/>
                <a:gd name="T54" fmla="*/ 674 w 824"/>
                <a:gd name="T55" fmla="*/ 14 h 295"/>
                <a:gd name="T56" fmla="*/ 640 w 824"/>
                <a:gd name="T57" fmla="*/ 8 h 295"/>
                <a:gd name="T58" fmla="*/ 597 w 824"/>
                <a:gd name="T59" fmla="*/ 13 h 295"/>
                <a:gd name="T60" fmla="*/ 572 w 824"/>
                <a:gd name="T61" fmla="*/ 22 h 295"/>
                <a:gd name="T62" fmla="*/ 556 w 824"/>
                <a:gd name="T63" fmla="*/ 0 h 295"/>
                <a:gd name="T64" fmla="*/ 528 w 824"/>
                <a:gd name="T65" fmla="*/ 17 h 295"/>
                <a:gd name="T66" fmla="*/ 520 w 824"/>
                <a:gd name="T67" fmla="*/ 42 h 295"/>
                <a:gd name="T68" fmla="*/ 505 w 824"/>
                <a:gd name="T69" fmla="*/ 50 h 295"/>
                <a:gd name="T70" fmla="*/ 501 w 824"/>
                <a:gd name="T71" fmla="*/ 24 h 295"/>
                <a:gd name="T72" fmla="*/ 478 w 824"/>
                <a:gd name="T73" fmla="*/ 38 h 295"/>
                <a:gd name="T74" fmla="*/ 472 w 824"/>
                <a:gd name="T75" fmla="*/ 49 h 295"/>
                <a:gd name="T76" fmla="*/ 470 w 824"/>
                <a:gd name="T77" fmla="*/ 61 h 295"/>
                <a:gd name="T78" fmla="*/ 434 w 824"/>
                <a:gd name="T79" fmla="*/ 69 h 295"/>
                <a:gd name="T80" fmla="*/ 404 w 824"/>
                <a:gd name="T81" fmla="*/ 92 h 295"/>
                <a:gd name="T82" fmla="*/ 384 w 824"/>
                <a:gd name="T83" fmla="*/ 103 h 295"/>
                <a:gd name="T84" fmla="*/ 378 w 824"/>
                <a:gd name="T85" fmla="*/ 78 h 295"/>
                <a:gd name="T86" fmla="*/ 360 w 824"/>
                <a:gd name="T87" fmla="*/ 72 h 295"/>
                <a:gd name="T88" fmla="*/ 345 w 824"/>
                <a:gd name="T89" fmla="*/ 66 h 295"/>
                <a:gd name="T90" fmla="*/ 330 w 824"/>
                <a:gd name="T91" fmla="*/ 61 h 295"/>
                <a:gd name="T92" fmla="*/ 316 w 824"/>
                <a:gd name="T93" fmla="*/ 54 h 295"/>
                <a:gd name="T94" fmla="*/ 296 w 824"/>
                <a:gd name="T95" fmla="*/ 47 h 295"/>
                <a:gd name="T96" fmla="*/ 267 w 824"/>
                <a:gd name="T97" fmla="*/ 53 h 295"/>
                <a:gd name="T98" fmla="*/ 243 w 824"/>
                <a:gd name="T99" fmla="*/ 45 h 295"/>
                <a:gd name="T100" fmla="*/ 225 w 824"/>
                <a:gd name="T101" fmla="*/ 58 h 295"/>
                <a:gd name="T102" fmla="*/ 206 w 824"/>
                <a:gd name="T103" fmla="*/ 53 h 295"/>
                <a:gd name="T104" fmla="*/ 193 w 824"/>
                <a:gd name="T105" fmla="*/ 28 h 295"/>
                <a:gd name="T106" fmla="*/ 142 w 824"/>
                <a:gd name="T107" fmla="*/ 30 h 295"/>
                <a:gd name="T108" fmla="*/ 73 w 824"/>
                <a:gd name="T109" fmla="*/ 50 h 295"/>
                <a:gd name="T110" fmla="*/ 40 w 824"/>
                <a:gd name="T111" fmla="*/ 85 h 295"/>
                <a:gd name="T112" fmla="*/ 24 w 824"/>
                <a:gd name="T113" fmla="*/ 110 h 295"/>
                <a:gd name="T114" fmla="*/ 56 w 824"/>
                <a:gd name="T115" fmla="*/ 140 h 295"/>
                <a:gd name="T116" fmla="*/ 35 w 824"/>
                <a:gd name="T117" fmla="*/ 157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4" h="295">
                  <a:moveTo>
                    <a:pt x="13" y="148"/>
                  </a:moveTo>
                  <a:lnTo>
                    <a:pt x="13" y="151"/>
                  </a:lnTo>
                  <a:lnTo>
                    <a:pt x="13" y="154"/>
                  </a:lnTo>
                  <a:lnTo>
                    <a:pt x="13" y="157"/>
                  </a:lnTo>
                  <a:lnTo>
                    <a:pt x="13" y="160"/>
                  </a:lnTo>
                  <a:lnTo>
                    <a:pt x="13" y="162"/>
                  </a:lnTo>
                  <a:lnTo>
                    <a:pt x="13" y="166"/>
                  </a:lnTo>
                  <a:lnTo>
                    <a:pt x="12" y="169"/>
                  </a:lnTo>
                  <a:lnTo>
                    <a:pt x="10" y="174"/>
                  </a:lnTo>
                  <a:lnTo>
                    <a:pt x="8" y="177"/>
                  </a:lnTo>
                  <a:lnTo>
                    <a:pt x="6" y="181"/>
                  </a:lnTo>
                  <a:lnTo>
                    <a:pt x="3" y="191"/>
                  </a:lnTo>
                  <a:lnTo>
                    <a:pt x="2" y="194"/>
                  </a:lnTo>
                  <a:lnTo>
                    <a:pt x="2" y="200"/>
                  </a:lnTo>
                  <a:lnTo>
                    <a:pt x="1" y="208"/>
                  </a:lnTo>
                  <a:lnTo>
                    <a:pt x="1" y="212"/>
                  </a:lnTo>
                  <a:lnTo>
                    <a:pt x="0" y="216"/>
                  </a:lnTo>
                  <a:lnTo>
                    <a:pt x="1" y="221"/>
                  </a:lnTo>
                  <a:lnTo>
                    <a:pt x="4" y="224"/>
                  </a:lnTo>
                  <a:lnTo>
                    <a:pt x="8" y="226"/>
                  </a:lnTo>
                  <a:lnTo>
                    <a:pt x="11" y="226"/>
                  </a:lnTo>
                  <a:lnTo>
                    <a:pt x="14" y="226"/>
                  </a:lnTo>
                  <a:lnTo>
                    <a:pt x="18" y="226"/>
                  </a:lnTo>
                  <a:lnTo>
                    <a:pt x="24" y="225"/>
                  </a:lnTo>
                  <a:lnTo>
                    <a:pt x="29" y="226"/>
                  </a:lnTo>
                  <a:lnTo>
                    <a:pt x="34" y="229"/>
                  </a:lnTo>
                  <a:lnTo>
                    <a:pt x="37" y="230"/>
                  </a:lnTo>
                  <a:lnTo>
                    <a:pt x="44" y="231"/>
                  </a:lnTo>
                  <a:lnTo>
                    <a:pt x="50" y="231"/>
                  </a:lnTo>
                  <a:lnTo>
                    <a:pt x="56" y="233"/>
                  </a:lnTo>
                  <a:lnTo>
                    <a:pt x="58" y="234"/>
                  </a:lnTo>
                  <a:lnTo>
                    <a:pt x="61" y="237"/>
                  </a:lnTo>
                  <a:lnTo>
                    <a:pt x="66" y="239"/>
                  </a:lnTo>
                  <a:lnTo>
                    <a:pt x="69" y="241"/>
                  </a:lnTo>
                  <a:lnTo>
                    <a:pt x="74" y="242"/>
                  </a:lnTo>
                  <a:lnTo>
                    <a:pt x="81" y="244"/>
                  </a:lnTo>
                  <a:lnTo>
                    <a:pt x="88" y="246"/>
                  </a:lnTo>
                  <a:lnTo>
                    <a:pt x="94" y="246"/>
                  </a:lnTo>
                  <a:lnTo>
                    <a:pt x="102" y="248"/>
                  </a:lnTo>
                  <a:lnTo>
                    <a:pt x="106" y="248"/>
                  </a:lnTo>
                  <a:lnTo>
                    <a:pt x="112" y="250"/>
                  </a:lnTo>
                  <a:lnTo>
                    <a:pt x="118" y="253"/>
                  </a:lnTo>
                  <a:lnTo>
                    <a:pt x="124" y="254"/>
                  </a:lnTo>
                  <a:lnTo>
                    <a:pt x="130" y="256"/>
                  </a:lnTo>
                  <a:lnTo>
                    <a:pt x="136" y="258"/>
                  </a:lnTo>
                  <a:lnTo>
                    <a:pt x="140" y="260"/>
                  </a:lnTo>
                  <a:lnTo>
                    <a:pt x="145" y="261"/>
                  </a:lnTo>
                  <a:lnTo>
                    <a:pt x="150" y="263"/>
                  </a:lnTo>
                  <a:lnTo>
                    <a:pt x="155" y="265"/>
                  </a:lnTo>
                  <a:lnTo>
                    <a:pt x="160" y="266"/>
                  </a:lnTo>
                  <a:lnTo>
                    <a:pt x="165" y="268"/>
                  </a:lnTo>
                  <a:lnTo>
                    <a:pt x="170" y="269"/>
                  </a:lnTo>
                  <a:lnTo>
                    <a:pt x="174" y="269"/>
                  </a:lnTo>
                  <a:lnTo>
                    <a:pt x="179" y="269"/>
                  </a:lnTo>
                  <a:lnTo>
                    <a:pt x="186" y="268"/>
                  </a:lnTo>
                  <a:lnTo>
                    <a:pt x="189" y="266"/>
                  </a:lnTo>
                  <a:lnTo>
                    <a:pt x="193" y="266"/>
                  </a:lnTo>
                  <a:lnTo>
                    <a:pt x="198" y="265"/>
                  </a:lnTo>
                  <a:lnTo>
                    <a:pt x="208" y="263"/>
                  </a:lnTo>
                  <a:lnTo>
                    <a:pt x="210" y="262"/>
                  </a:lnTo>
                  <a:lnTo>
                    <a:pt x="214" y="262"/>
                  </a:lnTo>
                  <a:lnTo>
                    <a:pt x="220" y="262"/>
                  </a:lnTo>
                  <a:lnTo>
                    <a:pt x="225" y="261"/>
                  </a:lnTo>
                  <a:lnTo>
                    <a:pt x="236" y="256"/>
                  </a:lnTo>
                  <a:lnTo>
                    <a:pt x="241" y="255"/>
                  </a:lnTo>
                  <a:lnTo>
                    <a:pt x="243" y="255"/>
                  </a:lnTo>
                  <a:lnTo>
                    <a:pt x="245" y="257"/>
                  </a:lnTo>
                  <a:lnTo>
                    <a:pt x="248" y="260"/>
                  </a:lnTo>
                  <a:lnTo>
                    <a:pt x="249" y="263"/>
                  </a:lnTo>
                  <a:lnTo>
                    <a:pt x="253" y="264"/>
                  </a:lnTo>
                  <a:lnTo>
                    <a:pt x="259" y="263"/>
                  </a:lnTo>
                  <a:lnTo>
                    <a:pt x="265" y="262"/>
                  </a:lnTo>
                  <a:lnTo>
                    <a:pt x="269" y="261"/>
                  </a:lnTo>
                  <a:lnTo>
                    <a:pt x="275" y="261"/>
                  </a:lnTo>
                  <a:lnTo>
                    <a:pt x="280" y="262"/>
                  </a:lnTo>
                  <a:lnTo>
                    <a:pt x="284" y="264"/>
                  </a:lnTo>
                  <a:lnTo>
                    <a:pt x="290" y="265"/>
                  </a:lnTo>
                  <a:lnTo>
                    <a:pt x="297" y="266"/>
                  </a:lnTo>
                  <a:lnTo>
                    <a:pt x="302" y="268"/>
                  </a:lnTo>
                  <a:lnTo>
                    <a:pt x="308" y="268"/>
                  </a:lnTo>
                  <a:lnTo>
                    <a:pt x="321" y="262"/>
                  </a:lnTo>
                  <a:lnTo>
                    <a:pt x="326" y="260"/>
                  </a:lnTo>
                  <a:lnTo>
                    <a:pt x="333" y="257"/>
                  </a:lnTo>
                  <a:lnTo>
                    <a:pt x="342" y="255"/>
                  </a:lnTo>
                  <a:lnTo>
                    <a:pt x="349" y="254"/>
                  </a:lnTo>
                  <a:lnTo>
                    <a:pt x="356" y="252"/>
                  </a:lnTo>
                  <a:lnTo>
                    <a:pt x="362" y="250"/>
                  </a:lnTo>
                  <a:lnTo>
                    <a:pt x="368" y="249"/>
                  </a:lnTo>
                  <a:lnTo>
                    <a:pt x="372" y="249"/>
                  </a:lnTo>
                  <a:lnTo>
                    <a:pt x="381" y="249"/>
                  </a:lnTo>
                  <a:lnTo>
                    <a:pt x="387" y="250"/>
                  </a:lnTo>
                  <a:lnTo>
                    <a:pt x="390" y="252"/>
                  </a:lnTo>
                  <a:lnTo>
                    <a:pt x="397" y="252"/>
                  </a:lnTo>
                  <a:lnTo>
                    <a:pt x="405" y="253"/>
                  </a:lnTo>
                  <a:lnTo>
                    <a:pt x="413" y="254"/>
                  </a:lnTo>
                  <a:lnTo>
                    <a:pt x="419" y="256"/>
                  </a:lnTo>
                  <a:lnTo>
                    <a:pt x="426" y="257"/>
                  </a:lnTo>
                  <a:lnTo>
                    <a:pt x="433" y="258"/>
                  </a:lnTo>
                  <a:lnTo>
                    <a:pt x="441" y="261"/>
                  </a:lnTo>
                  <a:lnTo>
                    <a:pt x="446" y="262"/>
                  </a:lnTo>
                  <a:lnTo>
                    <a:pt x="450" y="262"/>
                  </a:lnTo>
                  <a:lnTo>
                    <a:pt x="462" y="264"/>
                  </a:lnTo>
                  <a:lnTo>
                    <a:pt x="477" y="265"/>
                  </a:lnTo>
                  <a:lnTo>
                    <a:pt x="483" y="265"/>
                  </a:lnTo>
                  <a:lnTo>
                    <a:pt x="488" y="264"/>
                  </a:lnTo>
                  <a:lnTo>
                    <a:pt x="491" y="262"/>
                  </a:lnTo>
                  <a:lnTo>
                    <a:pt x="494" y="261"/>
                  </a:lnTo>
                  <a:lnTo>
                    <a:pt x="499" y="258"/>
                  </a:lnTo>
                  <a:lnTo>
                    <a:pt x="504" y="260"/>
                  </a:lnTo>
                  <a:lnTo>
                    <a:pt x="505" y="262"/>
                  </a:lnTo>
                  <a:lnTo>
                    <a:pt x="505" y="264"/>
                  </a:lnTo>
                  <a:lnTo>
                    <a:pt x="507" y="268"/>
                  </a:lnTo>
                  <a:lnTo>
                    <a:pt x="509" y="269"/>
                  </a:lnTo>
                  <a:lnTo>
                    <a:pt x="513" y="271"/>
                  </a:lnTo>
                  <a:lnTo>
                    <a:pt x="517" y="270"/>
                  </a:lnTo>
                  <a:lnTo>
                    <a:pt x="523" y="268"/>
                  </a:lnTo>
                  <a:lnTo>
                    <a:pt x="530" y="264"/>
                  </a:lnTo>
                  <a:lnTo>
                    <a:pt x="539" y="263"/>
                  </a:lnTo>
                  <a:lnTo>
                    <a:pt x="546" y="262"/>
                  </a:lnTo>
                  <a:lnTo>
                    <a:pt x="555" y="262"/>
                  </a:lnTo>
                  <a:lnTo>
                    <a:pt x="563" y="261"/>
                  </a:lnTo>
                  <a:lnTo>
                    <a:pt x="572" y="260"/>
                  </a:lnTo>
                  <a:lnTo>
                    <a:pt x="579" y="258"/>
                  </a:lnTo>
                  <a:lnTo>
                    <a:pt x="589" y="257"/>
                  </a:lnTo>
                  <a:lnTo>
                    <a:pt x="596" y="256"/>
                  </a:lnTo>
                  <a:lnTo>
                    <a:pt x="614" y="253"/>
                  </a:lnTo>
                  <a:lnTo>
                    <a:pt x="629" y="254"/>
                  </a:lnTo>
                  <a:lnTo>
                    <a:pt x="632" y="254"/>
                  </a:lnTo>
                  <a:lnTo>
                    <a:pt x="636" y="256"/>
                  </a:lnTo>
                  <a:lnTo>
                    <a:pt x="644" y="257"/>
                  </a:lnTo>
                  <a:lnTo>
                    <a:pt x="650" y="260"/>
                  </a:lnTo>
                  <a:lnTo>
                    <a:pt x="656" y="265"/>
                  </a:lnTo>
                  <a:lnTo>
                    <a:pt x="660" y="268"/>
                  </a:lnTo>
                  <a:lnTo>
                    <a:pt x="664" y="270"/>
                  </a:lnTo>
                  <a:lnTo>
                    <a:pt x="667" y="272"/>
                  </a:lnTo>
                  <a:lnTo>
                    <a:pt x="669" y="274"/>
                  </a:lnTo>
                  <a:lnTo>
                    <a:pt x="670" y="277"/>
                  </a:lnTo>
                  <a:lnTo>
                    <a:pt x="672" y="279"/>
                  </a:lnTo>
                  <a:lnTo>
                    <a:pt x="675" y="280"/>
                  </a:lnTo>
                  <a:lnTo>
                    <a:pt x="680" y="280"/>
                  </a:lnTo>
                  <a:lnTo>
                    <a:pt x="683" y="280"/>
                  </a:lnTo>
                  <a:lnTo>
                    <a:pt x="686" y="279"/>
                  </a:lnTo>
                  <a:lnTo>
                    <a:pt x="691" y="279"/>
                  </a:lnTo>
                  <a:lnTo>
                    <a:pt x="697" y="281"/>
                  </a:lnTo>
                  <a:lnTo>
                    <a:pt x="704" y="284"/>
                  </a:lnTo>
                  <a:lnTo>
                    <a:pt x="709" y="286"/>
                  </a:lnTo>
                  <a:lnTo>
                    <a:pt x="713" y="286"/>
                  </a:lnTo>
                  <a:lnTo>
                    <a:pt x="716" y="286"/>
                  </a:lnTo>
                  <a:lnTo>
                    <a:pt x="720" y="288"/>
                  </a:lnTo>
                  <a:lnTo>
                    <a:pt x="720" y="292"/>
                  </a:lnTo>
                  <a:lnTo>
                    <a:pt x="721" y="294"/>
                  </a:lnTo>
                  <a:lnTo>
                    <a:pt x="722" y="295"/>
                  </a:lnTo>
                  <a:lnTo>
                    <a:pt x="726" y="294"/>
                  </a:lnTo>
                  <a:lnTo>
                    <a:pt x="729" y="292"/>
                  </a:lnTo>
                  <a:lnTo>
                    <a:pt x="731" y="290"/>
                  </a:lnTo>
                  <a:lnTo>
                    <a:pt x="732" y="288"/>
                  </a:lnTo>
                  <a:lnTo>
                    <a:pt x="734" y="286"/>
                  </a:lnTo>
                  <a:lnTo>
                    <a:pt x="736" y="285"/>
                  </a:lnTo>
                  <a:lnTo>
                    <a:pt x="737" y="281"/>
                  </a:lnTo>
                  <a:lnTo>
                    <a:pt x="738" y="280"/>
                  </a:lnTo>
                  <a:lnTo>
                    <a:pt x="740" y="277"/>
                  </a:lnTo>
                  <a:lnTo>
                    <a:pt x="741" y="276"/>
                  </a:lnTo>
                  <a:lnTo>
                    <a:pt x="742" y="276"/>
                  </a:lnTo>
                  <a:lnTo>
                    <a:pt x="747" y="276"/>
                  </a:lnTo>
                  <a:lnTo>
                    <a:pt x="749" y="276"/>
                  </a:lnTo>
                  <a:lnTo>
                    <a:pt x="754" y="274"/>
                  </a:lnTo>
                  <a:lnTo>
                    <a:pt x="755" y="272"/>
                  </a:lnTo>
                  <a:lnTo>
                    <a:pt x="755" y="270"/>
                  </a:lnTo>
                  <a:lnTo>
                    <a:pt x="754" y="269"/>
                  </a:lnTo>
                  <a:lnTo>
                    <a:pt x="753" y="268"/>
                  </a:lnTo>
                  <a:lnTo>
                    <a:pt x="752" y="265"/>
                  </a:lnTo>
                  <a:lnTo>
                    <a:pt x="752" y="264"/>
                  </a:lnTo>
                  <a:lnTo>
                    <a:pt x="754" y="261"/>
                  </a:lnTo>
                  <a:lnTo>
                    <a:pt x="757" y="262"/>
                  </a:lnTo>
                  <a:lnTo>
                    <a:pt x="761" y="263"/>
                  </a:lnTo>
                  <a:lnTo>
                    <a:pt x="763" y="265"/>
                  </a:lnTo>
                  <a:lnTo>
                    <a:pt x="765" y="268"/>
                  </a:lnTo>
                  <a:lnTo>
                    <a:pt x="766" y="270"/>
                  </a:lnTo>
                  <a:lnTo>
                    <a:pt x="769" y="269"/>
                  </a:lnTo>
                  <a:lnTo>
                    <a:pt x="770" y="268"/>
                  </a:lnTo>
                  <a:lnTo>
                    <a:pt x="772" y="265"/>
                  </a:lnTo>
                  <a:lnTo>
                    <a:pt x="776" y="264"/>
                  </a:lnTo>
                  <a:lnTo>
                    <a:pt x="780" y="261"/>
                  </a:lnTo>
                  <a:lnTo>
                    <a:pt x="786" y="257"/>
                  </a:lnTo>
                  <a:lnTo>
                    <a:pt x="789" y="254"/>
                  </a:lnTo>
                  <a:lnTo>
                    <a:pt x="793" y="249"/>
                  </a:lnTo>
                  <a:lnTo>
                    <a:pt x="795" y="247"/>
                  </a:lnTo>
                  <a:lnTo>
                    <a:pt x="800" y="245"/>
                  </a:lnTo>
                  <a:lnTo>
                    <a:pt x="804" y="245"/>
                  </a:lnTo>
                  <a:lnTo>
                    <a:pt x="808" y="247"/>
                  </a:lnTo>
                  <a:lnTo>
                    <a:pt x="811" y="248"/>
                  </a:lnTo>
                  <a:lnTo>
                    <a:pt x="816" y="250"/>
                  </a:lnTo>
                  <a:lnTo>
                    <a:pt x="819" y="249"/>
                  </a:lnTo>
                  <a:lnTo>
                    <a:pt x="821" y="247"/>
                  </a:lnTo>
                  <a:lnTo>
                    <a:pt x="824" y="245"/>
                  </a:lnTo>
                  <a:lnTo>
                    <a:pt x="824" y="242"/>
                  </a:lnTo>
                  <a:lnTo>
                    <a:pt x="821" y="241"/>
                  </a:lnTo>
                  <a:lnTo>
                    <a:pt x="820" y="240"/>
                  </a:lnTo>
                  <a:lnTo>
                    <a:pt x="818" y="237"/>
                  </a:lnTo>
                  <a:lnTo>
                    <a:pt x="818" y="232"/>
                  </a:lnTo>
                  <a:lnTo>
                    <a:pt x="818" y="230"/>
                  </a:lnTo>
                  <a:lnTo>
                    <a:pt x="820" y="228"/>
                  </a:lnTo>
                  <a:lnTo>
                    <a:pt x="821" y="225"/>
                  </a:lnTo>
                  <a:lnTo>
                    <a:pt x="821" y="222"/>
                  </a:lnTo>
                  <a:lnTo>
                    <a:pt x="821" y="220"/>
                  </a:lnTo>
                  <a:lnTo>
                    <a:pt x="820" y="217"/>
                  </a:lnTo>
                  <a:lnTo>
                    <a:pt x="818" y="215"/>
                  </a:lnTo>
                  <a:lnTo>
                    <a:pt x="817" y="213"/>
                  </a:lnTo>
                  <a:lnTo>
                    <a:pt x="816" y="210"/>
                  </a:lnTo>
                  <a:lnTo>
                    <a:pt x="811" y="206"/>
                  </a:lnTo>
                  <a:lnTo>
                    <a:pt x="808" y="202"/>
                  </a:lnTo>
                  <a:lnTo>
                    <a:pt x="800" y="198"/>
                  </a:lnTo>
                  <a:lnTo>
                    <a:pt x="798" y="196"/>
                  </a:lnTo>
                  <a:lnTo>
                    <a:pt x="796" y="193"/>
                  </a:lnTo>
                  <a:lnTo>
                    <a:pt x="790" y="188"/>
                  </a:lnTo>
                  <a:lnTo>
                    <a:pt x="786" y="185"/>
                  </a:lnTo>
                  <a:lnTo>
                    <a:pt x="782" y="183"/>
                  </a:lnTo>
                  <a:lnTo>
                    <a:pt x="780" y="181"/>
                  </a:lnTo>
                  <a:lnTo>
                    <a:pt x="779" y="180"/>
                  </a:lnTo>
                  <a:lnTo>
                    <a:pt x="776" y="176"/>
                  </a:lnTo>
                  <a:lnTo>
                    <a:pt x="773" y="173"/>
                  </a:lnTo>
                  <a:lnTo>
                    <a:pt x="772" y="170"/>
                  </a:lnTo>
                  <a:lnTo>
                    <a:pt x="771" y="167"/>
                  </a:lnTo>
                  <a:lnTo>
                    <a:pt x="770" y="165"/>
                  </a:lnTo>
                  <a:lnTo>
                    <a:pt x="770" y="162"/>
                  </a:lnTo>
                  <a:lnTo>
                    <a:pt x="771" y="161"/>
                  </a:lnTo>
                  <a:lnTo>
                    <a:pt x="773" y="160"/>
                  </a:lnTo>
                  <a:lnTo>
                    <a:pt x="774" y="159"/>
                  </a:lnTo>
                  <a:lnTo>
                    <a:pt x="777" y="157"/>
                  </a:lnTo>
                  <a:lnTo>
                    <a:pt x="777" y="154"/>
                  </a:lnTo>
                  <a:lnTo>
                    <a:pt x="778" y="152"/>
                  </a:lnTo>
                  <a:lnTo>
                    <a:pt x="780" y="151"/>
                  </a:lnTo>
                  <a:lnTo>
                    <a:pt x="781" y="149"/>
                  </a:lnTo>
                  <a:lnTo>
                    <a:pt x="782" y="146"/>
                  </a:lnTo>
                  <a:lnTo>
                    <a:pt x="784" y="145"/>
                  </a:lnTo>
                  <a:lnTo>
                    <a:pt x="786" y="144"/>
                  </a:lnTo>
                  <a:lnTo>
                    <a:pt x="785" y="141"/>
                  </a:lnTo>
                  <a:lnTo>
                    <a:pt x="784" y="138"/>
                  </a:lnTo>
                  <a:lnTo>
                    <a:pt x="782" y="138"/>
                  </a:lnTo>
                  <a:lnTo>
                    <a:pt x="780" y="137"/>
                  </a:lnTo>
                  <a:lnTo>
                    <a:pt x="778" y="137"/>
                  </a:lnTo>
                  <a:lnTo>
                    <a:pt x="774" y="135"/>
                  </a:lnTo>
                  <a:lnTo>
                    <a:pt x="773" y="134"/>
                  </a:lnTo>
                  <a:lnTo>
                    <a:pt x="770" y="133"/>
                  </a:lnTo>
                  <a:lnTo>
                    <a:pt x="768" y="132"/>
                  </a:lnTo>
                  <a:lnTo>
                    <a:pt x="765" y="130"/>
                  </a:lnTo>
                  <a:lnTo>
                    <a:pt x="763" y="128"/>
                  </a:lnTo>
                  <a:lnTo>
                    <a:pt x="761" y="126"/>
                  </a:lnTo>
                  <a:lnTo>
                    <a:pt x="760" y="124"/>
                  </a:lnTo>
                  <a:lnTo>
                    <a:pt x="757" y="121"/>
                  </a:lnTo>
                  <a:lnTo>
                    <a:pt x="754" y="119"/>
                  </a:lnTo>
                  <a:lnTo>
                    <a:pt x="752" y="119"/>
                  </a:lnTo>
                  <a:lnTo>
                    <a:pt x="749" y="119"/>
                  </a:lnTo>
                  <a:lnTo>
                    <a:pt x="745" y="118"/>
                  </a:lnTo>
                  <a:lnTo>
                    <a:pt x="741" y="117"/>
                  </a:lnTo>
                  <a:lnTo>
                    <a:pt x="738" y="116"/>
                  </a:lnTo>
                  <a:lnTo>
                    <a:pt x="734" y="114"/>
                  </a:lnTo>
                  <a:lnTo>
                    <a:pt x="733" y="113"/>
                  </a:lnTo>
                  <a:lnTo>
                    <a:pt x="731" y="112"/>
                  </a:lnTo>
                  <a:lnTo>
                    <a:pt x="729" y="111"/>
                  </a:lnTo>
                  <a:lnTo>
                    <a:pt x="726" y="109"/>
                  </a:lnTo>
                  <a:lnTo>
                    <a:pt x="722" y="103"/>
                  </a:lnTo>
                  <a:lnTo>
                    <a:pt x="720" y="101"/>
                  </a:lnTo>
                  <a:lnTo>
                    <a:pt x="717" y="97"/>
                  </a:lnTo>
                  <a:lnTo>
                    <a:pt x="715" y="96"/>
                  </a:lnTo>
                  <a:lnTo>
                    <a:pt x="713" y="94"/>
                  </a:lnTo>
                  <a:lnTo>
                    <a:pt x="707" y="94"/>
                  </a:lnTo>
                  <a:lnTo>
                    <a:pt x="702" y="93"/>
                  </a:lnTo>
                  <a:lnTo>
                    <a:pt x="701" y="94"/>
                  </a:lnTo>
                  <a:lnTo>
                    <a:pt x="698" y="94"/>
                  </a:lnTo>
                  <a:lnTo>
                    <a:pt x="696" y="94"/>
                  </a:lnTo>
                  <a:lnTo>
                    <a:pt x="694" y="95"/>
                  </a:lnTo>
                  <a:lnTo>
                    <a:pt x="690" y="96"/>
                  </a:lnTo>
                  <a:lnTo>
                    <a:pt x="685" y="98"/>
                  </a:lnTo>
                  <a:lnTo>
                    <a:pt x="682" y="100"/>
                  </a:lnTo>
                  <a:lnTo>
                    <a:pt x="677" y="101"/>
                  </a:lnTo>
                  <a:lnTo>
                    <a:pt x="675" y="101"/>
                  </a:lnTo>
                  <a:lnTo>
                    <a:pt x="673" y="100"/>
                  </a:lnTo>
                  <a:lnTo>
                    <a:pt x="670" y="100"/>
                  </a:lnTo>
                  <a:lnTo>
                    <a:pt x="666" y="98"/>
                  </a:lnTo>
                  <a:lnTo>
                    <a:pt x="661" y="100"/>
                  </a:lnTo>
                  <a:lnTo>
                    <a:pt x="659" y="101"/>
                  </a:lnTo>
                  <a:lnTo>
                    <a:pt x="657" y="103"/>
                  </a:lnTo>
                  <a:lnTo>
                    <a:pt x="656" y="105"/>
                  </a:lnTo>
                  <a:lnTo>
                    <a:pt x="656" y="108"/>
                  </a:lnTo>
                  <a:lnTo>
                    <a:pt x="654" y="109"/>
                  </a:lnTo>
                  <a:lnTo>
                    <a:pt x="653" y="110"/>
                  </a:lnTo>
                  <a:lnTo>
                    <a:pt x="651" y="112"/>
                  </a:lnTo>
                  <a:lnTo>
                    <a:pt x="650" y="114"/>
                  </a:lnTo>
                  <a:lnTo>
                    <a:pt x="649" y="116"/>
                  </a:lnTo>
                  <a:lnTo>
                    <a:pt x="648" y="117"/>
                  </a:lnTo>
                  <a:lnTo>
                    <a:pt x="645" y="117"/>
                  </a:lnTo>
                  <a:lnTo>
                    <a:pt x="644" y="116"/>
                  </a:lnTo>
                  <a:lnTo>
                    <a:pt x="643" y="112"/>
                  </a:lnTo>
                  <a:lnTo>
                    <a:pt x="643" y="110"/>
                  </a:lnTo>
                  <a:lnTo>
                    <a:pt x="643" y="105"/>
                  </a:lnTo>
                  <a:lnTo>
                    <a:pt x="643" y="102"/>
                  </a:lnTo>
                  <a:lnTo>
                    <a:pt x="644" y="100"/>
                  </a:lnTo>
                  <a:lnTo>
                    <a:pt x="644" y="97"/>
                  </a:lnTo>
                  <a:lnTo>
                    <a:pt x="644" y="95"/>
                  </a:lnTo>
                  <a:lnTo>
                    <a:pt x="644" y="93"/>
                  </a:lnTo>
                  <a:lnTo>
                    <a:pt x="644" y="89"/>
                  </a:lnTo>
                  <a:lnTo>
                    <a:pt x="643" y="88"/>
                  </a:lnTo>
                  <a:lnTo>
                    <a:pt x="643" y="86"/>
                  </a:lnTo>
                  <a:lnTo>
                    <a:pt x="643" y="84"/>
                  </a:lnTo>
                  <a:lnTo>
                    <a:pt x="643" y="81"/>
                  </a:lnTo>
                  <a:lnTo>
                    <a:pt x="644" y="78"/>
                  </a:lnTo>
                  <a:lnTo>
                    <a:pt x="646" y="76"/>
                  </a:lnTo>
                  <a:lnTo>
                    <a:pt x="649" y="71"/>
                  </a:lnTo>
                  <a:lnTo>
                    <a:pt x="650" y="69"/>
                  </a:lnTo>
                  <a:lnTo>
                    <a:pt x="652" y="65"/>
                  </a:lnTo>
                  <a:lnTo>
                    <a:pt x="654" y="63"/>
                  </a:lnTo>
                  <a:lnTo>
                    <a:pt x="657" y="60"/>
                  </a:lnTo>
                  <a:lnTo>
                    <a:pt x="659" y="57"/>
                  </a:lnTo>
                  <a:lnTo>
                    <a:pt x="660" y="55"/>
                  </a:lnTo>
                  <a:lnTo>
                    <a:pt x="660" y="53"/>
                  </a:lnTo>
                  <a:lnTo>
                    <a:pt x="659" y="52"/>
                  </a:lnTo>
                  <a:lnTo>
                    <a:pt x="658" y="50"/>
                  </a:lnTo>
                  <a:lnTo>
                    <a:pt x="656" y="50"/>
                  </a:lnTo>
                  <a:lnTo>
                    <a:pt x="653" y="49"/>
                  </a:lnTo>
                  <a:lnTo>
                    <a:pt x="651" y="49"/>
                  </a:lnTo>
                  <a:lnTo>
                    <a:pt x="649" y="48"/>
                  </a:lnTo>
                  <a:lnTo>
                    <a:pt x="648" y="47"/>
                  </a:lnTo>
                  <a:lnTo>
                    <a:pt x="648" y="46"/>
                  </a:lnTo>
                  <a:lnTo>
                    <a:pt x="648" y="42"/>
                  </a:lnTo>
                  <a:lnTo>
                    <a:pt x="649" y="40"/>
                  </a:lnTo>
                  <a:lnTo>
                    <a:pt x="650" y="38"/>
                  </a:lnTo>
                  <a:lnTo>
                    <a:pt x="650" y="36"/>
                  </a:lnTo>
                  <a:lnTo>
                    <a:pt x="652" y="33"/>
                  </a:lnTo>
                  <a:lnTo>
                    <a:pt x="654" y="32"/>
                  </a:lnTo>
                  <a:lnTo>
                    <a:pt x="662" y="25"/>
                  </a:lnTo>
                  <a:lnTo>
                    <a:pt x="666" y="23"/>
                  </a:lnTo>
                  <a:lnTo>
                    <a:pt x="669" y="22"/>
                  </a:lnTo>
                  <a:lnTo>
                    <a:pt x="672" y="18"/>
                  </a:lnTo>
                  <a:lnTo>
                    <a:pt x="673" y="16"/>
                  </a:lnTo>
                  <a:lnTo>
                    <a:pt x="674" y="14"/>
                  </a:lnTo>
                  <a:lnTo>
                    <a:pt x="674" y="13"/>
                  </a:lnTo>
                  <a:lnTo>
                    <a:pt x="674" y="10"/>
                  </a:lnTo>
                  <a:lnTo>
                    <a:pt x="672" y="9"/>
                  </a:lnTo>
                  <a:lnTo>
                    <a:pt x="669" y="8"/>
                  </a:lnTo>
                  <a:lnTo>
                    <a:pt x="667" y="8"/>
                  </a:lnTo>
                  <a:lnTo>
                    <a:pt x="664" y="8"/>
                  </a:lnTo>
                  <a:lnTo>
                    <a:pt x="661" y="8"/>
                  </a:lnTo>
                  <a:lnTo>
                    <a:pt x="657" y="8"/>
                  </a:lnTo>
                  <a:lnTo>
                    <a:pt x="652" y="8"/>
                  </a:lnTo>
                  <a:lnTo>
                    <a:pt x="649" y="8"/>
                  </a:lnTo>
                  <a:lnTo>
                    <a:pt x="644" y="8"/>
                  </a:lnTo>
                  <a:lnTo>
                    <a:pt x="640" y="8"/>
                  </a:lnTo>
                  <a:lnTo>
                    <a:pt x="636" y="9"/>
                  </a:lnTo>
                  <a:lnTo>
                    <a:pt x="633" y="9"/>
                  </a:lnTo>
                  <a:lnTo>
                    <a:pt x="629" y="9"/>
                  </a:lnTo>
                  <a:lnTo>
                    <a:pt x="625" y="9"/>
                  </a:lnTo>
                  <a:lnTo>
                    <a:pt x="621" y="9"/>
                  </a:lnTo>
                  <a:lnTo>
                    <a:pt x="617" y="8"/>
                  </a:lnTo>
                  <a:lnTo>
                    <a:pt x="613" y="8"/>
                  </a:lnTo>
                  <a:lnTo>
                    <a:pt x="608" y="8"/>
                  </a:lnTo>
                  <a:lnTo>
                    <a:pt x="604" y="8"/>
                  </a:lnTo>
                  <a:lnTo>
                    <a:pt x="602" y="9"/>
                  </a:lnTo>
                  <a:lnTo>
                    <a:pt x="600" y="10"/>
                  </a:lnTo>
                  <a:lnTo>
                    <a:pt x="597" y="13"/>
                  </a:lnTo>
                  <a:lnTo>
                    <a:pt x="595" y="15"/>
                  </a:lnTo>
                  <a:lnTo>
                    <a:pt x="594" y="17"/>
                  </a:lnTo>
                  <a:lnTo>
                    <a:pt x="593" y="18"/>
                  </a:lnTo>
                  <a:lnTo>
                    <a:pt x="592" y="21"/>
                  </a:lnTo>
                  <a:lnTo>
                    <a:pt x="590" y="22"/>
                  </a:lnTo>
                  <a:lnTo>
                    <a:pt x="588" y="23"/>
                  </a:lnTo>
                  <a:lnTo>
                    <a:pt x="585" y="24"/>
                  </a:lnTo>
                  <a:lnTo>
                    <a:pt x="582" y="24"/>
                  </a:lnTo>
                  <a:lnTo>
                    <a:pt x="579" y="24"/>
                  </a:lnTo>
                  <a:lnTo>
                    <a:pt x="577" y="23"/>
                  </a:lnTo>
                  <a:lnTo>
                    <a:pt x="574" y="23"/>
                  </a:lnTo>
                  <a:lnTo>
                    <a:pt x="572" y="22"/>
                  </a:lnTo>
                  <a:lnTo>
                    <a:pt x="571" y="22"/>
                  </a:lnTo>
                  <a:lnTo>
                    <a:pt x="570" y="21"/>
                  </a:lnTo>
                  <a:lnTo>
                    <a:pt x="569" y="18"/>
                  </a:lnTo>
                  <a:lnTo>
                    <a:pt x="568" y="17"/>
                  </a:lnTo>
                  <a:lnTo>
                    <a:pt x="568" y="16"/>
                  </a:lnTo>
                  <a:lnTo>
                    <a:pt x="565" y="13"/>
                  </a:lnTo>
                  <a:lnTo>
                    <a:pt x="565" y="10"/>
                  </a:lnTo>
                  <a:lnTo>
                    <a:pt x="564" y="8"/>
                  </a:lnTo>
                  <a:lnTo>
                    <a:pt x="563" y="5"/>
                  </a:lnTo>
                  <a:lnTo>
                    <a:pt x="562" y="2"/>
                  </a:lnTo>
                  <a:lnTo>
                    <a:pt x="558" y="1"/>
                  </a:lnTo>
                  <a:lnTo>
                    <a:pt x="556" y="0"/>
                  </a:lnTo>
                  <a:lnTo>
                    <a:pt x="553" y="0"/>
                  </a:lnTo>
                  <a:lnTo>
                    <a:pt x="550" y="0"/>
                  </a:lnTo>
                  <a:lnTo>
                    <a:pt x="547" y="1"/>
                  </a:lnTo>
                  <a:lnTo>
                    <a:pt x="545" y="4"/>
                  </a:lnTo>
                  <a:lnTo>
                    <a:pt x="544" y="5"/>
                  </a:lnTo>
                  <a:lnTo>
                    <a:pt x="541" y="7"/>
                  </a:lnTo>
                  <a:lnTo>
                    <a:pt x="539" y="9"/>
                  </a:lnTo>
                  <a:lnTo>
                    <a:pt x="537" y="10"/>
                  </a:lnTo>
                  <a:lnTo>
                    <a:pt x="534" y="12"/>
                  </a:lnTo>
                  <a:lnTo>
                    <a:pt x="531" y="15"/>
                  </a:lnTo>
                  <a:lnTo>
                    <a:pt x="530" y="16"/>
                  </a:lnTo>
                  <a:lnTo>
                    <a:pt x="528" y="17"/>
                  </a:lnTo>
                  <a:lnTo>
                    <a:pt x="525" y="21"/>
                  </a:lnTo>
                  <a:lnTo>
                    <a:pt x="525" y="23"/>
                  </a:lnTo>
                  <a:lnTo>
                    <a:pt x="525" y="25"/>
                  </a:lnTo>
                  <a:lnTo>
                    <a:pt x="525" y="26"/>
                  </a:lnTo>
                  <a:lnTo>
                    <a:pt x="524" y="30"/>
                  </a:lnTo>
                  <a:lnTo>
                    <a:pt x="524" y="31"/>
                  </a:lnTo>
                  <a:lnTo>
                    <a:pt x="524" y="33"/>
                  </a:lnTo>
                  <a:lnTo>
                    <a:pt x="524" y="36"/>
                  </a:lnTo>
                  <a:lnTo>
                    <a:pt x="524" y="37"/>
                  </a:lnTo>
                  <a:lnTo>
                    <a:pt x="523" y="39"/>
                  </a:lnTo>
                  <a:lnTo>
                    <a:pt x="522" y="41"/>
                  </a:lnTo>
                  <a:lnTo>
                    <a:pt x="520" y="42"/>
                  </a:lnTo>
                  <a:lnTo>
                    <a:pt x="518" y="44"/>
                  </a:lnTo>
                  <a:lnTo>
                    <a:pt x="516" y="45"/>
                  </a:lnTo>
                  <a:lnTo>
                    <a:pt x="515" y="47"/>
                  </a:lnTo>
                  <a:lnTo>
                    <a:pt x="514" y="48"/>
                  </a:lnTo>
                  <a:lnTo>
                    <a:pt x="513" y="53"/>
                  </a:lnTo>
                  <a:lnTo>
                    <a:pt x="512" y="54"/>
                  </a:lnTo>
                  <a:lnTo>
                    <a:pt x="509" y="55"/>
                  </a:lnTo>
                  <a:lnTo>
                    <a:pt x="507" y="54"/>
                  </a:lnTo>
                  <a:lnTo>
                    <a:pt x="507" y="53"/>
                  </a:lnTo>
                  <a:lnTo>
                    <a:pt x="506" y="52"/>
                  </a:lnTo>
                  <a:lnTo>
                    <a:pt x="506" y="50"/>
                  </a:lnTo>
                  <a:lnTo>
                    <a:pt x="505" y="50"/>
                  </a:lnTo>
                  <a:lnTo>
                    <a:pt x="502" y="49"/>
                  </a:lnTo>
                  <a:lnTo>
                    <a:pt x="501" y="49"/>
                  </a:lnTo>
                  <a:lnTo>
                    <a:pt x="501" y="48"/>
                  </a:lnTo>
                  <a:lnTo>
                    <a:pt x="500" y="47"/>
                  </a:lnTo>
                  <a:lnTo>
                    <a:pt x="500" y="45"/>
                  </a:lnTo>
                  <a:lnTo>
                    <a:pt x="500" y="41"/>
                  </a:lnTo>
                  <a:lnTo>
                    <a:pt x="501" y="39"/>
                  </a:lnTo>
                  <a:lnTo>
                    <a:pt x="501" y="34"/>
                  </a:lnTo>
                  <a:lnTo>
                    <a:pt x="501" y="32"/>
                  </a:lnTo>
                  <a:lnTo>
                    <a:pt x="502" y="30"/>
                  </a:lnTo>
                  <a:lnTo>
                    <a:pt x="502" y="26"/>
                  </a:lnTo>
                  <a:lnTo>
                    <a:pt x="501" y="24"/>
                  </a:lnTo>
                  <a:lnTo>
                    <a:pt x="498" y="22"/>
                  </a:lnTo>
                  <a:lnTo>
                    <a:pt x="494" y="21"/>
                  </a:lnTo>
                  <a:lnTo>
                    <a:pt x="491" y="21"/>
                  </a:lnTo>
                  <a:lnTo>
                    <a:pt x="490" y="21"/>
                  </a:lnTo>
                  <a:lnTo>
                    <a:pt x="488" y="22"/>
                  </a:lnTo>
                  <a:lnTo>
                    <a:pt x="485" y="24"/>
                  </a:lnTo>
                  <a:lnTo>
                    <a:pt x="484" y="26"/>
                  </a:lnTo>
                  <a:lnTo>
                    <a:pt x="482" y="28"/>
                  </a:lnTo>
                  <a:lnTo>
                    <a:pt x="480" y="31"/>
                  </a:lnTo>
                  <a:lnTo>
                    <a:pt x="480" y="33"/>
                  </a:lnTo>
                  <a:lnTo>
                    <a:pt x="478" y="37"/>
                  </a:lnTo>
                  <a:lnTo>
                    <a:pt x="478" y="38"/>
                  </a:lnTo>
                  <a:lnTo>
                    <a:pt x="477" y="39"/>
                  </a:lnTo>
                  <a:lnTo>
                    <a:pt x="476" y="40"/>
                  </a:lnTo>
                  <a:lnTo>
                    <a:pt x="474" y="41"/>
                  </a:lnTo>
                  <a:lnTo>
                    <a:pt x="472" y="40"/>
                  </a:lnTo>
                  <a:lnTo>
                    <a:pt x="469" y="41"/>
                  </a:lnTo>
                  <a:lnTo>
                    <a:pt x="467" y="41"/>
                  </a:lnTo>
                  <a:lnTo>
                    <a:pt x="465" y="45"/>
                  </a:lnTo>
                  <a:lnTo>
                    <a:pt x="465" y="46"/>
                  </a:lnTo>
                  <a:lnTo>
                    <a:pt x="465" y="48"/>
                  </a:lnTo>
                  <a:lnTo>
                    <a:pt x="468" y="48"/>
                  </a:lnTo>
                  <a:lnTo>
                    <a:pt x="469" y="48"/>
                  </a:lnTo>
                  <a:lnTo>
                    <a:pt x="472" y="49"/>
                  </a:lnTo>
                  <a:lnTo>
                    <a:pt x="473" y="50"/>
                  </a:lnTo>
                  <a:lnTo>
                    <a:pt x="473" y="52"/>
                  </a:lnTo>
                  <a:lnTo>
                    <a:pt x="470" y="54"/>
                  </a:lnTo>
                  <a:lnTo>
                    <a:pt x="469" y="54"/>
                  </a:lnTo>
                  <a:lnTo>
                    <a:pt x="467" y="54"/>
                  </a:lnTo>
                  <a:lnTo>
                    <a:pt x="465" y="54"/>
                  </a:lnTo>
                  <a:lnTo>
                    <a:pt x="462" y="54"/>
                  </a:lnTo>
                  <a:lnTo>
                    <a:pt x="462" y="57"/>
                  </a:lnTo>
                  <a:lnTo>
                    <a:pt x="465" y="58"/>
                  </a:lnTo>
                  <a:lnTo>
                    <a:pt x="466" y="58"/>
                  </a:lnTo>
                  <a:lnTo>
                    <a:pt x="468" y="58"/>
                  </a:lnTo>
                  <a:lnTo>
                    <a:pt x="470" y="61"/>
                  </a:lnTo>
                  <a:lnTo>
                    <a:pt x="470" y="62"/>
                  </a:lnTo>
                  <a:lnTo>
                    <a:pt x="469" y="64"/>
                  </a:lnTo>
                  <a:lnTo>
                    <a:pt x="467" y="66"/>
                  </a:lnTo>
                  <a:lnTo>
                    <a:pt x="462" y="66"/>
                  </a:lnTo>
                  <a:lnTo>
                    <a:pt x="460" y="68"/>
                  </a:lnTo>
                  <a:lnTo>
                    <a:pt x="457" y="68"/>
                  </a:lnTo>
                  <a:lnTo>
                    <a:pt x="453" y="68"/>
                  </a:lnTo>
                  <a:lnTo>
                    <a:pt x="449" y="66"/>
                  </a:lnTo>
                  <a:lnTo>
                    <a:pt x="446" y="66"/>
                  </a:lnTo>
                  <a:lnTo>
                    <a:pt x="440" y="66"/>
                  </a:lnTo>
                  <a:lnTo>
                    <a:pt x="436" y="68"/>
                  </a:lnTo>
                  <a:lnTo>
                    <a:pt x="434" y="69"/>
                  </a:lnTo>
                  <a:lnTo>
                    <a:pt x="429" y="69"/>
                  </a:lnTo>
                  <a:lnTo>
                    <a:pt x="426" y="70"/>
                  </a:lnTo>
                  <a:lnTo>
                    <a:pt x="424" y="72"/>
                  </a:lnTo>
                  <a:lnTo>
                    <a:pt x="422" y="73"/>
                  </a:lnTo>
                  <a:lnTo>
                    <a:pt x="420" y="74"/>
                  </a:lnTo>
                  <a:lnTo>
                    <a:pt x="418" y="77"/>
                  </a:lnTo>
                  <a:lnTo>
                    <a:pt x="417" y="77"/>
                  </a:lnTo>
                  <a:lnTo>
                    <a:pt x="412" y="81"/>
                  </a:lnTo>
                  <a:lnTo>
                    <a:pt x="409" y="84"/>
                  </a:lnTo>
                  <a:lnTo>
                    <a:pt x="408" y="87"/>
                  </a:lnTo>
                  <a:lnTo>
                    <a:pt x="406" y="89"/>
                  </a:lnTo>
                  <a:lnTo>
                    <a:pt x="404" y="92"/>
                  </a:lnTo>
                  <a:lnTo>
                    <a:pt x="402" y="94"/>
                  </a:lnTo>
                  <a:lnTo>
                    <a:pt x="400" y="96"/>
                  </a:lnTo>
                  <a:lnTo>
                    <a:pt x="397" y="98"/>
                  </a:lnTo>
                  <a:lnTo>
                    <a:pt x="395" y="101"/>
                  </a:lnTo>
                  <a:lnTo>
                    <a:pt x="394" y="105"/>
                  </a:lnTo>
                  <a:lnTo>
                    <a:pt x="393" y="106"/>
                  </a:lnTo>
                  <a:lnTo>
                    <a:pt x="389" y="110"/>
                  </a:lnTo>
                  <a:lnTo>
                    <a:pt x="388" y="110"/>
                  </a:lnTo>
                  <a:lnTo>
                    <a:pt x="387" y="109"/>
                  </a:lnTo>
                  <a:lnTo>
                    <a:pt x="385" y="108"/>
                  </a:lnTo>
                  <a:lnTo>
                    <a:pt x="385" y="105"/>
                  </a:lnTo>
                  <a:lnTo>
                    <a:pt x="384" y="103"/>
                  </a:lnTo>
                  <a:lnTo>
                    <a:pt x="382" y="101"/>
                  </a:lnTo>
                  <a:lnTo>
                    <a:pt x="381" y="98"/>
                  </a:lnTo>
                  <a:lnTo>
                    <a:pt x="381" y="96"/>
                  </a:lnTo>
                  <a:lnTo>
                    <a:pt x="379" y="93"/>
                  </a:lnTo>
                  <a:lnTo>
                    <a:pt x="378" y="90"/>
                  </a:lnTo>
                  <a:lnTo>
                    <a:pt x="378" y="88"/>
                  </a:lnTo>
                  <a:lnTo>
                    <a:pt x="377" y="87"/>
                  </a:lnTo>
                  <a:lnTo>
                    <a:pt x="376" y="85"/>
                  </a:lnTo>
                  <a:lnTo>
                    <a:pt x="376" y="82"/>
                  </a:lnTo>
                  <a:lnTo>
                    <a:pt x="376" y="80"/>
                  </a:lnTo>
                  <a:lnTo>
                    <a:pt x="377" y="79"/>
                  </a:lnTo>
                  <a:lnTo>
                    <a:pt x="378" y="78"/>
                  </a:lnTo>
                  <a:lnTo>
                    <a:pt x="379" y="77"/>
                  </a:lnTo>
                  <a:lnTo>
                    <a:pt x="382" y="73"/>
                  </a:lnTo>
                  <a:lnTo>
                    <a:pt x="384" y="71"/>
                  </a:lnTo>
                  <a:lnTo>
                    <a:pt x="385" y="69"/>
                  </a:lnTo>
                  <a:lnTo>
                    <a:pt x="384" y="65"/>
                  </a:lnTo>
                  <a:lnTo>
                    <a:pt x="380" y="65"/>
                  </a:lnTo>
                  <a:lnTo>
                    <a:pt x="377" y="66"/>
                  </a:lnTo>
                  <a:lnTo>
                    <a:pt x="373" y="68"/>
                  </a:lnTo>
                  <a:lnTo>
                    <a:pt x="371" y="68"/>
                  </a:lnTo>
                  <a:lnTo>
                    <a:pt x="368" y="69"/>
                  </a:lnTo>
                  <a:lnTo>
                    <a:pt x="363" y="71"/>
                  </a:lnTo>
                  <a:lnTo>
                    <a:pt x="360" y="72"/>
                  </a:lnTo>
                  <a:lnTo>
                    <a:pt x="356" y="73"/>
                  </a:lnTo>
                  <a:lnTo>
                    <a:pt x="353" y="74"/>
                  </a:lnTo>
                  <a:lnTo>
                    <a:pt x="350" y="76"/>
                  </a:lnTo>
                  <a:lnTo>
                    <a:pt x="348" y="76"/>
                  </a:lnTo>
                  <a:lnTo>
                    <a:pt x="347" y="76"/>
                  </a:lnTo>
                  <a:lnTo>
                    <a:pt x="348" y="73"/>
                  </a:lnTo>
                  <a:lnTo>
                    <a:pt x="349" y="72"/>
                  </a:lnTo>
                  <a:lnTo>
                    <a:pt x="350" y="70"/>
                  </a:lnTo>
                  <a:lnTo>
                    <a:pt x="352" y="68"/>
                  </a:lnTo>
                  <a:lnTo>
                    <a:pt x="352" y="66"/>
                  </a:lnTo>
                  <a:lnTo>
                    <a:pt x="348" y="66"/>
                  </a:lnTo>
                  <a:lnTo>
                    <a:pt x="345" y="66"/>
                  </a:lnTo>
                  <a:lnTo>
                    <a:pt x="341" y="68"/>
                  </a:lnTo>
                  <a:lnTo>
                    <a:pt x="340" y="69"/>
                  </a:lnTo>
                  <a:lnTo>
                    <a:pt x="339" y="72"/>
                  </a:lnTo>
                  <a:lnTo>
                    <a:pt x="336" y="73"/>
                  </a:lnTo>
                  <a:lnTo>
                    <a:pt x="333" y="74"/>
                  </a:lnTo>
                  <a:lnTo>
                    <a:pt x="332" y="71"/>
                  </a:lnTo>
                  <a:lnTo>
                    <a:pt x="333" y="69"/>
                  </a:lnTo>
                  <a:lnTo>
                    <a:pt x="333" y="68"/>
                  </a:lnTo>
                  <a:lnTo>
                    <a:pt x="334" y="65"/>
                  </a:lnTo>
                  <a:lnTo>
                    <a:pt x="334" y="62"/>
                  </a:lnTo>
                  <a:lnTo>
                    <a:pt x="333" y="62"/>
                  </a:lnTo>
                  <a:lnTo>
                    <a:pt x="330" y="61"/>
                  </a:lnTo>
                  <a:lnTo>
                    <a:pt x="331" y="58"/>
                  </a:lnTo>
                  <a:lnTo>
                    <a:pt x="331" y="56"/>
                  </a:lnTo>
                  <a:lnTo>
                    <a:pt x="330" y="55"/>
                  </a:lnTo>
                  <a:lnTo>
                    <a:pt x="329" y="54"/>
                  </a:lnTo>
                  <a:lnTo>
                    <a:pt x="329" y="53"/>
                  </a:lnTo>
                  <a:lnTo>
                    <a:pt x="328" y="52"/>
                  </a:lnTo>
                  <a:lnTo>
                    <a:pt x="324" y="52"/>
                  </a:lnTo>
                  <a:lnTo>
                    <a:pt x="323" y="53"/>
                  </a:lnTo>
                  <a:lnTo>
                    <a:pt x="321" y="54"/>
                  </a:lnTo>
                  <a:lnTo>
                    <a:pt x="320" y="53"/>
                  </a:lnTo>
                  <a:lnTo>
                    <a:pt x="317" y="53"/>
                  </a:lnTo>
                  <a:lnTo>
                    <a:pt x="316" y="54"/>
                  </a:lnTo>
                  <a:lnTo>
                    <a:pt x="313" y="54"/>
                  </a:lnTo>
                  <a:lnTo>
                    <a:pt x="312" y="52"/>
                  </a:lnTo>
                  <a:lnTo>
                    <a:pt x="310" y="52"/>
                  </a:lnTo>
                  <a:lnTo>
                    <a:pt x="308" y="50"/>
                  </a:lnTo>
                  <a:lnTo>
                    <a:pt x="307" y="50"/>
                  </a:lnTo>
                  <a:lnTo>
                    <a:pt x="305" y="50"/>
                  </a:lnTo>
                  <a:lnTo>
                    <a:pt x="305" y="49"/>
                  </a:lnTo>
                  <a:lnTo>
                    <a:pt x="302" y="48"/>
                  </a:lnTo>
                  <a:lnTo>
                    <a:pt x="301" y="49"/>
                  </a:lnTo>
                  <a:lnTo>
                    <a:pt x="298" y="49"/>
                  </a:lnTo>
                  <a:lnTo>
                    <a:pt x="298" y="48"/>
                  </a:lnTo>
                  <a:lnTo>
                    <a:pt x="296" y="47"/>
                  </a:lnTo>
                  <a:lnTo>
                    <a:pt x="293" y="48"/>
                  </a:lnTo>
                  <a:lnTo>
                    <a:pt x="292" y="48"/>
                  </a:lnTo>
                  <a:lnTo>
                    <a:pt x="289" y="48"/>
                  </a:lnTo>
                  <a:lnTo>
                    <a:pt x="285" y="48"/>
                  </a:lnTo>
                  <a:lnTo>
                    <a:pt x="283" y="46"/>
                  </a:lnTo>
                  <a:lnTo>
                    <a:pt x="280" y="46"/>
                  </a:lnTo>
                  <a:lnTo>
                    <a:pt x="276" y="46"/>
                  </a:lnTo>
                  <a:lnTo>
                    <a:pt x="275" y="47"/>
                  </a:lnTo>
                  <a:lnTo>
                    <a:pt x="274" y="48"/>
                  </a:lnTo>
                  <a:lnTo>
                    <a:pt x="273" y="49"/>
                  </a:lnTo>
                  <a:lnTo>
                    <a:pt x="270" y="52"/>
                  </a:lnTo>
                  <a:lnTo>
                    <a:pt x="267" y="53"/>
                  </a:lnTo>
                  <a:lnTo>
                    <a:pt x="265" y="52"/>
                  </a:lnTo>
                  <a:lnTo>
                    <a:pt x="262" y="52"/>
                  </a:lnTo>
                  <a:lnTo>
                    <a:pt x="261" y="50"/>
                  </a:lnTo>
                  <a:lnTo>
                    <a:pt x="259" y="49"/>
                  </a:lnTo>
                  <a:lnTo>
                    <a:pt x="259" y="48"/>
                  </a:lnTo>
                  <a:lnTo>
                    <a:pt x="257" y="47"/>
                  </a:lnTo>
                  <a:lnTo>
                    <a:pt x="257" y="46"/>
                  </a:lnTo>
                  <a:lnTo>
                    <a:pt x="256" y="45"/>
                  </a:lnTo>
                  <a:lnTo>
                    <a:pt x="254" y="42"/>
                  </a:lnTo>
                  <a:lnTo>
                    <a:pt x="252" y="41"/>
                  </a:lnTo>
                  <a:lnTo>
                    <a:pt x="245" y="44"/>
                  </a:lnTo>
                  <a:lnTo>
                    <a:pt x="243" y="45"/>
                  </a:lnTo>
                  <a:lnTo>
                    <a:pt x="242" y="47"/>
                  </a:lnTo>
                  <a:lnTo>
                    <a:pt x="240" y="48"/>
                  </a:lnTo>
                  <a:lnTo>
                    <a:pt x="238" y="49"/>
                  </a:lnTo>
                  <a:lnTo>
                    <a:pt x="236" y="50"/>
                  </a:lnTo>
                  <a:lnTo>
                    <a:pt x="233" y="52"/>
                  </a:lnTo>
                  <a:lnTo>
                    <a:pt x="232" y="54"/>
                  </a:lnTo>
                  <a:lnTo>
                    <a:pt x="229" y="55"/>
                  </a:lnTo>
                  <a:lnTo>
                    <a:pt x="229" y="57"/>
                  </a:lnTo>
                  <a:lnTo>
                    <a:pt x="228" y="61"/>
                  </a:lnTo>
                  <a:lnTo>
                    <a:pt x="227" y="61"/>
                  </a:lnTo>
                  <a:lnTo>
                    <a:pt x="224" y="60"/>
                  </a:lnTo>
                  <a:lnTo>
                    <a:pt x="225" y="58"/>
                  </a:lnTo>
                  <a:lnTo>
                    <a:pt x="225" y="55"/>
                  </a:lnTo>
                  <a:lnTo>
                    <a:pt x="222" y="54"/>
                  </a:lnTo>
                  <a:lnTo>
                    <a:pt x="222" y="53"/>
                  </a:lnTo>
                  <a:lnTo>
                    <a:pt x="222" y="52"/>
                  </a:lnTo>
                  <a:lnTo>
                    <a:pt x="224" y="49"/>
                  </a:lnTo>
                  <a:lnTo>
                    <a:pt x="224" y="47"/>
                  </a:lnTo>
                  <a:lnTo>
                    <a:pt x="221" y="46"/>
                  </a:lnTo>
                  <a:lnTo>
                    <a:pt x="218" y="46"/>
                  </a:lnTo>
                  <a:lnTo>
                    <a:pt x="214" y="48"/>
                  </a:lnTo>
                  <a:lnTo>
                    <a:pt x="211" y="49"/>
                  </a:lnTo>
                  <a:lnTo>
                    <a:pt x="210" y="52"/>
                  </a:lnTo>
                  <a:lnTo>
                    <a:pt x="206" y="53"/>
                  </a:lnTo>
                  <a:lnTo>
                    <a:pt x="204" y="52"/>
                  </a:lnTo>
                  <a:lnTo>
                    <a:pt x="202" y="52"/>
                  </a:lnTo>
                  <a:lnTo>
                    <a:pt x="201" y="49"/>
                  </a:lnTo>
                  <a:lnTo>
                    <a:pt x="200" y="47"/>
                  </a:lnTo>
                  <a:lnTo>
                    <a:pt x="198" y="46"/>
                  </a:lnTo>
                  <a:lnTo>
                    <a:pt x="200" y="44"/>
                  </a:lnTo>
                  <a:lnTo>
                    <a:pt x="198" y="38"/>
                  </a:lnTo>
                  <a:lnTo>
                    <a:pt x="198" y="36"/>
                  </a:lnTo>
                  <a:lnTo>
                    <a:pt x="198" y="32"/>
                  </a:lnTo>
                  <a:lnTo>
                    <a:pt x="197" y="30"/>
                  </a:lnTo>
                  <a:lnTo>
                    <a:pt x="195" y="29"/>
                  </a:lnTo>
                  <a:lnTo>
                    <a:pt x="193" y="28"/>
                  </a:lnTo>
                  <a:lnTo>
                    <a:pt x="188" y="28"/>
                  </a:lnTo>
                  <a:lnTo>
                    <a:pt x="186" y="29"/>
                  </a:lnTo>
                  <a:lnTo>
                    <a:pt x="181" y="30"/>
                  </a:lnTo>
                  <a:lnTo>
                    <a:pt x="177" y="29"/>
                  </a:lnTo>
                  <a:lnTo>
                    <a:pt x="171" y="28"/>
                  </a:lnTo>
                  <a:lnTo>
                    <a:pt x="168" y="29"/>
                  </a:lnTo>
                  <a:lnTo>
                    <a:pt x="164" y="30"/>
                  </a:lnTo>
                  <a:lnTo>
                    <a:pt x="162" y="30"/>
                  </a:lnTo>
                  <a:lnTo>
                    <a:pt x="158" y="30"/>
                  </a:lnTo>
                  <a:lnTo>
                    <a:pt x="155" y="31"/>
                  </a:lnTo>
                  <a:lnTo>
                    <a:pt x="152" y="30"/>
                  </a:lnTo>
                  <a:lnTo>
                    <a:pt x="142" y="30"/>
                  </a:lnTo>
                  <a:lnTo>
                    <a:pt x="140" y="30"/>
                  </a:lnTo>
                  <a:lnTo>
                    <a:pt x="134" y="31"/>
                  </a:lnTo>
                  <a:lnTo>
                    <a:pt x="131" y="32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21" y="32"/>
                  </a:lnTo>
                  <a:lnTo>
                    <a:pt x="117" y="32"/>
                  </a:lnTo>
                  <a:lnTo>
                    <a:pt x="113" y="33"/>
                  </a:lnTo>
                  <a:lnTo>
                    <a:pt x="109" y="34"/>
                  </a:lnTo>
                  <a:lnTo>
                    <a:pt x="98" y="38"/>
                  </a:lnTo>
                  <a:lnTo>
                    <a:pt x="84" y="46"/>
                  </a:lnTo>
                  <a:lnTo>
                    <a:pt x="73" y="50"/>
                  </a:lnTo>
                  <a:lnTo>
                    <a:pt x="69" y="54"/>
                  </a:lnTo>
                  <a:lnTo>
                    <a:pt x="66" y="57"/>
                  </a:lnTo>
                  <a:lnTo>
                    <a:pt x="62" y="61"/>
                  </a:lnTo>
                  <a:lnTo>
                    <a:pt x="60" y="62"/>
                  </a:lnTo>
                  <a:lnTo>
                    <a:pt x="57" y="66"/>
                  </a:lnTo>
                  <a:lnTo>
                    <a:pt x="54" y="70"/>
                  </a:lnTo>
                  <a:lnTo>
                    <a:pt x="52" y="72"/>
                  </a:lnTo>
                  <a:lnTo>
                    <a:pt x="49" y="76"/>
                  </a:lnTo>
                  <a:lnTo>
                    <a:pt x="46" y="78"/>
                  </a:lnTo>
                  <a:lnTo>
                    <a:pt x="43" y="80"/>
                  </a:lnTo>
                  <a:lnTo>
                    <a:pt x="41" y="82"/>
                  </a:lnTo>
                  <a:lnTo>
                    <a:pt x="40" y="85"/>
                  </a:lnTo>
                  <a:lnTo>
                    <a:pt x="38" y="87"/>
                  </a:lnTo>
                  <a:lnTo>
                    <a:pt x="37" y="90"/>
                  </a:lnTo>
                  <a:lnTo>
                    <a:pt x="36" y="94"/>
                  </a:lnTo>
                  <a:lnTo>
                    <a:pt x="35" y="96"/>
                  </a:lnTo>
                  <a:lnTo>
                    <a:pt x="34" y="98"/>
                  </a:lnTo>
                  <a:lnTo>
                    <a:pt x="33" y="101"/>
                  </a:lnTo>
                  <a:lnTo>
                    <a:pt x="32" y="103"/>
                  </a:lnTo>
                  <a:lnTo>
                    <a:pt x="28" y="105"/>
                  </a:lnTo>
                  <a:lnTo>
                    <a:pt x="26" y="105"/>
                  </a:lnTo>
                  <a:lnTo>
                    <a:pt x="22" y="106"/>
                  </a:lnTo>
                  <a:lnTo>
                    <a:pt x="22" y="108"/>
                  </a:lnTo>
                  <a:lnTo>
                    <a:pt x="24" y="110"/>
                  </a:lnTo>
                  <a:lnTo>
                    <a:pt x="26" y="112"/>
                  </a:lnTo>
                  <a:lnTo>
                    <a:pt x="29" y="117"/>
                  </a:lnTo>
                  <a:lnTo>
                    <a:pt x="30" y="118"/>
                  </a:lnTo>
                  <a:lnTo>
                    <a:pt x="34" y="120"/>
                  </a:lnTo>
                  <a:lnTo>
                    <a:pt x="35" y="122"/>
                  </a:lnTo>
                  <a:lnTo>
                    <a:pt x="37" y="125"/>
                  </a:lnTo>
                  <a:lnTo>
                    <a:pt x="41" y="129"/>
                  </a:lnTo>
                  <a:lnTo>
                    <a:pt x="43" y="130"/>
                  </a:lnTo>
                  <a:lnTo>
                    <a:pt x="48" y="134"/>
                  </a:lnTo>
                  <a:lnTo>
                    <a:pt x="51" y="136"/>
                  </a:lnTo>
                  <a:lnTo>
                    <a:pt x="54" y="138"/>
                  </a:lnTo>
                  <a:lnTo>
                    <a:pt x="56" y="140"/>
                  </a:lnTo>
                  <a:lnTo>
                    <a:pt x="56" y="142"/>
                  </a:lnTo>
                  <a:lnTo>
                    <a:pt x="54" y="143"/>
                  </a:lnTo>
                  <a:lnTo>
                    <a:pt x="52" y="145"/>
                  </a:lnTo>
                  <a:lnTo>
                    <a:pt x="51" y="146"/>
                  </a:lnTo>
                  <a:lnTo>
                    <a:pt x="48" y="148"/>
                  </a:lnTo>
                  <a:lnTo>
                    <a:pt x="43" y="149"/>
                  </a:lnTo>
                  <a:lnTo>
                    <a:pt x="40" y="150"/>
                  </a:lnTo>
                  <a:lnTo>
                    <a:pt x="38" y="151"/>
                  </a:lnTo>
                  <a:lnTo>
                    <a:pt x="37" y="153"/>
                  </a:lnTo>
                  <a:lnTo>
                    <a:pt x="37" y="156"/>
                  </a:lnTo>
                  <a:lnTo>
                    <a:pt x="36" y="157"/>
                  </a:lnTo>
                  <a:lnTo>
                    <a:pt x="35" y="157"/>
                  </a:lnTo>
                  <a:lnTo>
                    <a:pt x="33" y="157"/>
                  </a:lnTo>
                  <a:lnTo>
                    <a:pt x="30" y="157"/>
                  </a:lnTo>
                  <a:lnTo>
                    <a:pt x="28" y="156"/>
                  </a:lnTo>
                  <a:lnTo>
                    <a:pt x="24" y="153"/>
                  </a:lnTo>
                  <a:lnTo>
                    <a:pt x="21" y="152"/>
                  </a:lnTo>
                  <a:lnTo>
                    <a:pt x="19" y="150"/>
                  </a:lnTo>
                  <a:lnTo>
                    <a:pt x="13" y="148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58" name="IN_CHD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6275739" y="2592395"/>
              <a:ext cx="19643" cy="14010"/>
            </a:xfrm>
            <a:custGeom>
              <a:avLst/>
              <a:gdLst>
                <a:gd name="T0" fmla="*/ 1 w 24"/>
                <a:gd name="T1" fmla="*/ 12 h 18"/>
                <a:gd name="T2" fmla="*/ 18 w 24"/>
                <a:gd name="T3" fmla="*/ 17 h 18"/>
                <a:gd name="T4" fmla="*/ 10 w 24"/>
                <a:gd name="T5" fmla="*/ 0 h 18"/>
                <a:gd name="T6" fmla="*/ 1 w 24"/>
                <a:gd name="T7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8">
                  <a:moveTo>
                    <a:pt x="1" y="12"/>
                  </a:moveTo>
                  <a:cubicBezTo>
                    <a:pt x="9" y="17"/>
                    <a:pt x="8" y="18"/>
                    <a:pt x="18" y="17"/>
                  </a:cubicBezTo>
                  <a:cubicBezTo>
                    <a:pt x="24" y="7"/>
                    <a:pt x="18" y="5"/>
                    <a:pt x="10" y="0"/>
                  </a:cubicBezTo>
                  <a:cubicBezTo>
                    <a:pt x="6" y="2"/>
                    <a:pt x="0" y="8"/>
                    <a:pt x="1" y="12"/>
                  </a:cubicBezTo>
                  <a:close/>
                </a:path>
              </a:pathLst>
            </a:custGeom>
            <a:solidFill>
              <a:srgbClr val="C00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59" name="IN_PND"/>
            <p:cNvSpPr>
              <a:spLocks noEditPoints="1"/>
            </p:cNvSpPr>
            <p:nvPr/>
          </p:nvSpPr>
          <p:spPr bwMode="auto">
            <a:xfrm>
              <a:off x="6587469" y="4601432"/>
              <a:ext cx="40995" cy="133496"/>
            </a:xfrm>
            <a:custGeom>
              <a:avLst/>
              <a:gdLst>
                <a:gd name="T0" fmla="*/ 36 w 48"/>
                <a:gd name="T1" fmla="*/ 186 h 186"/>
                <a:gd name="T2" fmla="*/ 30 w 48"/>
                <a:gd name="T3" fmla="*/ 180 h 186"/>
                <a:gd name="T4" fmla="*/ 24 w 48"/>
                <a:gd name="T5" fmla="*/ 174 h 186"/>
                <a:gd name="T6" fmla="*/ 18 w 48"/>
                <a:gd name="T7" fmla="*/ 168 h 186"/>
                <a:gd name="T8" fmla="*/ 24 w 48"/>
                <a:gd name="T9" fmla="*/ 162 h 186"/>
                <a:gd name="T10" fmla="*/ 30 w 48"/>
                <a:gd name="T11" fmla="*/ 156 h 186"/>
                <a:gd name="T12" fmla="*/ 36 w 48"/>
                <a:gd name="T13" fmla="*/ 162 h 186"/>
                <a:gd name="T14" fmla="*/ 48 w 48"/>
                <a:gd name="T15" fmla="*/ 162 h 186"/>
                <a:gd name="T16" fmla="*/ 42 w 48"/>
                <a:gd name="T17" fmla="*/ 168 h 186"/>
                <a:gd name="T18" fmla="*/ 42 w 48"/>
                <a:gd name="T19" fmla="*/ 180 h 186"/>
                <a:gd name="T20" fmla="*/ 6 w 48"/>
                <a:gd name="T21" fmla="*/ 12 h 186"/>
                <a:gd name="T22" fmla="*/ 6 w 48"/>
                <a:gd name="T23" fmla="*/ 0 h 186"/>
                <a:gd name="T24" fmla="*/ 12 w 48"/>
                <a:gd name="T25" fmla="*/ 6 h 186"/>
                <a:gd name="T26" fmla="*/ 18 w 48"/>
                <a:gd name="T27" fmla="*/ 6 h 186"/>
                <a:gd name="T28" fmla="*/ 24 w 48"/>
                <a:gd name="T29" fmla="*/ 12 h 186"/>
                <a:gd name="T30" fmla="*/ 24 w 48"/>
                <a:gd name="T31" fmla="*/ 0 h 186"/>
                <a:gd name="T32" fmla="*/ 30 w 48"/>
                <a:gd name="T33" fmla="*/ 6 h 186"/>
                <a:gd name="T34" fmla="*/ 36 w 48"/>
                <a:gd name="T35" fmla="*/ 12 h 186"/>
                <a:gd name="T36" fmla="*/ 42 w 48"/>
                <a:gd name="T37" fmla="*/ 18 h 186"/>
                <a:gd name="T38" fmla="*/ 42 w 48"/>
                <a:gd name="T39" fmla="*/ 30 h 186"/>
                <a:gd name="T40" fmla="*/ 36 w 48"/>
                <a:gd name="T41" fmla="*/ 36 h 186"/>
                <a:gd name="T42" fmla="*/ 24 w 48"/>
                <a:gd name="T43" fmla="*/ 36 h 186"/>
                <a:gd name="T44" fmla="*/ 18 w 48"/>
                <a:gd name="T45" fmla="*/ 30 h 186"/>
                <a:gd name="T46" fmla="*/ 12 w 48"/>
                <a:gd name="T47" fmla="*/ 24 h 186"/>
                <a:gd name="T48" fmla="*/ 12 w 48"/>
                <a:gd name="T49" fmla="*/ 36 h 186"/>
                <a:gd name="T50" fmla="*/ 6 w 48"/>
                <a:gd name="T51" fmla="*/ 30 h 186"/>
                <a:gd name="T52" fmla="*/ 6 w 48"/>
                <a:gd name="T53" fmla="*/ 24 h 186"/>
                <a:gd name="T54" fmla="*/ 18 w 48"/>
                <a:gd name="T55" fmla="*/ 18 h 186"/>
                <a:gd name="T56" fmla="*/ 24 w 48"/>
                <a:gd name="T57" fmla="*/ 12 h 186"/>
                <a:gd name="T58" fmla="*/ 18 w 48"/>
                <a:gd name="T59" fmla="*/ 18 h 186"/>
                <a:gd name="T60" fmla="*/ 12 w 48"/>
                <a:gd name="T61" fmla="*/ 12 h 186"/>
                <a:gd name="T62" fmla="*/ 12 w 48"/>
                <a:gd name="T63" fmla="*/ 12 h 186"/>
                <a:gd name="T64" fmla="*/ 6 w 48"/>
                <a:gd name="T65" fmla="*/ 18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" h="186">
                  <a:moveTo>
                    <a:pt x="42" y="186"/>
                  </a:moveTo>
                  <a:lnTo>
                    <a:pt x="36" y="186"/>
                  </a:lnTo>
                  <a:lnTo>
                    <a:pt x="36" y="180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2" y="180"/>
                  </a:lnTo>
                  <a:lnTo>
                    <a:pt x="42" y="186"/>
                  </a:lnTo>
                  <a:close/>
                  <a:moveTo>
                    <a:pt x="6" y="12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61" name="IN_LKD"/>
            <p:cNvSpPr>
              <a:spLocks noEditPoints="1"/>
            </p:cNvSpPr>
            <p:nvPr/>
          </p:nvSpPr>
          <p:spPr bwMode="auto">
            <a:xfrm>
              <a:off x="5449861" y="4465465"/>
              <a:ext cx="199849" cy="207662"/>
            </a:xfrm>
            <a:custGeom>
              <a:avLst/>
              <a:gdLst>
                <a:gd name="T0" fmla="*/ 0 w 234"/>
                <a:gd name="T1" fmla="*/ 132 h 252"/>
                <a:gd name="T2" fmla="*/ 0 w 234"/>
                <a:gd name="T3" fmla="*/ 126 h 252"/>
                <a:gd name="T4" fmla="*/ 6 w 234"/>
                <a:gd name="T5" fmla="*/ 126 h 252"/>
                <a:gd name="T6" fmla="*/ 6 w 234"/>
                <a:gd name="T7" fmla="*/ 132 h 252"/>
                <a:gd name="T8" fmla="*/ 0 w 234"/>
                <a:gd name="T9" fmla="*/ 132 h 252"/>
                <a:gd name="T10" fmla="*/ 0 w 234"/>
                <a:gd name="T11" fmla="*/ 138 h 252"/>
                <a:gd name="T12" fmla="*/ 0 w 234"/>
                <a:gd name="T13" fmla="*/ 132 h 252"/>
                <a:gd name="T14" fmla="*/ 66 w 234"/>
                <a:gd name="T15" fmla="*/ 174 h 252"/>
                <a:gd name="T16" fmla="*/ 72 w 234"/>
                <a:gd name="T17" fmla="*/ 168 h 252"/>
                <a:gd name="T18" fmla="*/ 72 w 234"/>
                <a:gd name="T19" fmla="*/ 174 h 252"/>
                <a:gd name="T20" fmla="*/ 66 w 234"/>
                <a:gd name="T21" fmla="*/ 174 h 252"/>
                <a:gd name="T22" fmla="*/ 24 w 234"/>
                <a:gd name="T23" fmla="*/ 114 h 252"/>
                <a:gd name="T24" fmla="*/ 24 w 234"/>
                <a:gd name="T25" fmla="*/ 120 h 252"/>
                <a:gd name="T26" fmla="*/ 18 w 234"/>
                <a:gd name="T27" fmla="*/ 120 h 252"/>
                <a:gd name="T28" fmla="*/ 18 w 234"/>
                <a:gd name="T29" fmla="*/ 114 h 252"/>
                <a:gd name="T30" fmla="*/ 24 w 234"/>
                <a:gd name="T31" fmla="*/ 114 h 252"/>
                <a:gd name="T32" fmla="*/ 126 w 234"/>
                <a:gd name="T33" fmla="*/ 36 h 252"/>
                <a:gd name="T34" fmla="*/ 126 w 234"/>
                <a:gd name="T35" fmla="*/ 30 h 252"/>
                <a:gd name="T36" fmla="*/ 132 w 234"/>
                <a:gd name="T37" fmla="*/ 36 h 252"/>
                <a:gd name="T38" fmla="*/ 126 w 234"/>
                <a:gd name="T39" fmla="*/ 36 h 252"/>
                <a:gd name="T40" fmla="*/ 222 w 234"/>
                <a:gd name="T41" fmla="*/ 252 h 252"/>
                <a:gd name="T42" fmla="*/ 222 w 234"/>
                <a:gd name="T43" fmla="*/ 246 h 252"/>
                <a:gd name="T44" fmla="*/ 228 w 234"/>
                <a:gd name="T45" fmla="*/ 246 h 252"/>
                <a:gd name="T46" fmla="*/ 228 w 234"/>
                <a:gd name="T47" fmla="*/ 252 h 252"/>
                <a:gd name="T48" fmla="*/ 222 w 234"/>
                <a:gd name="T49" fmla="*/ 252 h 252"/>
                <a:gd name="T50" fmla="*/ 228 w 234"/>
                <a:gd name="T51" fmla="*/ 132 h 252"/>
                <a:gd name="T52" fmla="*/ 234 w 234"/>
                <a:gd name="T53" fmla="*/ 132 h 252"/>
                <a:gd name="T54" fmla="*/ 234 w 234"/>
                <a:gd name="T55" fmla="*/ 138 h 252"/>
                <a:gd name="T56" fmla="*/ 228 w 234"/>
                <a:gd name="T57" fmla="*/ 138 h 252"/>
                <a:gd name="T58" fmla="*/ 228 w 234"/>
                <a:gd name="T59" fmla="*/ 132 h 252"/>
                <a:gd name="T60" fmla="*/ 6 w 234"/>
                <a:gd name="T61" fmla="*/ 12 h 252"/>
                <a:gd name="T62" fmla="*/ 6 w 234"/>
                <a:gd name="T63" fmla="*/ 18 h 252"/>
                <a:gd name="T64" fmla="*/ 0 w 234"/>
                <a:gd name="T65" fmla="*/ 18 h 252"/>
                <a:gd name="T66" fmla="*/ 0 w 234"/>
                <a:gd name="T67" fmla="*/ 12 h 252"/>
                <a:gd name="T68" fmla="*/ 6 w 234"/>
                <a:gd name="T69" fmla="*/ 12 h 252"/>
                <a:gd name="T70" fmla="*/ 78 w 234"/>
                <a:gd name="T71" fmla="*/ 0 h 252"/>
                <a:gd name="T72" fmla="*/ 84 w 234"/>
                <a:gd name="T73" fmla="*/ 0 h 252"/>
                <a:gd name="T74" fmla="*/ 84 w 234"/>
                <a:gd name="T75" fmla="*/ 6 h 252"/>
                <a:gd name="T76" fmla="*/ 78 w 234"/>
                <a:gd name="T77" fmla="*/ 6 h 252"/>
                <a:gd name="T78" fmla="*/ 78 w 234"/>
                <a:gd name="T79" fmla="*/ 0 h 252"/>
                <a:gd name="T80" fmla="*/ 54 w 234"/>
                <a:gd name="T81" fmla="*/ 138 h 252"/>
                <a:gd name="T82" fmla="*/ 60 w 234"/>
                <a:gd name="T83" fmla="*/ 138 h 252"/>
                <a:gd name="T84" fmla="*/ 54 w 234"/>
                <a:gd name="T85" fmla="*/ 144 h 252"/>
                <a:gd name="T86" fmla="*/ 54 w 234"/>
                <a:gd name="T87" fmla="*/ 138 h 252"/>
                <a:gd name="T88" fmla="*/ 90 w 234"/>
                <a:gd name="T89" fmla="*/ 78 h 252"/>
                <a:gd name="T90" fmla="*/ 90 w 234"/>
                <a:gd name="T91" fmla="*/ 72 h 252"/>
                <a:gd name="T92" fmla="*/ 90 w 234"/>
                <a:gd name="T93" fmla="*/ 66 h 252"/>
                <a:gd name="T94" fmla="*/ 96 w 234"/>
                <a:gd name="T95" fmla="*/ 66 h 252"/>
                <a:gd name="T96" fmla="*/ 96 w 234"/>
                <a:gd name="T97" fmla="*/ 72 h 252"/>
                <a:gd name="T98" fmla="*/ 90 w 234"/>
                <a:gd name="T99" fmla="*/ 72 h 252"/>
                <a:gd name="T100" fmla="*/ 90 w 234"/>
                <a:gd name="T101" fmla="*/ 7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4" h="252">
                  <a:moveTo>
                    <a:pt x="0" y="132"/>
                  </a:moveTo>
                  <a:lnTo>
                    <a:pt x="0" y="126"/>
                  </a:lnTo>
                  <a:lnTo>
                    <a:pt x="6" y="126"/>
                  </a:lnTo>
                  <a:lnTo>
                    <a:pt x="6" y="132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0" y="132"/>
                  </a:lnTo>
                  <a:close/>
                  <a:moveTo>
                    <a:pt x="66" y="174"/>
                  </a:moveTo>
                  <a:lnTo>
                    <a:pt x="72" y="168"/>
                  </a:lnTo>
                  <a:lnTo>
                    <a:pt x="72" y="174"/>
                  </a:lnTo>
                  <a:lnTo>
                    <a:pt x="66" y="174"/>
                  </a:lnTo>
                  <a:close/>
                  <a:moveTo>
                    <a:pt x="24" y="114"/>
                  </a:moveTo>
                  <a:lnTo>
                    <a:pt x="24" y="120"/>
                  </a:lnTo>
                  <a:lnTo>
                    <a:pt x="18" y="120"/>
                  </a:lnTo>
                  <a:lnTo>
                    <a:pt x="18" y="114"/>
                  </a:lnTo>
                  <a:lnTo>
                    <a:pt x="24" y="114"/>
                  </a:lnTo>
                  <a:close/>
                  <a:moveTo>
                    <a:pt x="126" y="36"/>
                  </a:moveTo>
                  <a:lnTo>
                    <a:pt x="126" y="30"/>
                  </a:lnTo>
                  <a:lnTo>
                    <a:pt x="132" y="36"/>
                  </a:lnTo>
                  <a:lnTo>
                    <a:pt x="126" y="36"/>
                  </a:lnTo>
                  <a:close/>
                  <a:moveTo>
                    <a:pt x="222" y="252"/>
                  </a:moveTo>
                  <a:lnTo>
                    <a:pt x="222" y="246"/>
                  </a:lnTo>
                  <a:lnTo>
                    <a:pt x="228" y="246"/>
                  </a:lnTo>
                  <a:lnTo>
                    <a:pt x="228" y="252"/>
                  </a:lnTo>
                  <a:lnTo>
                    <a:pt x="222" y="252"/>
                  </a:lnTo>
                  <a:close/>
                  <a:moveTo>
                    <a:pt x="228" y="132"/>
                  </a:moveTo>
                  <a:lnTo>
                    <a:pt x="234" y="132"/>
                  </a:lnTo>
                  <a:lnTo>
                    <a:pt x="234" y="138"/>
                  </a:lnTo>
                  <a:lnTo>
                    <a:pt x="228" y="138"/>
                  </a:lnTo>
                  <a:lnTo>
                    <a:pt x="228" y="132"/>
                  </a:lnTo>
                  <a:close/>
                  <a:moveTo>
                    <a:pt x="6" y="12"/>
                  </a:move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6" y="12"/>
                  </a:lnTo>
                  <a:close/>
                  <a:moveTo>
                    <a:pt x="78" y="0"/>
                  </a:moveTo>
                  <a:lnTo>
                    <a:pt x="84" y="0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8" y="0"/>
                  </a:lnTo>
                  <a:close/>
                  <a:moveTo>
                    <a:pt x="54" y="138"/>
                  </a:moveTo>
                  <a:lnTo>
                    <a:pt x="60" y="138"/>
                  </a:lnTo>
                  <a:lnTo>
                    <a:pt x="54" y="144"/>
                  </a:lnTo>
                  <a:lnTo>
                    <a:pt x="54" y="138"/>
                  </a:lnTo>
                  <a:close/>
                  <a:moveTo>
                    <a:pt x="90" y="78"/>
                  </a:moveTo>
                  <a:lnTo>
                    <a:pt x="90" y="72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90" y="72"/>
                  </a:lnTo>
                  <a:lnTo>
                    <a:pt x="90" y="78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62" name="IN_DNG"/>
            <p:cNvSpPr>
              <a:spLocks/>
            </p:cNvSpPr>
            <p:nvPr/>
          </p:nvSpPr>
          <p:spPr bwMode="auto">
            <a:xfrm>
              <a:off x="5858101" y="3708985"/>
              <a:ext cx="35869" cy="33785"/>
            </a:xfrm>
            <a:custGeom>
              <a:avLst/>
              <a:gdLst>
                <a:gd name="T0" fmla="*/ 6 w 42"/>
                <a:gd name="T1" fmla="*/ 18 h 42"/>
                <a:gd name="T2" fmla="*/ 0 w 42"/>
                <a:gd name="T3" fmla="*/ 18 h 42"/>
                <a:gd name="T4" fmla="*/ 0 w 42"/>
                <a:gd name="T5" fmla="*/ 12 h 42"/>
                <a:gd name="T6" fmla="*/ 6 w 42"/>
                <a:gd name="T7" fmla="*/ 12 h 42"/>
                <a:gd name="T8" fmla="*/ 6 w 42"/>
                <a:gd name="T9" fmla="*/ 6 h 42"/>
                <a:gd name="T10" fmla="*/ 12 w 42"/>
                <a:gd name="T11" fmla="*/ 6 h 42"/>
                <a:gd name="T12" fmla="*/ 12 w 42"/>
                <a:gd name="T13" fmla="*/ 0 h 42"/>
                <a:gd name="T14" fmla="*/ 18 w 42"/>
                <a:gd name="T15" fmla="*/ 0 h 42"/>
                <a:gd name="T16" fmla="*/ 24 w 42"/>
                <a:gd name="T17" fmla="*/ 0 h 42"/>
                <a:gd name="T18" fmla="*/ 24 w 42"/>
                <a:gd name="T19" fmla="*/ 6 h 42"/>
                <a:gd name="T20" fmla="*/ 30 w 42"/>
                <a:gd name="T21" fmla="*/ 6 h 42"/>
                <a:gd name="T22" fmla="*/ 36 w 42"/>
                <a:gd name="T23" fmla="*/ 6 h 42"/>
                <a:gd name="T24" fmla="*/ 30 w 42"/>
                <a:gd name="T25" fmla="*/ 6 h 42"/>
                <a:gd name="T26" fmla="*/ 30 w 42"/>
                <a:gd name="T27" fmla="*/ 12 h 42"/>
                <a:gd name="T28" fmla="*/ 24 w 42"/>
                <a:gd name="T29" fmla="*/ 12 h 42"/>
                <a:gd name="T30" fmla="*/ 24 w 42"/>
                <a:gd name="T31" fmla="*/ 18 h 42"/>
                <a:gd name="T32" fmla="*/ 18 w 42"/>
                <a:gd name="T33" fmla="*/ 18 h 42"/>
                <a:gd name="T34" fmla="*/ 18 w 42"/>
                <a:gd name="T35" fmla="*/ 24 h 42"/>
                <a:gd name="T36" fmla="*/ 24 w 42"/>
                <a:gd name="T37" fmla="*/ 24 h 42"/>
                <a:gd name="T38" fmla="*/ 30 w 42"/>
                <a:gd name="T39" fmla="*/ 24 h 42"/>
                <a:gd name="T40" fmla="*/ 36 w 42"/>
                <a:gd name="T41" fmla="*/ 24 h 42"/>
                <a:gd name="T42" fmla="*/ 42 w 42"/>
                <a:gd name="T43" fmla="*/ 24 h 42"/>
                <a:gd name="T44" fmla="*/ 42 w 42"/>
                <a:gd name="T45" fmla="*/ 30 h 42"/>
                <a:gd name="T46" fmla="*/ 36 w 42"/>
                <a:gd name="T47" fmla="*/ 30 h 42"/>
                <a:gd name="T48" fmla="*/ 36 w 42"/>
                <a:gd name="T49" fmla="*/ 36 h 42"/>
                <a:gd name="T50" fmla="*/ 42 w 42"/>
                <a:gd name="T51" fmla="*/ 36 h 42"/>
                <a:gd name="T52" fmla="*/ 42 w 42"/>
                <a:gd name="T53" fmla="*/ 42 h 42"/>
                <a:gd name="T54" fmla="*/ 36 w 42"/>
                <a:gd name="T55" fmla="*/ 42 h 42"/>
                <a:gd name="T56" fmla="*/ 30 w 42"/>
                <a:gd name="T57" fmla="*/ 42 h 42"/>
                <a:gd name="T58" fmla="*/ 24 w 42"/>
                <a:gd name="T59" fmla="*/ 42 h 42"/>
                <a:gd name="T60" fmla="*/ 24 w 42"/>
                <a:gd name="T61" fmla="*/ 36 h 42"/>
                <a:gd name="T62" fmla="*/ 18 w 42"/>
                <a:gd name="T63" fmla="*/ 36 h 42"/>
                <a:gd name="T64" fmla="*/ 18 w 42"/>
                <a:gd name="T65" fmla="*/ 42 h 42"/>
                <a:gd name="T66" fmla="*/ 12 w 42"/>
                <a:gd name="T67" fmla="*/ 42 h 42"/>
                <a:gd name="T68" fmla="*/ 12 w 42"/>
                <a:gd name="T69" fmla="*/ 36 h 42"/>
                <a:gd name="T70" fmla="*/ 12 w 42"/>
                <a:gd name="T71" fmla="*/ 30 h 42"/>
                <a:gd name="T72" fmla="*/ 6 w 42"/>
                <a:gd name="T73" fmla="*/ 30 h 42"/>
                <a:gd name="T74" fmla="*/ 6 w 42"/>
                <a:gd name="T75" fmla="*/ 36 h 42"/>
                <a:gd name="T76" fmla="*/ 6 w 42"/>
                <a:gd name="T77" fmla="*/ 30 h 42"/>
                <a:gd name="T78" fmla="*/ 6 w 42"/>
                <a:gd name="T79" fmla="*/ 24 h 42"/>
                <a:gd name="T80" fmla="*/ 6 w 42"/>
                <a:gd name="T81" fmla="*/ 1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" h="42">
                  <a:moveTo>
                    <a:pt x="6" y="18"/>
                  </a:moveTo>
                  <a:lnTo>
                    <a:pt x="0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6" y="24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63" name="IN_DD"/>
            <p:cNvSpPr>
              <a:spLocks noEditPoints="1"/>
            </p:cNvSpPr>
            <p:nvPr/>
          </p:nvSpPr>
          <p:spPr bwMode="auto">
            <a:xfrm>
              <a:off x="5697539" y="3645534"/>
              <a:ext cx="162271" cy="74988"/>
            </a:xfrm>
            <a:custGeom>
              <a:avLst/>
              <a:gdLst>
                <a:gd name="T0" fmla="*/ 210 w 216"/>
                <a:gd name="T1" fmla="*/ 84 h 102"/>
                <a:gd name="T2" fmla="*/ 210 w 216"/>
                <a:gd name="T3" fmla="*/ 90 h 102"/>
                <a:gd name="T4" fmla="*/ 216 w 216"/>
                <a:gd name="T5" fmla="*/ 90 h 102"/>
                <a:gd name="T6" fmla="*/ 210 w 216"/>
                <a:gd name="T7" fmla="*/ 96 h 102"/>
                <a:gd name="T8" fmla="*/ 210 w 216"/>
                <a:gd name="T9" fmla="*/ 90 h 102"/>
                <a:gd name="T10" fmla="*/ 210 w 216"/>
                <a:gd name="T11" fmla="*/ 96 h 102"/>
                <a:gd name="T12" fmla="*/ 210 w 216"/>
                <a:gd name="T13" fmla="*/ 102 h 102"/>
                <a:gd name="T14" fmla="*/ 204 w 216"/>
                <a:gd name="T15" fmla="*/ 102 h 102"/>
                <a:gd name="T16" fmla="*/ 204 w 216"/>
                <a:gd name="T17" fmla="*/ 96 h 102"/>
                <a:gd name="T18" fmla="*/ 198 w 216"/>
                <a:gd name="T19" fmla="*/ 96 h 102"/>
                <a:gd name="T20" fmla="*/ 192 w 216"/>
                <a:gd name="T21" fmla="*/ 96 h 102"/>
                <a:gd name="T22" fmla="*/ 192 w 216"/>
                <a:gd name="T23" fmla="*/ 90 h 102"/>
                <a:gd name="T24" fmla="*/ 192 w 216"/>
                <a:gd name="T25" fmla="*/ 84 h 102"/>
                <a:gd name="T26" fmla="*/ 192 w 216"/>
                <a:gd name="T27" fmla="*/ 78 h 102"/>
                <a:gd name="T28" fmla="*/ 198 w 216"/>
                <a:gd name="T29" fmla="*/ 78 h 102"/>
                <a:gd name="T30" fmla="*/ 198 w 216"/>
                <a:gd name="T31" fmla="*/ 72 h 102"/>
                <a:gd name="T32" fmla="*/ 204 w 216"/>
                <a:gd name="T33" fmla="*/ 78 h 102"/>
                <a:gd name="T34" fmla="*/ 204 w 216"/>
                <a:gd name="T35" fmla="*/ 72 h 102"/>
                <a:gd name="T36" fmla="*/ 210 w 216"/>
                <a:gd name="T37" fmla="*/ 78 h 102"/>
                <a:gd name="T38" fmla="*/ 210 w 216"/>
                <a:gd name="T39" fmla="*/ 84 h 102"/>
                <a:gd name="T40" fmla="*/ 18 w 216"/>
                <a:gd name="T41" fmla="*/ 6 h 102"/>
                <a:gd name="T42" fmla="*/ 18 w 216"/>
                <a:gd name="T43" fmla="*/ 12 h 102"/>
                <a:gd name="T44" fmla="*/ 12 w 216"/>
                <a:gd name="T45" fmla="*/ 12 h 102"/>
                <a:gd name="T46" fmla="*/ 18 w 216"/>
                <a:gd name="T47" fmla="*/ 18 h 102"/>
                <a:gd name="T48" fmla="*/ 12 w 216"/>
                <a:gd name="T49" fmla="*/ 18 h 102"/>
                <a:gd name="T50" fmla="*/ 12 w 216"/>
                <a:gd name="T51" fmla="*/ 12 h 102"/>
                <a:gd name="T52" fmla="*/ 12 w 216"/>
                <a:gd name="T53" fmla="*/ 18 h 102"/>
                <a:gd name="T54" fmla="*/ 6 w 216"/>
                <a:gd name="T55" fmla="*/ 18 h 102"/>
                <a:gd name="T56" fmla="*/ 0 w 216"/>
                <a:gd name="T57" fmla="*/ 18 h 102"/>
                <a:gd name="T58" fmla="*/ 0 w 216"/>
                <a:gd name="T59" fmla="*/ 12 h 102"/>
                <a:gd name="T60" fmla="*/ 0 w 216"/>
                <a:gd name="T61" fmla="*/ 6 h 102"/>
                <a:gd name="T62" fmla="*/ 0 w 216"/>
                <a:gd name="T63" fmla="*/ 0 h 102"/>
                <a:gd name="T64" fmla="*/ 6 w 216"/>
                <a:gd name="T65" fmla="*/ 6 h 102"/>
                <a:gd name="T66" fmla="*/ 6 w 216"/>
                <a:gd name="T67" fmla="*/ 0 h 102"/>
                <a:gd name="T68" fmla="*/ 12 w 216"/>
                <a:gd name="T69" fmla="*/ 0 h 102"/>
                <a:gd name="T70" fmla="*/ 18 w 216"/>
                <a:gd name="T71" fmla="*/ 0 h 102"/>
                <a:gd name="T72" fmla="*/ 12 w 216"/>
                <a:gd name="T73" fmla="*/ 6 h 102"/>
                <a:gd name="T74" fmla="*/ 18 w 216"/>
                <a:gd name="T75" fmla="*/ 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6" h="102">
                  <a:moveTo>
                    <a:pt x="210" y="84"/>
                  </a:moveTo>
                  <a:lnTo>
                    <a:pt x="210" y="90"/>
                  </a:lnTo>
                  <a:lnTo>
                    <a:pt x="216" y="90"/>
                  </a:lnTo>
                  <a:lnTo>
                    <a:pt x="210" y="96"/>
                  </a:lnTo>
                  <a:lnTo>
                    <a:pt x="210" y="90"/>
                  </a:lnTo>
                  <a:lnTo>
                    <a:pt x="210" y="96"/>
                  </a:lnTo>
                  <a:lnTo>
                    <a:pt x="210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198" y="96"/>
                  </a:lnTo>
                  <a:lnTo>
                    <a:pt x="192" y="96"/>
                  </a:lnTo>
                  <a:lnTo>
                    <a:pt x="192" y="90"/>
                  </a:lnTo>
                  <a:lnTo>
                    <a:pt x="192" y="84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198" y="72"/>
                  </a:lnTo>
                  <a:lnTo>
                    <a:pt x="204" y="78"/>
                  </a:lnTo>
                  <a:lnTo>
                    <a:pt x="204" y="72"/>
                  </a:lnTo>
                  <a:lnTo>
                    <a:pt x="210" y="78"/>
                  </a:lnTo>
                  <a:lnTo>
                    <a:pt x="210" y="84"/>
                  </a:lnTo>
                  <a:close/>
                  <a:moveTo>
                    <a:pt x="18" y="6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18" y="6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64" name="AP"/>
            <p:cNvSpPr>
              <a:spLocks/>
            </p:cNvSpPr>
            <p:nvPr/>
          </p:nvSpPr>
          <p:spPr bwMode="auto">
            <a:xfrm>
              <a:off x="6277448" y="3843126"/>
              <a:ext cx="888225" cy="696502"/>
            </a:xfrm>
            <a:custGeom>
              <a:avLst/>
              <a:gdLst>
                <a:gd name="T0" fmla="*/ 498 w 521"/>
                <a:gd name="T1" fmla="*/ 12 h 423"/>
                <a:gd name="T2" fmla="*/ 472 w 521"/>
                <a:gd name="T3" fmla="*/ 20 h 423"/>
                <a:gd name="T4" fmla="*/ 455 w 521"/>
                <a:gd name="T5" fmla="*/ 13 h 423"/>
                <a:gd name="T6" fmla="*/ 443 w 521"/>
                <a:gd name="T7" fmla="*/ 4 h 423"/>
                <a:gd name="T8" fmla="*/ 429 w 521"/>
                <a:gd name="T9" fmla="*/ 8 h 423"/>
                <a:gd name="T10" fmla="*/ 423 w 521"/>
                <a:gd name="T11" fmla="*/ 23 h 423"/>
                <a:gd name="T12" fmla="*/ 409 w 521"/>
                <a:gd name="T13" fmla="*/ 35 h 423"/>
                <a:gd name="T14" fmla="*/ 404 w 521"/>
                <a:gd name="T15" fmla="*/ 50 h 423"/>
                <a:gd name="T16" fmla="*/ 383 w 521"/>
                <a:gd name="T17" fmla="*/ 57 h 423"/>
                <a:gd name="T18" fmla="*/ 370 w 521"/>
                <a:gd name="T19" fmla="*/ 42 h 423"/>
                <a:gd name="T20" fmla="*/ 362 w 521"/>
                <a:gd name="T21" fmla="*/ 57 h 423"/>
                <a:gd name="T22" fmla="*/ 357 w 521"/>
                <a:gd name="T23" fmla="*/ 73 h 423"/>
                <a:gd name="T24" fmla="*/ 324 w 521"/>
                <a:gd name="T25" fmla="*/ 82 h 423"/>
                <a:gd name="T26" fmla="*/ 270 w 521"/>
                <a:gd name="T27" fmla="*/ 130 h 423"/>
                <a:gd name="T28" fmla="*/ 229 w 521"/>
                <a:gd name="T29" fmla="*/ 151 h 423"/>
                <a:gd name="T30" fmla="*/ 156 w 521"/>
                <a:gd name="T31" fmla="*/ 193 h 423"/>
                <a:gd name="T32" fmla="*/ 49 w 521"/>
                <a:gd name="T33" fmla="*/ 206 h 423"/>
                <a:gd name="T34" fmla="*/ 19 w 521"/>
                <a:gd name="T35" fmla="*/ 217 h 423"/>
                <a:gd name="T36" fmla="*/ 18 w 521"/>
                <a:gd name="T37" fmla="*/ 228 h 423"/>
                <a:gd name="T38" fmla="*/ 24 w 521"/>
                <a:gd name="T39" fmla="*/ 249 h 423"/>
                <a:gd name="T40" fmla="*/ 20 w 521"/>
                <a:gd name="T41" fmla="*/ 269 h 423"/>
                <a:gd name="T42" fmla="*/ 2 w 521"/>
                <a:gd name="T43" fmla="*/ 269 h 423"/>
                <a:gd name="T44" fmla="*/ 3 w 521"/>
                <a:gd name="T45" fmla="*/ 285 h 423"/>
                <a:gd name="T46" fmla="*/ 13 w 521"/>
                <a:gd name="T47" fmla="*/ 305 h 423"/>
                <a:gd name="T48" fmla="*/ 16 w 521"/>
                <a:gd name="T49" fmla="*/ 319 h 423"/>
                <a:gd name="T50" fmla="*/ 33 w 521"/>
                <a:gd name="T51" fmla="*/ 313 h 423"/>
                <a:gd name="T52" fmla="*/ 44 w 521"/>
                <a:gd name="T53" fmla="*/ 315 h 423"/>
                <a:gd name="T54" fmla="*/ 44 w 521"/>
                <a:gd name="T55" fmla="*/ 338 h 423"/>
                <a:gd name="T56" fmla="*/ 31 w 521"/>
                <a:gd name="T57" fmla="*/ 334 h 423"/>
                <a:gd name="T58" fmla="*/ 17 w 521"/>
                <a:gd name="T59" fmla="*/ 323 h 423"/>
                <a:gd name="T60" fmla="*/ 19 w 521"/>
                <a:gd name="T61" fmla="*/ 340 h 423"/>
                <a:gd name="T62" fmla="*/ 22 w 521"/>
                <a:gd name="T63" fmla="*/ 351 h 423"/>
                <a:gd name="T64" fmla="*/ 28 w 521"/>
                <a:gd name="T65" fmla="*/ 341 h 423"/>
                <a:gd name="T66" fmla="*/ 44 w 521"/>
                <a:gd name="T67" fmla="*/ 348 h 423"/>
                <a:gd name="T68" fmla="*/ 62 w 521"/>
                <a:gd name="T69" fmla="*/ 348 h 423"/>
                <a:gd name="T70" fmla="*/ 78 w 521"/>
                <a:gd name="T71" fmla="*/ 345 h 423"/>
                <a:gd name="T72" fmla="*/ 92 w 521"/>
                <a:gd name="T73" fmla="*/ 357 h 423"/>
                <a:gd name="T74" fmla="*/ 113 w 521"/>
                <a:gd name="T75" fmla="*/ 382 h 423"/>
                <a:gd name="T76" fmla="*/ 109 w 521"/>
                <a:gd name="T77" fmla="*/ 401 h 423"/>
                <a:gd name="T78" fmla="*/ 96 w 521"/>
                <a:gd name="T79" fmla="*/ 419 h 423"/>
                <a:gd name="T80" fmla="*/ 119 w 521"/>
                <a:gd name="T81" fmla="*/ 411 h 423"/>
                <a:gd name="T82" fmla="*/ 143 w 521"/>
                <a:gd name="T83" fmla="*/ 397 h 423"/>
                <a:gd name="T84" fmla="*/ 168 w 521"/>
                <a:gd name="T85" fmla="*/ 391 h 423"/>
                <a:gd name="T86" fmla="*/ 178 w 521"/>
                <a:gd name="T87" fmla="*/ 377 h 423"/>
                <a:gd name="T88" fmla="*/ 196 w 521"/>
                <a:gd name="T89" fmla="*/ 382 h 423"/>
                <a:gd name="T90" fmla="*/ 215 w 521"/>
                <a:gd name="T91" fmla="*/ 364 h 423"/>
                <a:gd name="T92" fmla="*/ 216 w 521"/>
                <a:gd name="T93" fmla="*/ 362 h 423"/>
                <a:gd name="T94" fmla="*/ 227 w 521"/>
                <a:gd name="T95" fmla="*/ 355 h 423"/>
                <a:gd name="T96" fmla="*/ 214 w 521"/>
                <a:gd name="T97" fmla="*/ 268 h 423"/>
                <a:gd name="T98" fmla="*/ 237 w 521"/>
                <a:gd name="T99" fmla="*/ 218 h 423"/>
                <a:gd name="T100" fmla="*/ 265 w 521"/>
                <a:gd name="T101" fmla="*/ 223 h 423"/>
                <a:gd name="T102" fmla="*/ 277 w 521"/>
                <a:gd name="T103" fmla="*/ 219 h 423"/>
                <a:gd name="T104" fmla="*/ 295 w 521"/>
                <a:gd name="T105" fmla="*/ 183 h 423"/>
                <a:gd name="T106" fmla="*/ 318 w 521"/>
                <a:gd name="T107" fmla="*/ 183 h 423"/>
                <a:gd name="T108" fmla="*/ 322 w 521"/>
                <a:gd name="T109" fmla="*/ 181 h 423"/>
                <a:gd name="T110" fmla="*/ 350 w 521"/>
                <a:gd name="T111" fmla="*/ 172 h 423"/>
                <a:gd name="T112" fmla="*/ 361 w 521"/>
                <a:gd name="T113" fmla="*/ 166 h 423"/>
                <a:gd name="T114" fmla="*/ 365 w 521"/>
                <a:gd name="T115" fmla="*/ 149 h 423"/>
                <a:gd name="T116" fmla="*/ 357 w 521"/>
                <a:gd name="T117" fmla="*/ 146 h 423"/>
                <a:gd name="T118" fmla="*/ 419 w 521"/>
                <a:gd name="T119" fmla="*/ 101 h 423"/>
                <a:gd name="T120" fmla="*/ 439 w 521"/>
                <a:gd name="T121" fmla="*/ 80 h 423"/>
                <a:gd name="T122" fmla="*/ 480 w 521"/>
                <a:gd name="T123" fmla="*/ 5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1" h="423">
                  <a:moveTo>
                    <a:pt x="519" y="3"/>
                  </a:moveTo>
                  <a:cubicBezTo>
                    <a:pt x="518" y="3"/>
                    <a:pt x="518" y="3"/>
                    <a:pt x="518" y="3"/>
                  </a:cubicBezTo>
                  <a:cubicBezTo>
                    <a:pt x="517" y="2"/>
                    <a:pt x="517" y="2"/>
                    <a:pt x="517" y="2"/>
                  </a:cubicBezTo>
                  <a:cubicBezTo>
                    <a:pt x="517" y="2"/>
                    <a:pt x="517" y="2"/>
                    <a:pt x="517" y="2"/>
                  </a:cubicBezTo>
                  <a:cubicBezTo>
                    <a:pt x="516" y="2"/>
                    <a:pt x="516" y="2"/>
                    <a:pt x="516" y="2"/>
                  </a:cubicBezTo>
                  <a:cubicBezTo>
                    <a:pt x="515" y="2"/>
                    <a:pt x="515" y="2"/>
                    <a:pt x="515" y="2"/>
                  </a:cubicBezTo>
                  <a:cubicBezTo>
                    <a:pt x="515" y="2"/>
                    <a:pt x="515" y="2"/>
                    <a:pt x="515" y="2"/>
                  </a:cubicBezTo>
                  <a:cubicBezTo>
                    <a:pt x="514" y="2"/>
                    <a:pt x="514" y="2"/>
                    <a:pt x="514" y="2"/>
                  </a:cubicBezTo>
                  <a:cubicBezTo>
                    <a:pt x="514" y="2"/>
                    <a:pt x="514" y="2"/>
                    <a:pt x="514" y="2"/>
                  </a:cubicBezTo>
                  <a:cubicBezTo>
                    <a:pt x="513" y="2"/>
                    <a:pt x="513" y="2"/>
                    <a:pt x="513" y="2"/>
                  </a:cubicBezTo>
                  <a:cubicBezTo>
                    <a:pt x="513" y="2"/>
                    <a:pt x="513" y="2"/>
                    <a:pt x="513" y="2"/>
                  </a:cubicBezTo>
                  <a:cubicBezTo>
                    <a:pt x="512" y="3"/>
                    <a:pt x="512" y="3"/>
                    <a:pt x="512" y="3"/>
                  </a:cubicBezTo>
                  <a:cubicBezTo>
                    <a:pt x="512" y="4"/>
                    <a:pt x="512" y="4"/>
                    <a:pt x="512" y="4"/>
                  </a:cubicBezTo>
                  <a:cubicBezTo>
                    <a:pt x="512" y="4"/>
                    <a:pt x="512" y="4"/>
                    <a:pt x="512" y="4"/>
                  </a:cubicBezTo>
                  <a:cubicBezTo>
                    <a:pt x="511" y="5"/>
                    <a:pt x="511" y="5"/>
                    <a:pt x="511" y="5"/>
                  </a:cubicBezTo>
                  <a:cubicBezTo>
                    <a:pt x="511" y="5"/>
                    <a:pt x="511" y="5"/>
                    <a:pt x="511" y="5"/>
                  </a:cubicBezTo>
                  <a:cubicBezTo>
                    <a:pt x="510" y="6"/>
                    <a:pt x="510" y="6"/>
                    <a:pt x="510" y="6"/>
                  </a:cubicBezTo>
                  <a:cubicBezTo>
                    <a:pt x="509" y="6"/>
                    <a:pt x="509" y="6"/>
                    <a:pt x="509" y="6"/>
                  </a:cubicBezTo>
                  <a:cubicBezTo>
                    <a:pt x="509" y="6"/>
                    <a:pt x="509" y="6"/>
                    <a:pt x="509" y="6"/>
                  </a:cubicBezTo>
                  <a:cubicBezTo>
                    <a:pt x="508" y="5"/>
                    <a:pt x="508" y="5"/>
                    <a:pt x="508" y="5"/>
                  </a:cubicBezTo>
                  <a:cubicBezTo>
                    <a:pt x="508" y="5"/>
                    <a:pt x="508" y="5"/>
                    <a:pt x="508" y="5"/>
                  </a:cubicBezTo>
                  <a:cubicBezTo>
                    <a:pt x="507" y="5"/>
                    <a:pt x="507" y="5"/>
                    <a:pt x="507" y="5"/>
                  </a:cubicBezTo>
                  <a:cubicBezTo>
                    <a:pt x="507" y="4"/>
                    <a:pt x="507" y="4"/>
                    <a:pt x="507" y="4"/>
                  </a:cubicBezTo>
                  <a:cubicBezTo>
                    <a:pt x="506" y="4"/>
                    <a:pt x="506" y="4"/>
                    <a:pt x="506" y="4"/>
                  </a:cubicBezTo>
                  <a:cubicBezTo>
                    <a:pt x="506" y="4"/>
                    <a:pt x="506" y="4"/>
                    <a:pt x="506" y="4"/>
                  </a:cubicBezTo>
                  <a:cubicBezTo>
                    <a:pt x="506" y="4"/>
                    <a:pt x="506" y="4"/>
                    <a:pt x="506" y="4"/>
                  </a:cubicBezTo>
                  <a:cubicBezTo>
                    <a:pt x="505" y="5"/>
                    <a:pt x="505" y="5"/>
                    <a:pt x="505" y="5"/>
                  </a:cubicBezTo>
                  <a:cubicBezTo>
                    <a:pt x="502" y="9"/>
                    <a:pt x="502" y="9"/>
                    <a:pt x="502" y="9"/>
                  </a:cubicBezTo>
                  <a:cubicBezTo>
                    <a:pt x="501" y="10"/>
                    <a:pt x="501" y="10"/>
                    <a:pt x="501" y="10"/>
                  </a:cubicBezTo>
                  <a:cubicBezTo>
                    <a:pt x="501" y="10"/>
                    <a:pt x="501" y="10"/>
                    <a:pt x="501" y="10"/>
                  </a:cubicBezTo>
                  <a:cubicBezTo>
                    <a:pt x="500" y="10"/>
                    <a:pt x="500" y="10"/>
                    <a:pt x="500" y="10"/>
                  </a:cubicBezTo>
                  <a:cubicBezTo>
                    <a:pt x="500" y="10"/>
                    <a:pt x="500" y="10"/>
                    <a:pt x="500" y="10"/>
                  </a:cubicBezTo>
                  <a:cubicBezTo>
                    <a:pt x="499" y="10"/>
                    <a:pt x="499" y="10"/>
                    <a:pt x="499" y="10"/>
                  </a:cubicBezTo>
                  <a:cubicBezTo>
                    <a:pt x="499" y="10"/>
                    <a:pt x="499" y="10"/>
                    <a:pt x="499" y="10"/>
                  </a:cubicBezTo>
                  <a:cubicBezTo>
                    <a:pt x="499" y="9"/>
                    <a:pt x="499" y="9"/>
                    <a:pt x="499" y="9"/>
                  </a:cubicBezTo>
                  <a:cubicBezTo>
                    <a:pt x="498" y="9"/>
                    <a:pt x="498" y="9"/>
                    <a:pt x="498" y="9"/>
                  </a:cubicBezTo>
                  <a:cubicBezTo>
                    <a:pt x="498" y="9"/>
                    <a:pt x="498" y="9"/>
                    <a:pt x="498" y="9"/>
                  </a:cubicBezTo>
                  <a:cubicBezTo>
                    <a:pt x="498" y="9"/>
                    <a:pt x="498" y="9"/>
                    <a:pt x="498" y="9"/>
                  </a:cubicBezTo>
                  <a:cubicBezTo>
                    <a:pt x="498" y="10"/>
                    <a:pt x="498" y="10"/>
                    <a:pt x="498" y="10"/>
                  </a:cubicBezTo>
                  <a:cubicBezTo>
                    <a:pt x="498" y="11"/>
                    <a:pt x="498" y="11"/>
                    <a:pt x="498" y="11"/>
                  </a:cubicBezTo>
                  <a:cubicBezTo>
                    <a:pt x="498" y="12"/>
                    <a:pt x="498" y="12"/>
                    <a:pt x="498" y="12"/>
                  </a:cubicBezTo>
                  <a:cubicBezTo>
                    <a:pt x="498" y="12"/>
                    <a:pt x="498" y="12"/>
                    <a:pt x="498" y="12"/>
                  </a:cubicBezTo>
                  <a:cubicBezTo>
                    <a:pt x="498" y="13"/>
                    <a:pt x="498" y="13"/>
                    <a:pt x="498" y="13"/>
                  </a:cubicBezTo>
                  <a:cubicBezTo>
                    <a:pt x="498" y="14"/>
                    <a:pt x="498" y="14"/>
                    <a:pt x="498" y="14"/>
                  </a:cubicBezTo>
                  <a:cubicBezTo>
                    <a:pt x="496" y="17"/>
                    <a:pt x="496" y="17"/>
                    <a:pt x="496" y="17"/>
                  </a:cubicBezTo>
                  <a:cubicBezTo>
                    <a:pt x="495" y="19"/>
                    <a:pt x="495" y="19"/>
                    <a:pt x="495" y="19"/>
                  </a:cubicBezTo>
                  <a:cubicBezTo>
                    <a:pt x="494" y="19"/>
                    <a:pt x="494" y="19"/>
                    <a:pt x="494" y="19"/>
                  </a:cubicBezTo>
                  <a:cubicBezTo>
                    <a:pt x="493" y="20"/>
                    <a:pt x="493" y="20"/>
                    <a:pt x="493" y="20"/>
                  </a:cubicBezTo>
                  <a:cubicBezTo>
                    <a:pt x="493" y="20"/>
                    <a:pt x="493" y="20"/>
                    <a:pt x="493" y="20"/>
                  </a:cubicBezTo>
                  <a:cubicBezTo>
                    <a:pt x="492" y="21"/>
                    <a:pt x="492" y="21"/>
                    <a:pt x="492" y="21"/>
                  </a:cubicBezTo>
                  <a:cubicBezTo>
                    <a:pt x="492" y="21"/>
                    <a:pt x="492" y="21"/>
                    <a:pt x="492" y="21"/>
                  </a:cubicBezTo>
                  <a:cubicBezTo>
                    <a:pt x="492" y="21"/>
                    <a:pt x="492" y="21"/>
                    <a:pt x="492" y="21"/>
                  </a:cubicBezTo>
                  <a:cubicBezTo>
                    <a:pt x="491" y="22"/>
                    <a:pt x="491" y="22"/>
                    <a:pt x="491" y="22"/>
                  </a:cubicBezTo>
                  <a:cubicBezTo>
                    <a:pt x="491" y="22"/>
                    <a:pt x="491" y="22"/>
                    <a:pt x="491" y="22"/>
                  </a:cubicBezTo>
                  <a:cubicBezTo>
                    <a:pt x="491" y="22"/>
                    <a:pt x="491" y="22"/>
                    <a:pt x="491" y="22"/>
                  </a:cubicBezTo>
                  <a:cubicBezTo>
                    <a:pt x="490" y="22"/>
                    <a:pt x="490" y="22"/>
                    <a:pt x="490" y="22"/>
                  </a:cubicBezTo>
                  <a:cubicBezTo>
                    <a:pt x="490" y="23"/>
                    <a:pt x="490" y="23"/>
                    <a:pt x="490" y="23"/>
                  </a:cubicBezTo>
                  <a:cubicBezTo>
                    <a:pt x="490" y="23"/>
                    <a:pt x="490" y="23"/>
                    <a:pt x="490" y="23"/>
                  </a:cubicBezTo>
                  <a:cubicBezTo>
                    <a:pt x="489" y="23"/>
                    <a:pt x="489" y="23"/>
                    <a:pt x="489" y="23"/>
                  </a:cubicBezTo>
                  <a:cubicBezTo>
                    <a:pt x="489" y="23"/>
                    <a:pt x="489" y="23"/>
                    <a:pt x="489" y="23"/>
                  </a:cubicBezTo>
                  <a:cubicBezTo>
                    <a:pt x="488" y="23"/>
                    <a:pt x="488" y="23"/>
                    <a:pt x="488" y="23"/>
                  </a:cubicBezTo>
                  <a:cubicBezTo>
                    <a:pt x="488" y="23"/>
                    <a:pt x="488" y="23"/>
                    <a:pt x="488" y="23"/>
                  </a:cubicBezTo>
                  <a:cubicBezTo>
                    <a:pt x="487" y="22"/>
                    <a:pt x="487" y="22"/>
                    <a:pt x="487" y="22"/>
                  </a:cubicBezTo>
                  <a:cubicBezTo>
                    <a:pt x="487" y="22"/>
                    <a:pt x="487" y="22"/>
                    <a:pt x="487" y="22"/>
                  </a:cubicBezTo>
                  <a:cubicBezTo>
                    <a:pt x="486" y="22"/>
                    <a:pt x="486" y="22"/>
                    <a:pt x="486" y="22"/>
                  </a:cubicBezTo>
                  <a:cubicBezTo>
                    <a:pt x="485" y="22"/>
                    <a:pt x="485" y="22"/>
                    <a:pt x="485" y="22"/>
                  </a:cubicBezTo>
                  <a:cubicBezTo>
                    <a:pt x="484" y="22"/>
                    <a:pt x="484" y="22"/>
                    <a:pt x="484" y="22"/>
                  </a:cubicBezTo>
                  <a:cubicBezTo>
                    <a:pt x="484" y="22"/>
                    <a:pt x="484" y="22"/>
                    <a:pt x="484" y="22"/>
                  </a:cubicBezTo>
                  <a:cubicBezTo>
                    <a:pt x="483" y="22"/>
                    <a:pt x="483" y="22"/>
                    <a:pt x="483" y="22"/>
                  </a:cubicBezTo>
                  <a:cubicBezTo>
                    <a:pt x="482" y="22"/>
                    <a:pt x="482" y="22"/>
                    <a:pt x="482" y="22"/>
                  </a:cubicBezTo>
                  <a:cubicBezTo>
                    <a:pt x="480" y="23"/>
                    <a:pt x="480" y="23"/>
                    <a:pt x="480" y="23"/>
                  </a:cubicBezTo>
                  <a:cubicBezTo>
                    <a:pt x="478" y="23"/>
                    <a:pt x="478" y="23"/>
                    <a:pt x="478" y="23"/>
                  </a:cubicBezTo>
                  <a:cubicBezTo>
                    <a:pt x="478" y="24"/>
                    <a:pt x="478" y="24"/>
                    <a:pt x="478" y="24"/>
                  </a:cubicBezTo>
                  <a:cubicBezTo>
                    <a:pt x="477" y="24"/>
                    <a:pt x="477" y="24"/>
                    <a:pt x="477" y="24"/>
                  </a:cubicBezTo>
                  <a:cubicBezTo>
                    <a:pt x="476" y="24"/>
                    <a:pt x="476" y="24"/>
                    <a:pt x="476" y="24"/>
                  </a:cubicBezTo>
                  <a:cubicBezTo>
                    <a:pt x="476" y="24"/>
                    <a:pt x="476" y="24"/>
                    <a:pt x="476" y="24"/>
                  </a:cubicBezTo>
                  <a:cubicBezTo>
                    <a:pt x="475" y="24"/>
                    <a:pt x="475" y="24"/>
                    <a:pt x="475" y="24"/>
                  </a:cubicBezTo>
                  <a:cubicBezTo>
                    <a:pt x="474" y="24"/>
                    <a:pt x="474" y="24"/>
                    <a:pt x="474" y="24"/>
                  </a:cubicBezTo>
                  <a:cubicBezTo>
                    <a:pt x="474" y="23"/>
                    <a:pt x="474" y="23"/>
                    <a:pt x="474" y="23"/>
                  </a:cubicBezTo>
                  <a:cubicBezTo>
                    <a:pt x="474" y="23"/>
                    <a:pt x="474" y="23"/>
                    <a:pt x="474" y="23"/>
                  </a:cubicBezTo>
                  <a:cubicBezTo>
                    <a:pt x="473" y="22"/>
                    <a:pt x="473" y="22"/>
                    <a:pt x="473" y="22"/>
                  </a:cubicBezTo>
                  <a:cubicBezTo>
                    <a:pt x="473" y="21"/>
                    <a:pt x="473" y="21"/>
                    <a:pt x="473" y="21"/>
                  </a:cubicBezTo>
                  <a:cubicBezTo>
                    <a:pt x="472" y="21"/>
                    <a:pt x="472" y="21"/>
                    <a:pt x="472" y="21"/>
                  </a:cubicBezTo>
                  <a:cubicBezTo>
                    <a:pt x="472" y="20"/>
                    <a:pt x="472" y="20"/>
                    <a:pt x="472" y="20"/>
                  </a:cubicBezTo>
                  <a:cubicBezTo>
                    <a:pt x="471" y="20"/>
                    <a:pt x="471" y="20"/>
                    <a:pt x="471" y="20"/>
                  </a:cubicBezTo>
                  <a:cubicBezTo>
                    <a:pt x="470" y="20"/>
                    <a:pt x="470" y="20"/>
                    <a:pt x="470" y="20"/>
                  </a:cubicBezTo>
                  <a:cubicBezTo>
                    <a:pt x="469" y="20"/>
                    <a:pt x="469" y="20"/>
                    <a:pt x="469" y="20"/>
                  </a:cubicBezTo>
                  <a:cubicBezTo>
                    <a:pt x="468" y="21"/>
                    <a:pt x="468" y="21"/>
                    <a:pt x="468" y="21"/>
                  </a:cubicBezTo>
                  <a:cubicBezTo>
                    <a:pt x="468" y="21"/>
                    <a:pt x="468" y="21"/>
                    <a:pt x="468" y="21"/>
                  </a:cubicBezTo>
                  <a:cubicBezTo>
                    <a:pt x="467" y="21"/>
                    <a:pt x="467" y="21"/>
                    <a:pt x="467" y="21"/>
                  </a:cubicBezTo>
                  <a:cubicBezTo>
                    <a:pt x="466" y="22"/>
                    <a:pt x="466" y="22"/>
                    <a:pt x="466" y="22"/>
                  </a:cubicBezTo>
                  <a:cubicBezTo>
                    <a:pt x="465" y="22"/>
                    <a:pt x="465" y="22"/>
                    <a:pt x="465" y="22"/>
                  </a:cubicBezTo>
                  <a:cubicBezTo>
                    <a:pt x="465" y="22"/>
                    <a:pt x="465" y="22"/>
                    <a:pt x="465" y="22"/>
                  </a:cubicBezTo>
                  <a:cubicBezTo>
                    <a:pt x="464" y="21"/>
                    <a:pt x="464" y="21"/>
                    <a:pt x="464" y="21"/>
                  </a:cubicBezTo>
                  <a:cubicBezTo>
                    <a:pt x="464" y="21"/>
                    <a:pt x="464" y="21"/>
                    <a:pt x="464" y="21"/>
                  </a:cubicBezTo>
                  <a:cubicBezTo>
                    <a:pt x="463" y="20"/>
                    <a:pt x="463" y="20"/>
                    <a:pt x="463" y="20"/>
                  </a:cubicBezTo>
                  <a:cubicBezTo>
                    <a:pt x="462" y="20"/>
                    <a:pt x="462" y="20"/>
                    <a:pt x="462" y="20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61" y="19"/>
                    <a:pt x="461" y="19"/>
                    <a:pt x="461" y="19"/>
                  </a:cubicBezTo>
                  <a:cubicBezTo>
                    <a:pt x="461" y="19"/>
                    <a:pt x="461" y="19"/>
                    <a:pt x="461" y="19"/>
                  </a:cubicBezTo>
                  <a:cubicBezTo>
                    <a:pt x="461" y="18"/>
                    <a:pt x="461" y="18"/>
                    <a:pt x="461" y="18"/>
                  </a:cubicBezTo>
                  <a:cubicBezTo>
                    <a:pt x="461" y="18"/>
                    <a:pt x="461" y="18"/>
                    <a:pt x="461" y="18"/>
                  </a:cubicBezTo>
                  <a:cubicBezTo>
                    <a:pt x="460" y="17"/>
                    <a:pt x="460" y="17"/>
                    <a:pt x="460" y="17"/>
                  </a:cubicBezTo>
                  <a:cubicBezTo>
                    <a:pt x="460" y="17"/>
                    <a:pt x="460" y="17"/>
                    <a:pt x="460" y="17"/>
                  </a:cubicBezTo>
                  <a:cubicBezTo>
                    <a:pt x="460" y="16"/>
                    <a:pt x="460" y="16"/>
                    <a:pt x="460" y="16"/>
                  </a:cubicBezTo>
                  <a:cubicBezTo>
                    <a:pt x="459" y="14"/>
                    <a:pt x="459" y="14"/>
                    <a:pt x="459" y="14"/>
                  </a:cubicBezTo>
                  <a:cubicBezTo>
                    <a:pt x="459" y="13"/>
                    <a:pt x="459" y="13"/>
                    <a:pt x="459" y="13"/>
                  </a:cubicBezTo>
                  <a:cubicBezTo>
                    <a:pt x="459" y="12"/>
                    <a:pt x="459" y="12"/>
                    <a:pt x="459" y="12"/>
                  </a:cubicBezTo>
                  <a:cubicBezTo>
                    <a:pt x="459" y="11"/>
                    <a:pt x="459" y="11"/>
                    <a:pt x="459" y="11"/>
                  </a:cubicBezTo>
                  <a:cubicBezTo>
                    <a:pt x="458" y="11"/>
                    <a:pt x="458" y="11"/>
                    <a:pt x="458" y="11"/>
                  </a:cubicBezTo>
                  <a:cubicBezTo>
                    <a:pt x="458" y="10"/>
                    <a:pt x="458" y="10"/>
                    <a:pt x="458" y="10"/>
                  </a:cubicBezTo>
                  <a:cubicBezTo>
                    <a:pt x="458" y="9"/>
                    <a:pt x="458" y="9"/>
                    <a:pt x="458" y="9"/>
                  </a:cubicBezTo>
                  <a:cubicBezTo>
                    <a:pt x="457" y="9"/>
                    <a:pt x="457" y="9"/>
                    <a:pt x="457" y="9"/>
                  </a:cubicBezTo>
                  <a:cubicBezTo>
                    <a:pt x="457" y="8"/>
                    <a:pt x="457" y="8"/>
                    <a:pt x="457" y="8"/>
                  </a:cubicBezTo>
                  <a:cubicBezTo>
                    <a:pt x="457" y="8"/>
                    <a:pt x="457" y="8"/>
                    <a:pt x="457" y="8"/>
                  </a:cubicBezTo>
                  <a:cubicBezTo>
                    <a:pt x="457" y="8"/>
                    <a:pt x="457" y="8"/>
                    <a:pt x="457" y="8"/>
                  </a:cubicBezTo>
                  <a:cubicBezTo>
                    <a:pt x="457" y="7"/>
                    <a:pt x="457" y="7"/>
                    <a:pt x="457" y="7"/>
                  </a:cubicBezTo>
                  <a:cubicBezTo>
                    <a:pt x="456" y="7"/>
                    <a:pt x="456" y="7"/>
                    <a:pt x="456" y="7"/>
                  </a:cubicBezTo>
                  <a:cubicBezTo>
                    <a:pt x="456" y="8"/>
                    <a:pt x="456" y="8"/>
                    <a:pt x="456" y="8"/>
                  </a:cubicBezTo>
                  <a:cubicBezTo>
                    <a:pt x="455" y="8"/>
                    <a:pt x="455" y="8"/>
                    <a:pt x="455" y="8"/>
                  </a:cubicBezTo>
                  <a:cubicBezTo>
                    <a:pt x="455" y="9"/>
                    <a:pt x="455" y="9"/>
                    <a:pt x="455" y="9"/>
                  </a:cubicBezTo>
                  <a:cubicBezTo>
                    <a:pt x="455" y="9"/>
                    <a:pt x="455" y="9"/>
                    <a:pt x="455" y="9"/>
                  </a:cubicBezTo>
                  <a:cubicBezTo>
                    <a:pt x="455" y="11"/>
                    <a:pt x="455" y="11"/>
                    <a:pt x="455" y="11"/>
                  </a:cubicBezTo>
                  <a:cubicBezTo>
                    <a:pt x="455" y="11"/>
                    <a:pt x="455" y="11"/>
                    <a:pt x="455" y="11"/>
                  </a:cubicBezTo>
                  <a:cubicBezTo>
                    <a:pt x="455" y="12"/>
                    <a:pt x="455" y="12"/>
                    <a:pt x="455" y="12"/>
                  </a:cubicBezTo>
                  <a:cubicBezTo>
                    <a:pt x="455" y="13"/>
                    <a:pt x="455" y="13"/>
                    <a:pt x="455" y="13"/>
                  </a:cubicBezTo>
                  <a:cubicBezTo>
                    <a:pt x="455" y="13"/>
                    <a:pt x="455" y="13"/>
                    <a:pt x="455" y="13"/>
                  </a:cubicBezTo>
                  <a:cubicBezTo>
                    <a:pt x="455" y="14"/>
                    <a:pt x="455" y="14"/>
                    <a:pt x="455" y="14"/>
                  </a:cubicBezTo>
                  <a:cubicBezTo>
                    <a:pt x="455" y="14"/>
                    <a:pt x="455" y="14"/>
                    <a:pt x="455" y="14"/>
                  </a:cubicBezTo>
                  <a:cubicBezTo>
                    <a:pt x="455" y="14"/>
                    <a:pt x="455" y="14"/>
                    <a:pt x="455" y="14"/>
                  </a:cubicBezTo>
                  <a:cubicBezTo>
                    <a:pt x="454" y="14"/>
                    <a:pt x="454" y="14"/>
                    <a:pt x="454" y="14"/>
                  </a:cubicBezTo>
                  <a:cubicBezTo>
                    <a:pt x="454" y="13"/>
                    <a:pt x="454" y="13"/>
                    <a:pt x="454" y="13"/>
                  </a:cubicBezTo>
                  <a:cubicBezTo>
                    <a:pt x="453" y="12"/>
                    <a:pt x="453" y="12"/>
                    <a:pt x="453" y="12"/>
                  </a:cubicBezTo>
                  <a:cubicBezTo>
                    <a:pt x="453" y="12"/>
                    <a:pt x="453" y="12"/>
                    <a:pt x="453" y="12"/>
                  </a:cubicBezTo>
                  <a:cubicBezTo>
                    <a:pt x="453" y="11"/>
                    <a:pt x="453" y="11"/>
                    <a:pt x="453" y="11"/>
                  </a:cubicBezTo>
                  <a:cubicBezTo>
                    <a:pt x="453" y="10"/>
                    <a:pt x="453" y="10"/>
                    <a:pt x="453" y="10"/>
                  </a:cubicBezTo>
                  <a:cubicBezTo>
                    <a:pt x="452" y="10"/>
                    <a:pt x="452" y="10"/>
                    <a:pt x="452" y="10"/>
                  </a:cubicBezTo>
                  <a:cubicBezTo>
                    <a:pt x="452" y="9"/>
                    <a:pt x="452" y="9"/>
                    <a:pt x="452" y="9"/>
                  </a:cubicBezTo>
                  <a:cubicBezTo>
                    <a:pt x="452" y="8"/>
                    <a:pt x="452" y="8"/>
                    <a:pt x="452" y="8"/>
                  </a:cubicBezTo>
                  <a:cubicBezTo>
                    <a:pt x="451" y="7"/>
                    <a:pt x="451" y="7"/>
                    <a:pt x="451" y="7"/>
                  </a:cubicBezTo>
                  <a:cubicBezTo>
                    <a:pt x="451" y="6"/>
                    <a:pt x="451" y="6"/>
                    <a:pt x="451" y="6"/>
                  </a:cubicBezTo>
                  <a:cubicBezTo>
                    <a:pt x="450" y="6"/>
                    <a:pt x="450" y="6"/>
                    <a:pt x="450" y="6"/>
                  </a:cubicBezTo>
                  <a:cubicBezTo>
                    <a:pt x="450" y="6"/>
                    <a:pt x="450" y="6"/>
                    <a:pt x="450" y="6"/>
                  </a:cubicBezTo>
                  <a:cubicBezTo>
                    <a:pt x="449" y="5"/>
                    <a:pt x="449" y="5"/>
                    <a:pt x="449" y="5"/>
                  </a:cubicBezTo>
                  <a:cubicBezTo>
                    <a:pt x="449" y="5"/>
                    <a:pt x="449" y="5"/>
                    <a:pt x="449" y="5"/>
                  </a:cubicBezTo>
                  <a:cubicBezTo>
                    <a:pt x="448" y="5"/>
                    <a:pt x="448" y="5"/>
                    <a:pt x="448" y="5"/>
                  </a:cubicBezTo>
                  <a:cubicBezTo>
                    <a:pt x="448" y="4"/>
                    <a:pt x="448" y="4"/>
                    <a:pt x="448" y="4"/>
                  </a:cubicBezTo>
                  <a:cubicBezTo>
                    <a:pt x="448" y="4"/>
                    <a:pt x="448" y="4"/>
                    <a:pt x="448" y="4"/>
                  </a:cubicBezTo>
                  <a:cubicBezTo>
                    <a:pt x="448" y="3"/>
                    <a:pt x="448" y="3"/>
                    <a:pt x="448" y="3"/>
                  </a:cubicBezTo>
                  <a:cubicBezTo>
                    <a:pt x="448" y="3"/>
                    <a:pt x="448" y="3"/>
                    <a:pt x="448" y="3"/>
                  </a:cubicBezTo>
                  <a:cubicBezTo>
                    <a:pt x="447" y="2"/>
                    <a:pt x="447" y="2"/>
                    <a:pt x="447" y="2"/>
                  </a:cubicBezTo>
                  <a:cubicBezTo>
                    <a:pt x="447" y="2"/>
                    <a:pt x="447" y="2"/>
                    <a:pt x="447" y="2"/>
                  </a:cubicBezTo>
                  <a:cubicBezTo>
                    <a:pt x="447" y="2"/>
                    <a:pt x="447" y="2"/>
                    <a:pt x="447" y="2"/>
                  </a:cubicBezTo>
                  <a:cubicBezTo>
                    <a:pt x="447" y="1"/>
                    <a:pt x="447" y="1"/>
                    <a:pt x="447" y="1"/>
                  </a:cubicBezTo>
                  <a:cubicBezTo>
                    <a:pt x="447" y="0"/>
                    <a:pt x="447" y="0"/>
                    <a:pt x="447" y="0"/>
                  </a:cubicBezTo>
                  <a:cubicBezTo>
                    <a:pt x="447" y="0"/>
                    <a:pt x="447" y="0"/>
                    <a:pt x="447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45" y="0"/>
                    <a:pt x="445" y="0"/>
                    <a:pt x="445" y="0"/>
                  </a:cubicBezTo>
                  <a:cubicBezTo>
                    <a:pt x="445" y="1"/>
                    <a:pt x="445" y="1"/>
                    <a:pt x="445" y="1"/>
                  </a:cubicBezTo>
                  <a:cubicBezTo>
                    <a:pt x="444" y="2"/>
                    <a:pt x="444" y="2"/>
                    <a:pt x="444" y="2"/>
                  </a:cubicBezTo>
                  <a:cubicBezTo>
                    <a:pt x="444" y="2"/>
                    <a:pt x="444" y="2"/>
                    <a:pt x="444" y="2"/>
                  </a:cubicBezTo>
                  <a:cubicBezTo>
                    <a:pt x="444" y="3"/>
                    <a:pt x="444" y="3"/>
                    <a:pt x="444" y="3"/>
                  </a:cubicBezTo>
                  <a:cubicBezTo>
                    <a:pt x="443" y="3"/>
                    <a:pt x="443" y="3"/>
                    <a:pt x="443" y="3"/>
                  </a:cubicBezTo>
                  <a:cubicBezTo>
                    <a:pt x="443" y="4"/>
                    <a:pt x="443" y="4"/>
                    <a:pt x="443" y="4"/>
                  </a:cubicBezTo>
                  <a:cubicBezTo>
                    <a:pt x="443" y="4"/>
                    <a:pt x="443" y="4"/>
                    <a:pt x="443" y="4"/>
                  </a:cubicBezTo>
                  <a:cubicBezTo>
                    <a:pt x="443" y="4"/>
                    <a:pt x="443" y="4"/>
                    <a:pt x="443" y="4"/>
                  </a:cubicBezTo>
                  <a:cubicBezTo>
                    <a:pt x="442" y="4"/>
                    <a:pt x="442" y="4"/>
                    <a:pt x="442" y="4"/>
                  </a:cubicBezTo>
                  <a:cubicBezTo>
                    <a:pt x="442" y="4"/>
                    <a:pt x="442" y="4"/>
                    <a:pt x="442" y="4"/>
                  </a:cubicBezTo>
                  <a:cubicBezTo>
                    <a:pt x="442" y="4"/>
                    <a:pt x="442" y="4"/>
                    <a:pt x="442" y="4"/>
                  </a:cubicBezTo>
                  <a:cubicBezTo>
                    <a:pt x="441" y="3"/>
                    <a:pt x="441" y="3"/>
                    <a:pt x="441" y="3"/>
                  </a:cubicBezTo>
                  <a:cubicBezTo>
                    <a:pt x="441" y="3"/>
                    <a:pt x="441" y="3"/>
                    <a:pt x="441" y="3"/>
                  </a:cubicBezTo>
                  <a:cubicBezTo>
                    <a:pt x="441" y="4"/>
                    <a:pt x="441" y="4"/>
                    <a:pt x="441" y="4"/>
                  </a:cubicBezTo>
                  <a:cubicBezTo>
                    <a:pt x="441" y="4"/>
                    <a:pt x="441" y="4"/>
                    <a:pt x="441" y="4"/>
                  </a:cubicBezTo>
                  <a:cubicBezTo>
                    <a:pt x="441" y="4"/>
                    <a:pt x="441" y="4"/>
                    <a:pt x="441" y="4"/>
                  </a:cubicBezTo>
                  <a:cubicBezTo>
                    <a:pt x="441" y="5"/>
                    <a:pt x="441" y="5"/>
                    <a:pt x="441" y="5"/>
                  </a:cubicBezTo>
                  <a:cubicBezTo>
                    <a:pt x="440" y="5"/>
                    <a:pt x="440" y="5"/>
                    <a:pt x="440" y="5"/>
                  </a:cubicBezTo>
                  <a:cubicBezTo>
                    <a:pt x="440" y="6"/>
                    <a:pt x="440" y="6"/>
                    <a:pt x="440" y="6"/>
                  </a:cubicBezTo>
                  <a:cubicBezTo>
                    <a:pt x="440" y="7"/>
                    <a:pt x="440" y="7"/>
                    <a:pt x="440" y="7"/>
                  </a:cubicBezTo>
                  <a:cubicBezTo>
                    <a:pt x="440" y="8"/>
                    <a:pt x="440" y="8"/>
                    <a:pt x="440" y="8"/>
                  </a:cubicBezTo>
                  <a:cubicBezTo>
                    <a:pt x="440" y="8"/>
                    <a:pt x="440" y="8"/>
                    <a:pt x="440" y="8"/>
                  </a:cubicBezTo>
                  <a:cubicBezTo>
                    <a:pt x="440" y="9"/>
                    <a:pt x="440" y="9"/>
                    <a:pt x="440" y="9"/>
                  </a:cubicBezTo>
                  <a:cubicBezTo>
                    <a:pt x="440" y="9"/>
                    <a:pt x="440" y="9"/>
                    <a:pt x="440" y="9"/>
                  </a:cubicBezTo>
                  <a:cubicBezTo>
                    <a:pt x="439" y="9"/>
                    <a:pt x="439" y="9"/>
                    <a:pt x="439" y="9"/>
                  </a:cubicBezTo>
                  <a:cubicBezTo>
                    <a:pt x="439" y="8"/>
                    <a:pt x="439" y="8"/>
                    <a:pt x="439" y="8"/>
                  </a:cubicBezTo>
                  <a:cubicBezTo>
                    <a:pt x="438" y="7"/>
                    <a:pt x="438" y="7"/>
                    <a:pt x="438" y="7"/>
                  </a:cubicBezTo>
                  <a:cubicBezTo>
                    <a:pt x="438" y="6"/>
                    <a:pt x="438" y="6"/>
                    <a:pt x="438" y="6"/>
                  </a:cubicBezTo>
                  <a:cubicBezTo>
                    <a:pt x="438" y="6"/>
                    <a:pt x="438" y="6"/>
                    <a:pt x="438" y="6"/>
                  </a:cubicBezTo>
                  <a:cubicBezTo>
                    <a:pt x="438" y="5"/>
                    <a:pt x="438" y="5"/>
                    <a:pt x="438" y="5"/>
                  </a:cubicBezTo>
                  <a:cubicBezTo>
                    <a:pt x="438" y="4"/>
                    <a:pt x="438" y="4"/>
                    <a:pt x="438" y="4"/>
                  </a:cubicBezTo>
                  <a:cubicBezTo>
                    <a:pt x="437" y="3"/>
                    <a:pt x="437" y="3"/>
                    <a:pt x="437" y="3"/>
                  </a:cubicBezTo>
                  <a:cubicBezTo>
                    <a:pt x="437" y="3"/>
                    <a:pt x="437" y="3"/>
                    <a:pt x="437" y="3"/>
                  </a:cubicBezTo>
                  <a:cubicBezTo>
                    <a:pt x="436" y="3"/>
                    <a:pt x="436" y="3"/>
                    <a:pt x="436" y="3"/>
                  </a:cubicBezTo>
                  <a:cubicBezTo>
                    <a:pt x="436" y="4"/>
                    <a:pt x="436" y="4"/>
                    <a:pt x="436" y="4"/>
                  </a:cubicBezTo>
                  <a:cubicBezTo>
                    <a:pt x="436" y="5"/>
                    <a:pt x="436" y="5"/>
                    <a:pt x="436" y="5"/>
                  </a:cubicBezTo>
                  <a:cubicBezTo>
                    <a:pt x="436" y="5"/>
                    <a:pt x="436" y="5"/>
                    <a:pt x="436" y="5"/>
                  </a:cubicBezTo>
                  <a:cubicBezTo>
                    <a:pt x="436" y="6"/>
                    <a:pt x="436" y="6"/>
                    <a:pt x="436" y="6"/>
                  </a:cubicBezTo>
                  <a:cubicBezTo>
                    <a:pt x="436" y="6"/>
                    <a:pt x="436" y="6"/>
                    <a:pt x="436" y="6"/>
                  </a:cubicBezTo>
                  <a:cubicBezTo>
                    <a:pt x="435" y="8"/>
                    <a:pt x="435" y="8"/>
                    <a:pt x="435" y="8"/>
                  </a:cubicBezTo>
                  <a:cubicBezTo>
                    <a:pt x="435" y="9"/>
                    <a:pt x="435" y="9"/>
                    <a:pt x="435" y="9"/>
                  </a:cubicBezTo>
                  <a:cubicBezTo>
                    <a:pt x="434" y="9"/>
                    <a:pt x="434" y="9"/>
                    <a:pt x="434" y="9"/>
                  </a:cubicBezTo>
                  <a:cubicBezTo>
                    <a:pt x="433" y="10"/>
                    <a:pt x="433" y="10"/>
                    <a:pt x="433" y="10"/>
                  </a:cubicBezTo>
                  <a:cubicBezTo>
                    <a:pt x="432" y="10"/>
                    <a:pt x="432" y="10"/>
                    <a:pt x="432" y="10"/>
                  </a:cubicBezTo>
                  <a:cubicBezTo>
                    <a:pt x="431" y="10"/>
                    <a:pt x="431" y="10"/>
                    <a:pt x="431" y="10"/>
                  </a:cubicBezTo>
                  <a:cubicBezTo>
                    <a:pt x="431" y="9"/>
                    <a:pt x="431" y="9"/>
                    <a:pt x="431" y="9"/>
                  </a:cubicBezTo>
                  <a:cubicBezTo>
                    <a:pt x="430" y="9"/>
                    <a:pt x="430" y="9"/>
                    <a:pt x="430" y="9"/>
                  </a:cubicBezTo>
                  <a:cubicBezTo>
                    <a:pt x="430" y="9"/>
                    <a:pt x="430" y="9"/>
                    <a:pt x="430" y="9"/>
                  </a:cubicBezTo>
                  <a:cubicBezTo>
                    <a:pt x="429" y="8"/>
                    <a:pt x="429" y="8"/>
                    <a:pt x="429" y="8"/>
                  </a:cubicBezTo>
                  <a:cubicBezTo>
                    <a:pt x="429" y="8"/>
                    <a:pt x="429" y="8"/>
                    <a:pt x="429" y="8"/>
                  </a:cubicBezTo>
                  <a:cubicBezTo>
                    <a:pt x="428" y="8"/>
                    <a:pt x="428" y="8"/>
                    <a:pt x="428" y="8"/>
                  </a:cubicBezTo>
                  <a:cubicBezTo>
                    <a:pt x="428" y="9"/>
                    <a:pt x="428" y="9"/>
                    <a:pt x="428" y="9"/>
                  </a:cubicBezTo>
                  <a:cubicBezTo>
                    <a:pt x="427" y="9"/>
                    <a:pt x="427" y="9"/>
                    <a:pt x="427" y="9"/>
                  </a:cubicBezTo>
                  <a:cubicBezTo>
                    <a:pt x="427" y="10"/>
                    <a:pt x="427" y="10"/>
                    <a:pt x="427" y="10"/>
                  </a:cubicBezTo>
                  <a:cubicBezTo>
                    <a:pt x="426" y="10"/>
                    <a:pt x="426" y="10"/>
                    <a:pt x="426" y="10"/>
                  </a:cubicBezTo>
                  <a:cubicBezTo>
                    <a:pt x="426" y="11"/>
                    <a:pt x="426" y="11"/>
                    <a:pt x="426" y="11"/>
                  </a:cubicBezTo>
                  <a:cubicBezTo>
                    <a:pt x="426" y="11"/>
                    <a:pt x="426" y="11"/>
                    <a:pt x="426" y="11"/>
                  </a:cubicBezTo>
                  <a:cubicBezTo>
                    <a:pt x="426" y="12"/>
                    <a:pt x="426" y="12"/>
                    <a:pt x="426" y="12"/>
                  </a:cubicBezTo>
                  <a:cubicBezTo>
                    <a:pt x="426" y="12"/>
                    <a:pt x="426" y="12"/>
                    <a:pt x="426" y="12"/>
                  </a:cubicBezTo>
                  <a:cubicBezTo>
                    <a:pt x="426" y="13"/>
                    <a:pt x="426" y="13"/>
                    <a:pt x="426" y="13"/>
                  </a:cubicBezTo>
                  <a:cubicBezTo>
                    <a:pt x="427" y="13"/>
                    <a:pt x="427" y="13"/>
                    <a:pt x="427" y="13"/>
                  </a:cubicBezTo>
                  <a:cubicBezTo>
                    <a:pt x="428" y="13"/>
                    <a:pt x="428" y="13"/>
                    <a:pt x="428" y="13"/>
                  </a:cubicBezTo>
                  <a:cubicBezTo>
                    <a:pt x="428" y="13"/>
                    <a:pt x="428" y="13"/>
                    <a:pt x="428" y="13"/>
                  </a:cubicBezTo>
                  <a:cubicBezTo>
                    <a:pt x="429" y="12"/>
                    <a:pt x="429" y="12"/>
                    <a:pt x="429" y="12"/>
                  </a:cubicBezTo>
                  <a:cubicBezTo>
                    <a:pt x="430" y="12"/>
                    <a:pt x="430" y="12"/>
                    <a:pt x="430" y="12"/>
                  </a:cubicBezTo>
                  <a:cubicBezTo>
                    <a:pt x="430" y="12"/>
                    <a:pt x="430" y="12"/>
                    <a:pt x="430" y="12"/>
                  </a:cubicBezTo>
                  <a:cubicBezTo>
                    <a:pt x="430" y="13"/>
                    <a:pt x="430" y="13"/>
                    <a:pt x="430" y="13"/>
                  </a:cubicBezTo>
                  <a:cubicBezTo>
                    <a:pt x="430" y="13"/>
                    <a:pt x="430" y="13"/>
                    <a:pt x="430" y="13"/>
                  </a:cubicBezTo>
                  <a:cubicBezTo>
                    <a:pt x="430" y="14"/>
                    <a:pt x="430" y="14"/>
                    <a:pt x="430" y="14"/>
                  </a:cubicBezTo>
                  <a:cubicBezTo>
                    <a:pt x="430" y="15"/>
                    <a:pt x="430" y="15"/>
                    <a:pt x="430" y="15"/>
                  </a:cubicBezTo>
                  <a:cubicBezTo>
                    <a:pt x="430" y="16"/>
                    <a:pt x="430" y="16"/>
                    <a:pt x="430" y="16"/>
                  </a:cubicBezTo>
                  <a:cubicBezTo>
                    <a:pt x="430" y="16"/>
                    <a:pt x="430" y="16"/>
                    <a:pt x="430" y="16"/>
                  </a:cubicBezTo>
                  <a:cubicBezTo>
                    <a:pt x="431" y="17"/>
                    <a:pt x="431" y="17"/>
                    <a:pt x="431" y="17"/>
                  </a:cubicBezTo>
                  <a:cubicBezTo>
                    <a:pt x="432" y="17"/>
                    <a:pt x="432" y="17"/>
                    <a:pt x="432" y="17"/>
                  </a:cubicBezTo>
                  <a:cubicBezTo>
                    <a:pt x="433" y="17"/>
                    <a:pt x="433" y="17"/>
                    <a:pt x="433" y="17"/>
                  </a:cubicBezTo>
                  <a:cubicBezTo>
                    <a:pt x="433" y="18"/>
                    <a:pt x="433" y="18"/>
                    <a:pt x="433" y="18"/>
                  </a:cubicBezTo>
                  <a:cubicBezTo>
                    <a:pt x="433" y="18"/>
                    <a:pt x="433" y="18"/>
                    <a:pt x="433" y="18"/>
                  </a:cubicBezTo>
                  <a:cubicBezTo>
                    <a:pt x="432" y="18"/>
                    <a:pt x="432" y="18"/>
                    <a:pt x="432" y="18"/>
                  </a:cubicBezTo>
                  <a:cubicBezTo>
                    <a:pt x="431" y="19"/>
                    <a:pt x="431" y="19"/>
                    <a:pt x="431" y="19"/>
                  </a:cubicBezTo>
                  <a:cubicBezTo>
                    <a:pt x="430" y="19"/>
                    <a:pt x="430" y="19"/>
                    <a:pt x="430" y="19"/>
                  </a:cubicBezTo>
                  <a:cubicBezTo>
                    <a:pt x="429" y="19"/>
                    <a:pt x="429" y="19"/>
                    <a:pt x="429" y="19"/>
                  </a:cubicBezTo>
                  <a:cubicBezTo>
                    <a:pt x="429" y="19"/>
                    <a:pt x="429" y="19"/>
                    <a:pt x="429" y="19"/>
                  </a:cubicBezTo>
                  <a:cubicBezTo>
                    <a:pt x="428" y="19"/>
                    <a:pt x="428" y="19"/>
                    <a:pt x="428" y="19"/>
                  </a:cubicBezTo>
                  <a:cubicBezTo>
                    <a:pt x="427" y="19"/>
                    <a:pt x="427" y="19"/>
                    <a:pt x="427" y="19"/>
                  </a:cubicBezTo>
                  <a:cubicBezTo>
                    <a:pt x="426" y="20"/>
                    <a:pt x="426" y="20"/>
                    <a:pt x="426" y="20"/>
                  </a:cubicBezTo>
                  <a:cubicBezTo>
                    <a:pt x="426" y="21"/>
                    <a:pt x="426" y="21"/>
                    <a:pt x="426" y="21"/>
                  </a:cubicBezTo>
                  <a:cubicBezTo>
                    <a:pt x="426" y="21"/>
                    <a:pt x="426" y="21"/>
                    <a:pt x="426" y="21"/>
                  </a:cubicBezTo>
                  <a:cubicBezTo>
                    <a:pt x="426" y="22"/>
                    <a:pt x="426" y="22"/>
                    <a:pt x="426" y="22"/>
                  </a:cubicBezTo>
                  <a:cubicBezTo>
                    <a:pt x="425" y="23"/>
                    <a:pt x="425" y="23"/>
                    <a:pt x="425" y="23"/>
                  </a:cubicBezTo>
                  <a:cubicBezTo>
                    <a:pt x="424" y="23"/>
                    <a:pt x="424" y="23"/>
                    <a:pt x="424" y="23"/>
                  </a:cubicBezTo>
                  <a:cubicBezTo>
                    <a:pt x="423" y="23"/>
                    <a:pt x="423" y="23"/>
                    <a:pt x="423" y="23"/>
                  </a:cubicBezTo>
                  <a:cubicBezTo>
                    <a:pt x="423" y="23"/>
                    <a:pt x="423" y="23"/>
                    <a:pt x="423" y="23"/>
                  </a:cubicBezTo>
                  <a:cubicBezTo>
                    <a:pt x="422" y="23"/>
                    <a:pt x="422" y="23"/>
                    <a:pt x="422" y="23"/>
                  </a:cubicBezTo>
                  <a:cubicBezTo>
                    <a:pt x="422" y="24"/>
                    <a:pt x="422" y="24"/>
                    <a:pt x="422" y="24"/>
                  </a:cubicBezTo>
                  <a:cubicBezTo>
                    <a:pt x="421" y="24"/>
                    <a:pt x="421" y="24"/>
                    <a:pt x="421" y="24"/>
                  </a:cubicBezTo>
                  <a:cubicBezTo>
                    <a:pt x="421" y="24"/>
                    <a:pt x="421" y="24"/>
                    <a:pt x="421" y="24"/>
                  </a:cubicBezTo>
                  <a:cubicBezTo>
                    <a:pt x="421" y="25"/>
                    <a:pt x="421" y="25"/>
                    <a:pt x="421" y="25"/>
                  </a:cubicBezTo>
                  <a:cubicBezTo>
                    <a:pt x="421" y="26"/>
                    <a:pt x="421" y="26"/>
                    <a:pt x="421" y="26"/>
                  </a:cubicBezTo>
                  <a:cubicBezTo>
                    <a:pt x="421" y="26"/>
                    <a:pt x="421" y="26"/>
                    <a:pt x="421" y="26"/>
                  </a:cubicBezTo>
                  <a:cubicBezTo>
                    <a:pt x="421" y="26"/>
                    <a:pt x="421" y="26"/>
                    <a:pt x="421" y="26"/>
                  </a:cubicBezTo>
                  <a:cubicBezTo>
                    <a:pt x="420" y="27"/>
                    <a:pt x="420" y="27"/>
                    <a:pt x="420" y="27"/>
                  </a:cubicBezTo>
                  <a:cubicBezTo>
                    <a:pt x="420" y="26"/>
                    <a:pt x="420" y="26"/>
                    <a:pt x="420" y="26"/>
                  </a:cubicBezTo>
                  <a:cubicBezTo>
                    <a:pt x="420" y="26"/>
                    <a:pt x="420" y="26"/>
                    <a:pt x="420" y="26"/>
                  </a:cubicBezTo>
                  <a:cubicBezTo>
                    <a:pt x="419" y="25"/>
                    <a:pt x="419" y="25"/>
                    <a:pt x="419" y="25"/>
                  </a:cubicBezTo>
                  <a:cubicBezTo>
                    <a:pt x="419" y="25"/>
                    <a:pt x="419" y="25"/>
                    <a:pt x="419" y="25"/>
                  </a:cubicBezTo>
                  <a:cubicBezTo>
                    <a:pt x="419" y="25"/>
                    <a:pt x="419" y="25"/>
                    <a:pt x="419" y="25"/>
                  </a:cubicBezTo>
                  <a:cubicBezTo>
                    <a:pt x="419" y="24"/>
                    <a:pt x="419" y="24"/>
                    <a:pt x="419" y="24"/>
                  </a:cubicBezTo>
                  <a:cubicBezTo>
                    <a:pt x="419" y="23"/>
                    <a:pt x="419" y="23"/>
                    <a:pt x="419" y="23"/>
                  </a:cubicBezTo>
                  <a:cubicBezTo>
                    <a:pt x="419" y="23"/>
                    <a:pt x="419" y="23"/>
                    <a:pt x="419" y="23"/>
                  </a:cubicBezTo>
                  <a:cubicBezTo>
                    <a:pt x="418" y="23"/>
                    <a:pt x="418" y="23"/>
                    <a:pt x="418" y="23"/>
                  </a:cubicBezTo>
                  <a:cubicBezTo>
                    <a:pt x="418" y="23"/>
                    <a:pt x="418" y="23"/>
                    <a:pt x="418" y="23"/>
                  </a:cubicBezTo>
                  <a:cubicBezTo>
                    <a:pt x="418" y="24"/>
                    <a:pt x="418" y="24"/>
                    <a:pt x="418" y="24"/>
                  </a:cubicBezTo>
                  <a:cubicBezTo>
                    <a:pt x="417" y="24"/>
                    <a:pt x="417" y="24"/>
                    <a:pt x="417" y="24"/>
                  </a:cubicBezTo>
                  <a:cubicBezTo>
                    <a:pt x="416" y="24"/>
                    <a:pt x="416" y="24"/>
                    <a:pt x="416" y="24"/>
                  </a:cubicBezTo>
                  <a:cubicBezTo>
                    <a:pt x="416" y="24"/>
                    <a:pt x="416" y="24"/>
                    <a:pt x="416" y="24"/>
                  </a:cubicBezTo>
                  <a:cubicBezTo>
                    <a:pt x="416" y="24"/>
                    <a:pt x="416" y="24"/>
                    <a:pt x="416" y="24"/>
                  </a:cubicBezTo>
                  <a:cubicBezTo>
                    <a:pt x="416" y="23"/>
                    <a:pt x="416" y="23"/>
                    <a:pt x="416" y="23"/>
                  </a:cubicBezTo>
                  <a:cubicBezTo>
                    <a:pt x="416" y="23"/>
                    <a:pt x="416" y="23"/>
                    <a:pt x="416" y="23"/>
                  </a:cubicBezTo>
                  <a:cubicBezTo>
                    <a:pt x="415" y="23"/>
                    <a:pt x="415" y="23"/>
                    <a:pt x="415" y="23"/>
                  </a:cubicBezTo>
                  <a:cubicBezTo>
                    <a:pt x="415" y="23"/>
                    <a:pt x="415" y="23"/>
                    <a:pt x="415" y="23"/>
                  </a:cubicBezTo>
                  <a:cubicBezTo>
                    <a:pt x="414" y="24"/>
                    <a:pt x="414" y="24"/>
                    <a:pt x="414" y="24"/>
                  </a:cubicBezTo>
                  <a:cubicBezTo>
                    <a:pt x="413" y="26"/>
                    <a:pt x="413" y="26"/>
                    <a:pt x="413" y="26"/>
                  </a:cubicBezTo>
                  <a:cubicBezTo>
                    <a:pt x="413" y="27"/>
                    <a:pt x="413" y="27"/>
                    <a:pt x="413" y="27"/>
                  </a:cubicBezTo>
                  <a:cubicBezTo>
                    <a:pt x="412" y="28"/>
                    <a:pt x="412" y="28"/>
                    <a:pt x="412" y="28"/>
                  </a:cubicBezTo>
                  <a:cubicBezTo>
                    <a:pt x="412" y="28"/>
                    <a:pt x="412" y="28"/>
                    <a:pt x="412" y="28"/>
                  </a:cubicBezTo>
                  <a:cubicBezTo>
                    <a:pt x="412" y="29"/>
                    <a:pt x="412" y="29"/>
                    <a:pt x="412" y="29"/>
                  </a:cubicBezTo>
                  <a:cubicBezTo>
                    <a:pt x="411" y="30"/>
                    <a:pt x="411" y="30"/>
                    <a:pt x="411" y="30"/>
                  </a:cubicBezTo>
                  <a:cubicBezTo>
                    <a:pt x="410" y="32"/>
                    <a:pt x="410" y="32"/>
                    <a:pt x="410" y="32"/>
                  </a:cubicBezTo>
                  <a:cubicBezTo>
                    <a:pt x="408" y="34"/>
                    <a:pt x="408" y="34"/>
                    <a:pt x="408" y="34"/>
                  </a:cubicBezTo>
                  <a:cubicBezTo>
                    <a:pt x="407" y="34"/>
                    <a:pt x="407" y="34"/>
                    <a:pt x="407" y="34"/>
                  </a:cubicBezTo>
                  <a:cubicBezTo>
                    <a:pt x="407" y="35"/>
                    <a:pt x="407" y="35"/>
                    <a:pt x="407" y="35"/>
                  </a:cubicBezTo>
                  <a:cubicBezTo>
                    <a:pt x="408" y="35"/>
                    <a:pt x="408" y="35"/>
                    <a:pt x="408" y="35"/>
                  </a:cubicBezTo>
                  <a:cubicBezTo>
                    <a:pt x="408" y="35"/>
                    <a:pt x="408" y="35"/>
                    <a:pt x="408" y="35"/>
                  </a:cubicBezTo>
                  <a:cubicBezTo>
                    <a:pt x="409" y="35"/>
                    <a:pt x="409" y="35"/>
                    <a:pt x="409" y="35"/>
                  </a:cubicBezTo>
                  <a:cubicBezTo>
                    <a:pt x="409" y="34"/>
                    <a:pt x="409" y="34"/>
                    <a:pt x="409" y="34"/>
                  </a:cubicBezTo>
                  <a:cubicBezTo>
                    <a:pt x="410" y="34"/>
                    <a:pt x="410" y="34"/>
                    <a:pt x="410" y="34"/>
                  </a:cubicBezTo>
                  <a:cubicBezTo>
                    <a:pt x="410" y="34"/>
                    <a:pt x="410" y="34"/>
                    <a:pt x="410" y="34"/>
                  </a:cubicBezTo>
                  <a:cubicBezTo>
                    <a:pt x="411" y="34"/>
                    <a:pt x="411" y="34"/>
                    <a:pt x="411" y="34"/>
                  </a:cubicBezTo>
                  <a:cubicBezTo>
                    <a:pt x="411" y="35"/>
                    <a:pt x="411" y="35"/>
                    <a:pt x="411" y="35"/>
                  </a:cubicBezTo>
                  <a:cubicBezTo>
                    <a:pt x="410" y="36"/>
                    <a:pt x="410" y="36"/>
                    <a:pt x="410" y="36"/>
                  </a:cubicBezTo>
                  <a:cubicBezTo>
                    <a:pt x="410" y="36"/>
                    <a:pt x="410" y="36"/>
                    <a:pt x="410" y="36"/>
                  </a:cubicBezTo>
                  <a:cubicBezTo>
                    <a:pt x="410" y="36"/>
                    <a:pt x="410" y="36"/>
                    <a:pt x="410" y="36"/>
                  </a:cubicBezTo>
                  <a:cubicBezTo>
                    <a:pt x="409" y="37"/>
                    <a:pt x="409" y="37"/>
                    <a:pt x="409" y="37"/>
                  </a:cubicBezTo>
                  <a:cubicBezTo>
                    <a:pt x="409" y="37"/>
                    <a:pt x="409" y="37"/>
                    <a:pt x="409" y="37"/>
                  </a:cubicBezTo>
                  <a:cubicBezTo>
                    <a:pt x="409" y="38"/>
                    <a:pt x="409" y="38"/>
                    <a:pt x="409" y="38"/>
                  </a:cubicBezTo>
                  <a:cubicBezTo>
                    <a:pt x="410" y="38"/>
                    <a:pt x="410" y="38"/>
                    <a:pt x="410" y="38"/>
                  </a:cubicBezTo>
                  <a:cubicBezTo>
                    <a:pt x="410" y="39"/>
                    <a:pt x="410" y="39"/>
                    <a:pt x="410" y="39"/>
                  </a:cubicBezTo>
                  <a:cubicBezTo>
                    <a:pt x="411" y="40"/>
                    <a:pt x="411" y="40"/>
                    <a:pt x="411" y="40"/>
                  </a:cubicBezTo>
                  <a:cubicBezTo>
                    <a:pt x="411" y="40"/>
                    <a:pt x="411" y="40"/>
                    <a:pt x="411" y="40"/>
                  </a:cubicBezTo>
                  <a:cubicBezTo>
                    <a:pt x="412" y="40"/>
                    <a:pt x="412" y="40"/>
                    <a:pt x="412" y="40"/>
                  </a:cubicBezTo>
                  <a:cubicBezTo>
                    <a:pt x="411" y="41"/>
                    <a:pt x="411" y="41"/>
                    <a:pt x="411" y="41"/>
                  </a:cubicBezTo>
                  <a:cubicBezTo>
                    <a:pt x="411" y="42"/>
                    <a:pt x="411" y="42"/>
                    <a:pt x="411" y="42"/>
                  </a:cubicBezTo>
                  <a:cubicBezTo>
                    <a:pt x="410" y="42"/>
                    <a:pt x="410" y="42"/>
                    <a:pt x="410" y="42"/>
                  </a:cubicBezTo>
                  <a:cubicBezTo>
                    <a:pt x="410" y="42"/>
                    <a:pt x="410" y="42"/>
                    <a:pt x="410" y="42"/>
                  </a:cubicBezTo>
                  <a:cubicBezTo>
                    <a:pt x="410" y="42"/>
                    <a:pt x="410" y="42"/>
                    <a:pt x="410" y="42"/>
                  </a:cubicBezTo>
                  <a:cubicBezTo>
                    <a:pt x="409" y="43"/>
                    <a:pt x="409" y="43"/>
                    <a:pt x="409" y="43"/>
                  </a:cubicBezTo>
                  <a:cubicBezTo>
                    <a:pt x="408" y="43"/>
                    <a:pt x="408" y="43"/>
                    <a:pt x="408" y="43"/>
                  </a:cubicBezTo>
                  <a:cubicBezTo>
                    <a:pt x="408" y="43"/>
                    <a:pt x="408" y="43"/>
                    <a:pt x="408" y="43"/>
                  </a:cubicBezTo>
                  <a:cubicBezTo>
                    <a:pt x="408" y="44"/>
                    <a:pt x="408" y="44"/>
                    <a:pt x="408" y="44"/>
                  </a:cubicBezTo>
                  <a:cubicBezTo>
                    <a:pt x="408" y="45"/>
                    <a:pt x="408" y="45"/>
                    <a:pt x="408" y="45"/>
                  </a:cubicBezTo>
                  <a:cubicBezTo>
                    <a:pt x="409" y="45"/>
                    <a:pt x="409" y="45"/>
                    <a:pt x="409" y="45"/>
                  </a:cubicBezTo>
                  <a:cubicBezTo>
                    <a:pt x="410" y="45"/>
                    <a:pt x="410" y="45"/>
                    <a:pt x="410" y="45"/>
                  </a:cubicBezTo>
                  <a:cubicBezTo>
                    <a:pt x="410" y="45"/>
                    <a:pt x="410" y="45"/>
                    <a:pt x="410" y="45"/>
                  </a:cubicBezTo>
                  <a:cubicBezTo>
                    <a:pt x="410" y="46"/>
                    <a:pt x="410" y="46"/>
                    <a:pt x="410" y="46"/>
                  </a:cubicBezTo>
                  <a:cubicBezTo>
                    <a:pt x="410" y="47"/>
                    <a:pt x="410" y="47"/>
                    <a:pt x="410" y="47"/>
                  </a:cubicBezTo>
                  <a:cubicBezTo>
                    <a:pt x="410" y="47"/>
                    <a:pt x="410" y="47"/>
                    <a:pt x="410" y="47"/>
                  </a:cubicBezTo>
                  <a:cubicBezTo>
                    <a:pt x="410" y="48"/>
                    <a:pt x="410" y="48"/>
                    <a:pt x="410" y="48"/>
                  </a:cubicBezTo>
                  <a:cubicBezTo>
                    <a:pt x="409" y="49"/>
                    <a:pt x="409" y="49"/>
                    <a:pt x="409" y="49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407" y="49"/>
                    <a:pt x="407" y="49"/>
                    <a:pt x="407" y="49"/>
                  </a:cubicBezTo>
                  <a:cubicBezTo>
                    <a:pt x="407" y="50"/>
                    <a:pt x="407" y="50"/>
                    <a:pt x="407" y="50"/>
                  </a:cubicBezTo>
                  <a:cubicBezTo>
                    <a:pt x="406" y="51"/>
                    <a:pt x="406" y="51"/>
                    <a:pt x="406" y="51"/>
                  </a:cubicBezTo>
                  <a:cubicBezTo>
                    <a:pt x="406" y="51"/>
                    <a:pt x="406" y="51"/>
                    <a:pt x="406" y="51"/>
                  </a:cubicBezTo>
                  <a:cubicBezTo>
                    <a:pt x="405" y="51"/>
                    <a:pt x="405" y="51"/>
                    <a:pt x="405" y="51"/>
                  </a:cubicBezTo>
                  <a:cubicBezTo>
                    <a:pt x="404" y="51"/>
                    <a:pt x="404" y="51"/>
                    <a:pt x="404" y="51"/>
                  </a:cubicBezTo>
                  <a:cubicBezTo>
                    <a:pt x="404" y="50"/>
                    <a:pt x="404" y="50"/>
                    <a:pt x="404" y="50"/>
                  </a:cubicBezTo>
                  <a:cubicBezTo>
                    <a:pt x="404" y="49"/>
                    <a:pt x="404" y="49"/>
                    <a:pt x="404" y="49"/>
                  </a:cubicBezTo>
                  <a:cubicBezTo>
                    <a:pt x="403" y="49"/>
                    <a:pt x="403" y="49"/>
                    <a:pt x="403" y="49"/>
                  </a:cubicBezTo>
                  <a:cubicBezTo>
                    <a:pt x="403" y="49"/>
                    <a:pt x="403" y="49"/>
                    <a:pt x="403" y="49"/>
                  </a:cubicBezTo>
                  <a:cubicBezTo>
                    <a:pt x="402" y="49"/>
                    <a:pt x="402" y="49"/>
                    <a:pt x="402" y="49"/>
                  </a:cubicBezTo>
                  <a:cubicBezTo>
                    <a:pt x="401" y="50"/>
                    <a:pt x="401" y="50"/>
                    <a:pt x="401" y="50"/>
                  </a:cubicBezTo>
                  <a:cubicBezTo>
                    <a:pt x="400" y="50"/>
                    <a:pt x="400" y="50"/>
                    <a:pt x="400" y="50"/>
                  </a:cubicBezTo>
                  <a:cubicBezTo>
                    <a:pt x="400" y="49"/>
                    <a:pt x="400" y="49"/>
                    <a:pt x="400" y="49"/>
                  </a:cubicBezTo>
                  <a:cubicBezTo>
                    <a:pt x="399" y="49"/>
                    <a:pt x="399" y="49"/>
                    <a:pt x="399" y="49"/>
                  </a:cubicBezTo>
                  <a:cubicBezTo>
                    <a:pt x="399" y="48"/>
                    <a:pt x="399" y="48"/>
                    <a:pt x="399" y="48"/>
                  </a:cubicBezTo>
                  <a:cubicBezTo>
                    <a:pt x="400" y="47"/>
                    <a:pt x="400" y="47"/>
                    <a:pt x="400" y="47"/>
                  </a:cubicBezTo>
                  <a:cubicBezTo>
                    <a:pt x="400" y="47"/>
                    <a:pt x="400" y="47"/>
                    <a:pt x="400" y="47"/>
                  </a:cubicBezTo>
                  <a:cubicBezTo>
                    <a:pt x="400" y="46"/>
                    <a:pt x="400" y="46"/>
                    <a:pt x="400" y="46"/>
                  </a:cubicBezTo>
                  <a:cubicBezTo>
                    <a:pt x="399" y="46"/>
                    <a:pt x="399" y="46"/>
                    <a:pt x="399" y="46"/>
                  </a:cubicBezTo>
                  <a:cubicBezTo>
                    <a:pt x="399" y="46"/>
                    <a:pt x="399" y="46"/>
                    <a:pt x="399" y="46"/>
                  </a:cubicBezTo>
                  <a:cubicBezTo>
                    <a:pt x="397" y="46"/>
                    <a:pt x="397" y="46"/>
                    <a:pt x="397" y="46"/>
                  </a:cubicBezTo>
                  <a:cubicBezTo>
                    <a:pt x="396" y="45"/>
                    <a:pt x="396" y="45"/>
                    <a:pt x="396" y="45"/>
                  </a:cubicBezTo>
                  <a:cubicBezTo>
                    <a:pt x="395" y="45"/>
                    <a:pt x="395" y="45"/>
                    <a:pt x="395" y="45"/>
                  </a:cubicBezTo>
                  <a:cubicBezTo>
                    <a:pt x="395" y="45"/>
                    <a:pt x="395" y="45"/>
                    <a:pt x="395" y="45"/>
                  </a:cubicBezTo>
                  <a:cubicBezTo>
                    <a:pt x="394" y="45"/>
                    <a:pt x="394" y="45"/>
                    <a:pt x="394" y="45"/>
                  </a:cubicBezTo>
                  <a:cubicBezTo>
                    <a:pt x="393" y="45"/>
                    <a:pt x="393" y="45"/>
                    <a:pt x="393" y="45"/>
                  </a:cubicBezTo>
                  <a:cubicBezTo>
                    <a:pt x="393" y="46"/>
                    <a:pt x="393" y="46"/>
                    <a:pt x="393" y="46"/>
                  </a:cubicBezTo>
                  <a:cubicBezTo>
                    <a:pt x="393" y="47"/>
                    <a:pt x="393" y="47"/>
                    <a:pt x="393" y="47"/>
                  </a:cubicBezTo>
                  <a:cubicBezTo>
                    <a:pt x="393" y="47"/>
                    <a:pt x="393" y="47"/>
                    <a:pt x="393" y="47"/>
                  </a:cubicBezTo>
                  <a:cubicBezTo>
                    <a:pt x="393" y="48"/>
                    <a:pt x="393" y="48"/>
                    <a:pt x="393" y="48"/>
                  </a:cubicBezTo>
                  <a:cubicBezTo>
                    <a:pt x="393" y="49"/>
                    <a:pt x="393" y="49"/>
                    <a:pt x="393" y="49"/>
                  </a:cubicBezTo>
                  <a:cubicBezTo>
                    <a:pt x="393" y="49"/>
                    <a:pt x="393" y="49"/>
                    <a:pt x="393" y="49"/>
                  </a:cubicBezTo>
                  <a:cubicBezTo>
                    <a:pt x="393" y="50"/>
                    <a:pt x="393" y="50"/>
                    <a:pt x="393" y="50"/>
                  </a:cubicBezTo>
                  <a:cubicBezTo>
                    <a:pt x="393" y="51"/>
                    <a:pt x="393" y="51"/>
                    <a:pt x="393" y="51"/>
                  </a:cubicBezTo>
                  <a:cubicBezTo>
                    <a:pt x="392" y="51"/>
                    <a:pt x="392" y="51"/>
                    <a:pt x="392" y="51"/>
                  </a:cubicBezTo>
                  <a:cubicBezTo>
                    <a:pt x="391" y="52"/>
                    <a:pt x="391" y="52"/>
                    <a:pt x="391" y="52"/>
                  </a:cubicBezTo>
                  <a:cubicBezTo>
                    <a:pt x="391" y="52"/>
                    <a:pt x="391" y="52"/>
                    <a:pt x="391" y="52"/>
                  </a:cubicBezTo>
                  <a:cubicBezTo>
                    <a:pt x="390" y="52"/>
                    <a:pt x="390" y="52"/>
                    <a:pt x="390" y="52"/>
                  </a:cubicBezTo>
                  <a:cubicBezTo>
                    <a:pt x="389" y="52"/>
                    <a:pt x="389" y="52"/>
                    <a:pt x="389" y="52"/>
                  </a:cubicBezTo>
                  <a:cubicBezTo>
                    <a:pt x="389" y="52"/>
                    <a:pt x="389" y="52"/>
                    <a:pt x="389" y="52"/>
                  </a:cubicBezTo>
                  <a:cubicBezTo>
                    <a:pt x="387" y="53"/>
                    <a:pt x="387" y="53"/>
                    <a:pt x="387" y="53"/>
                  </a:cubicBezTo>
                  <a:cubicBezTo>
                    <a:pt x="387" y="53"/>
                    <a:pt x="387" y="53"/>
                    <a:pt x="387" y="53"/>
                  </a:cubicBezTo>
                  <a:cubicBezTo>
                    <a:pt x="386" y="54"/>
                    <a:pt x="386" y="54"/>
                    <a:pt x="386" y="54"/>
                  </a:cubicBezTo>
                  <a:cubicBezTo>
                    <a:pt x="385" y="54"/>
                    <a:pt x="385" y="54"/>
                    <a:pt x="385" y="54"/>
                  </a:cubicBezTo>
                  <a:cubicBezTo>
                    <a:pt x="385" y="55"/>
                    <a:pt x="385" y="55"/>
                    <a:pt x="385" y="55"/>
                  </a:cubicBezTo>
                  <a:cubicBezTo>
                    <a:pt x="384" y="55"/>
                    <a:pt x="384" y="55"/>
                    <a:pt x="384" y="55"/>
                  </a:cubicBezTo>
                  <a:cubicBezTo>
                    <a:pt x="384" y="56"/>
                    <a:pt x="384" y="56"/>
                    <a:pt x="384" y="56"/>
                  </a:cubicBezTo>
                  <a:cubicBezTo>
                    <a:pt x="383" y="57"/>
                    <a:pt x="383" y="57"/>
                    <a:pt x="383" y="57"/>
                  </a:cubicBezTo>
                  <a:cubicBezTo>
                    <a:pt x="383" y="59"/>
                    <a:pt x="383" y="59"/>
                    <a:pt x="383" y="59"/>
                  </a:cubicBezTo>
                  <a:cubicBezTo>
                    <a:pt x="382" y="59"/>
                    <a:pt x="382" y="59"/>
                    <a:pt x="382" y="59"/>
                  </a:cubicBezTo>
                  <a:cubicBezTo>
                    <a:pt x="382" y="59"/>
                    <a:pt x="382" y="59"/>
                    <a:pt x="382" y="59"/>
                  </a:cubicBezTo>
                  <a:cubicBezTo>
                    <a:pt x="381" y="59"/>
                    <a:pt x="381" y="59"/>
                    <a:pt x="381" y="59"/>
                  </a:cubicBezTo>
                  <a:cubicBezTo>
                    <a:pt x="380" y="59"/>
                    <a:pt x="380" y="59"/>
                    <a:pt x="380" y="59"/>
                  </a:cubicBezTo>
                  <a:cubicBezTo>
                    <a:pt x="380" y="58"/>
                    <a:pt x="380" y="58"/>
                    <a:pt x="380" y="5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80" y="55"/>
                    <a:pt x="380" y="55"/>
                    <a:pt x="380" y="55"/>
                  </a:cubicBezTo>
                  <a:cubicBezTo>
                    <a:pt x="380" y="54"/>
                    <a:pt x="380" y="54"/>
                    <a:pt x="380" y="54"/>
                  </a:cubicBezTo>
                  <a:cubicBezTo>
                    <a:pt x="380" y="53"/>
                    <a:pt x="380" y="53"/>
                    <a:pt x="380" y="53"/>
                  </a:cubicBezTo>
                  <a:cubicBezTo>
                    <a:pt x="380" y="51"/>
                    <a:pt x="380" y="51"/>
                    <a:pt x="380" y="51"/>
                  </a:cubicBezTo>
                  <a:cubicBezTo>
                    <a:pt x="380" y="50"/>
                    <a:pt x="380" y="50"/>
                    <a:pt x="380" y="50"/>
                  </a:cubicBezTo>
                  <a:cubicBezTo>
                    <a:pt x="379" y="49"/>
                    <a:pt x="379" y="49"/>
                    <a:pt x="379" y="49"/>
                  </a:cubicBezTo>
                  <a:cubicBezTo>
                    <a:pt x="379" y="49"/>
                    <a:pt x="379" y="49"/>
                    <a:pt x="379" y="49"/>
                  </a:cubicBezTo>
                  <a:cubicBezTo>
                    <a:pt x="378" y="49"/>
                    <a:pt x="378" y="49"/>
                    <a:pt x="378" y="49"/>
                  </a:cubicBezTo>
                  <a:cubicBezTo>
                    <a:pt x="377" y="49"/>
                    <a:pt x="377" y="49"/>
                    <a:pt x="377" y="49"/>
                  </a:cubicBezTo>
                  <a:cubicBezTo>
                    <a:pt x="376" y="49"/>
                    <a:pt x="376" y="49"/>
                    <a:pt x="376" y="49"/>
                  </a:cubicBezTo>
                  <a:cubicBezTo>
                    <a:pt x="376" y="49"/>
                    <a:pt x="376" y="49"/>
                    <a:pt x="376" y="49"/>
                  </a:cubicBezTo>
                  <a:cubicBezTo>
                    <a:pt x="375" y="48"/>
                    <a:pt x="375" y="48"/>
                    <a:pt x="375" y="48"/>
                  </a:cubicBezTo>
                  <a:cubicBezTo>
                    <a:pt x="376" y="47"/>
                    <a:pt x="376" y="47"/>
                    <a:pt x="376" y="47"/>
                  </a:cubicBezTo>
                  <a:cubicBezTo>
                    <a:pt x="376" y="46"/>
                    <a:pt x="376" y="46"/>
                    <a:pt x="376" y="46"/>
                  </a:cubicBezTo>
                  <a:cubicBezTo>
                    <a:pt x="375" y="45"/>
                    <a:pt x="375" y="45"/>
                    <a:pt x="375" y="45"/>
                  </a:cubicBezTo>
                  <a:cubicBezTo>
                    <a:pt x="375" y="45"/>
                    <a:pt x="375" y="45"/>
                    <a:pt x="375" y="45"/>
                  </a:cubicBezTo>
                  <a:cubicBezTo>
                    <a:pt x="374" y="44"/>
                    <a:pt x="374" y="44"/>
                    <a:pt x="374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3"/>
                    <a:pt x="375" y="43"/>
                    <a:pt x="375" y="43"/>
                  </a:cubicBezTo>
                  <a:cubicBezTo>
                    <a:pt x="375" y="43"/>
                    <a:pt x="375" y="43"/>
                    <a:pt x="375" y="43"/>
                  </a:cubicBezTo>
                  <a:cubicBezTo>
                    <a:pt x="376" y="42"/>
                    <a:pt x="376" y="42"/>
                    <a:pt x="376" y="42"/>
                  </a:cubicBezTo>
                  <a:cubicBezTo>
                    <a:pt x="376" y="41"/>
                    <a:pt x="376" y="41"/>
                    <a:pt x="376" y="41"/>
                  </a:cubicBezTo>
                  <a:cubicBezTo>
                    <a:pt x="375" y="41"/>
                    <a:pt x="375" y="41"/>
                    <a:pt x="375" y="41"/>
                  </a:cubicBezTo>
                  <a:cubicBezTo>
                    <a:pt x="375" y="40"/>
                    <a:pt x="375" y="40"/>
                    <a:pt x="375" y="40"/>
                  </a:cubicBezTo>
                  <a:cubicBezTo>
                    <a:pt x="374" y="40"/>
                    <a:pt x="374" y="40"/>
                    <a:pt x="374" y="40"/>
                  </a:cubicBezTo>
                  <a:cubicBezTo>
                    <a:pt x="374" y="39"/>
                    <a:pt x="374" y="39"/>
                    <a:pt x="374" y="39"/>
                  </a:cubicBezTo>
                  <a:cubicBezTo>
                    <a:pt x="373" y="39"/>
                    <a:pt x="373" y="39"/>
                    <a:pt x="373" y="39"/>
                  </a:cubicBezTo>
                  <a:cubicBezTo>
                    <a:pt x="373" y="39"/>
                    <a:pt x="373" y="39"/>
                    <a:pt x="373" y="39"/>
                  </a:cubicBezTo>
                  <a:cubicBezTo>
                    <a:pt x="372" y="40"/>
                    <a:pt x="372" y="40"/>
                    <a:pt x="372" y="40"/>
                  </a:cubicBezTo>
                  <a:cubicBezTo>
                    <a:pt x="371" y="40"/>
                    <a:pt x="371" y="40"/>
                    <a:pt x="371" y="40"/>
                  </a:cubicBezTo>
                  <a:cubicBezTo>
                    <a:pt x="371" y="41"/>
                    <a:pt x="371" y="41"/>
                    <a:pt x="371" y="41"/>
                  </a:cubicBezTo>
                  <a:cubicBezTo>
                    <a:pt x="370" y="42"/>
                    <a:pt x="370" y="42"/>
                    <a:pt x="370" y="42"/>
                  </a:cubicBezTo>
                  <a:cubicBezTo>
                    <a:pt x="370" y="43"/>
                    <a:pt x="370" y="43"/>
                    <a:pt x="370" y="43"/>
                  </a:cubicBezTo>
                  <a:cubicBezTo>
                    <a:pt x="369" y="44"/>
                    <a:pt x="369" y="44"/>
                    <a:pt x="369" y="44"/>
                  </a:cubicBezTo>
                  <a:cubicBezTo>
                    <a:pt x="369" y="44"/>
                    <a:pt x="369" y="44"/>
                    <a:pt x="369" y="4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7" y="45"/>
                    <a:pt x="367" y="45"/>
                    <a:pt x="367" y="45"/>
                  </a:cubicBezTo>
                  <a:cubicBezTo>
                    <a:pt x="366" y="45"/>
                    <a:pt x="366" y="45"/>
                    <a:pt x="366" y="45"/>
                  </a:cubicBezTo>
                  <a:cubicBezTo>
                    <a:pt x="366" y="45"/>
                    <a:pt x="366" y="45"/>
                    <a:pt x="366" y="45"/>
                  </a:cubicBezTo>
                  <a:cubicBezTo>
                    <a:pt x="365" y="45"/>
                    <a:pt x="365" y="45"/>
                    <a:pt x="365" y="45"/>
                  </a:cubicBezTo>
                  <a:cubicBezTo>
                    <a:pt x="365" y="45"/>
                    <a:pt x="365" y="45"/>
                    <a:pt x="365" y="45"/>
                  </a:cubicBezTo>
                  <a:cubicBezTo>
                    <a:pt x="364" y="45"/>
                    <a:pt x="364" y="45"/>
                    <a:pt x="364" y="45"/>
                  </a:cubicBezTo>
                  <a:cubicBezTo>
                    <a:pt x="364" y="45"/>
                    <a:pt x="364" y="45"/>
                    <a:pt x="364" y="45"/>
                  </a:cubicBezTo>
                  <a:cubicBezTo>
                    <a:pt x="364" y="46"/>
                    <a:pt x="364" y="46"/>
                    <a:pt x="364" y="46"/>
                  </a:cubicBezTo>
                  <a:cubicBezTo>
                    <a:pt x="364" y="46"/>
                    <a:pt x="364" y="46"/>
                    <a:pt x="364" y="46"/>
                  </a:cubicBezTo>
                  <a:cubicBezTo>
                    <a:pt x="364" y="47"/>
                    <a:pt x="364" y="47"/>
                    <a:pt x="364" y="47"/>
                  </a:cubicBezTo>
                  <a:cubicBezTo>
                    <a:pt x="364" y="47"/>
                    <a:pt x="364" y="47"/>
                    <a:pt x="364" y="47"/>
                  </a:cubicBezTo>
                  <a:cubicBezTo>
                    <a:pt x="364" y="48"/>
                    <a:pt x="364" y="48"/>
                    <a:pt x="364" y="48"/>
                  </a:cubicBezTo>
                  <a:cubicBezTo>
                    <a:pt x="363" y="49"/>
                    <a:pt x="363" y="49"/>
                    <a:pt x="363" y="49"/>
                  </a:cubicBezTo>
                  <a:cubicBezTo>
                    <a:pt x="363" y="51"/>
                    <a:pt x="363" y="51"/>
                    <a:pt x="363" y="51"/>
                  </a:cubicBezTo>
                  <a:cubicBezTo>
                    <a:pt x="362" y="51"/>
                    <a:pt x="362" y="51"/>
                    <a:pt x="362" y="51"/>
                  </a:cubicBezTo>
                  <a:cubicBezTo>
                    <a:pt x="362" y="52"/>
                    <a:pt x="362" y="52"/>
                    <a:pt x="362" y="52"/>
                  </a:cubicBezTo>
                  <a:cubicBezTo>
                    <a:pt x="363" y="53"/>
                    <a:pt x="363" y="53"/>
                    <a:pt x="363" y="53"/>
                  </a:cubicBezTo>
                  <a:cubicBezTo>
                    <a:pt x="363" y="53"/>
                    <a:pt x="363" y="53"/>
                    <a:pt x="363" y="53"/>
                  </a:cubicBezTo>
                  <a:cubicBezTo>
                    <a:pt x="363" y="53"/>
                    <a:pt x="363" y="53"/>
                    <a:pt x="363" y="53"/>
                  </a:cubicBezTo>
                  <a:cubicBezTo>
                    <a:pt x="364" y="52"/>
                    <a:pt x="364" y="52"/>
                    <a:pt x="364" y="52"/>
                  </a:cubicBezTo>
                  <a:cubicBezTo>
                    <a:pt x="365" y="52"/>
                    <a:pt x="365" y="52"/>
                    <a:pt x="365" y="52"/>
                  </a:cubicBezTo>
                  <a:cubicBezTo>
                    <a:pt x="365" y="52"/>
                    <a:pt x="365" y="52"/>
                    <a:pt x="365" y="52"/>
                  </a:cubicBezTo>
                  <a:cubicBezTo>
                    <a:pt x="366" y="52"/>
                    <a:pt x="366" y="52"/>
                    <a:pt x="366" y="52"/>
                  </a:cubicBezTo>
                  <a:cubicBezTo>
                    <a:pt x="367" y="52"/>
                    <a:pt x="367" y="52"/>
                    <a:pt x="367" y="52"/>
                  </a:cubicBezTo>
                  <a:cubicBezTo>
                    <a:pt x="367" y="52"/>
                    <a:pt x="367" y="52"/>
                    <a:pt x="367" y="52"/>
                  </a:cubicBezTo>
                  <a:cubicBezTo>
                    <a:pt x="367" y="53"/>
                    <a:pt x="367" y="53"/>
                    <a:pt x="367" y="53"/>
                  </a:cubicBezTo>
                  <a:cubicBezTo>
                    <a:pt x="367" y="53"/>
                    <a:pt x="367" y="53"/>
                    <a:pt x="367" y="53"/>
                  </a:cubicBezTo>
                  <a:cubicBezTo>
                    <a:pt x="367" y="54"/>
                    <a:pt x="367" y="54"/>
                    <a:pt x="367" y="54"/>
                  </a:cubicBezTo>
                  <a:cubicBezTo>
                    <a:pt x="367" y="54"/>
                    <a:pt x="367" y="54"/>
                    <a:pt x="367" y="54"/>
                  </a:cubicBezTo>
                  <a:cubicBezTo>
                    <a:pt x="366" y="55"/>
                    <a:pt x="366" y="55"/>
                    <a:pt x="366" y="55"/>
                  </a:cubicBezTo>
                  <a:cubicBezTo>
                    <a:pt x="365" y="55"/>
                    <a:pt x="365" y="55"/>
                    <a:pt x="365" y="55"/>
                  </a:cubicBezTo>
                  <a:cubicBezTo>
                    <a:pt x="365" y="55"/>
                    <a:pt x="365" y="55"/>
                    <a:pt x="365" y="55"/>
                  </a:cubicBezTo>
                  <a:cubicBezTo>
                    <a:pt x="364" y="55"/>
                    <a:pt x="364" y="55"/>
                    <a:pt x="364" y="55"/>
                  </a:cubicBezTo>
                  <a:cubicBezTo>
                    <a:pt x="364" y="55"/>
                    <a:pt x="364" y="55"/>
                    <a:pt x="364" y="55"/>
                  </a:cubicBezTo>
                  <a:cubicBezTo>
                    <a:pt x="363" y="55"/>
                    <a:pt x="363" y="55"/>
                    <a:pt x="363" y="55"/>
                  </a:cubicBezTo>
                  <a:cubicBezTo>
                    <a:pt x="363" y="56"/>
                    <a:pt x="363" y="56"/>
                    <a:pt x="363" y="56"/>
                  </a:cubicBezTo>
                  <a:cubicBezTo>
                    <a:pt x="362" y="57"/>
                    <a:pt x="362" y="57"/>
                    <a:pt x="362" y="57"/>
                  </a:cubicBezTo>
                  <a:cubicBezTo>
                    <a:pt x="362" y="57"/>
                    <a:pt x="362" y="57"/>
                    <a:pt x="362" y="57"/>
                  </a:cubicBezTo>
                  <a:cubicBezTo>
                    <a:pt x="362" y="58"/>
                    <a:pt x="362" y="58"/>
                    <a:pt x="362" y="58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1" y="59"/>
                    <a:pt x="361" y="59"/>
                    <a:pt x="361" y="59"/>
                  </a:cubicBezTo>
                  <a:cubicBezTo>
                    <a:pt x="361" y="60"/>
                    <a:pt x="361" y="60"/>
                    <a:pt x="361" y="60"/>
                  </a:cubicBezTo>
                  <a:cubicBezTo>
                    <a:pt x="361" y="60"/>
                    <a:pt x="361" y="60"/>
                    <a:pt x="361" y="60"/>
                  </a:cubicBezTo>
                  <a:cubicBezTo>
                    <a:pt x="361" y="61"/>
                    <a:pt x="361" y="61"/>
                    <a:pt x="361" y="61"/>
                  </a:cubicBezTo>
                  <a:cubicBezTo>
                    <a:pt x="361" y="62"/>
                    <a:pt x="361" y="62"/>
                    <a:pt x="361" y="62"/>
                  </a:cubicBezTo>
                  <a:cubicBezTo>
                    <a:pt x="361" y="62"/>
                    <a:pt x="361" y="62"/>
                    <a:pt x="361" y="62"/>
                  </a:cubicBezTo>
                  <a:cubicBezTo>
                    <a:pt x="362" y="62"/>
                    <a:pt x="362" y="62"/>
                    <a:pt x="362" y="62"/>
                  </a:cubicBezTo>
                  <a:cubicBezTo>
                    <a:pt x="362" y="62"/>
                    <a:pt x="362" y="62"/>
                    <a:pt x="362" y="62"/>
                  </a:cubicBezTo>
                  <a:cubicBezTo>
                    <a:pt x="363" y="62"/>
                    <a:pt x="363" y="62"/>
                    <a:pt x="363" y="62"/>
                  </a:cubicBezTo>
                  <a:cubicBezTo>
                    <a:pt x="363" y="62"/>
                    <a:pt x="363" y="62"/>
                    <a:pt x="363" y="62"/>
                  </a:cubicBezTo>
                  <a:cubicBezTo>
                    <a:pt x="364" y="63"/>
                    <a:pt x="364" y="63"/>
                    <a:pt x="364" y="63"/>
                  </a:cubicBezTo>
                  <a:cubicBezTo>
                    <a:pt x="365" y="63"/>
                    <a:pt x="365" y="63"/>
                    <a:pt x="365" y="63"/>
                  </a:cubicBezTo>
                  <a:cubicBezTo>
                    <a:pt x="365" y="64"/>
                    <a:pt x="365" y="64"/>
                    <a:pt x="365" y="64"/>
                  </a:cubicBezTo>
                  <a:cubicBezTo>
                    <a:pt x="365" y="64"/>
                    <a:pt x="365" y="64"/>
                    <a:pt x="365" y="64"/>
                  </a:cubicBezTo>
                  <a:cubicBezTo>
                    <a:pt x="365" y="64"/>
                    <a:pt x="365" y="64"/>
                    <a:pt x="365" y="64"/>
                  </a:cubicBezTo>
                  <a:cubicBezTo>
                    <a:pt x="364" y="65"/>
                    <a:pt x="364" y="65"/>
                    <a:pt x="364" y="65"/>
                  </a:cubicBezTo>
                  <a:cubicBezTo>
                    <a:pt x="364" y="65"/>
                    <a:pt x="364" y="65"/>
                    <a:pt x="364" y="65"/>
                  </a:cubicBezTo>
                  <a:cubicBezTo>
                    <a:pt x="364" y="65"/>
                    <a:pt x="364" y="65"/>
                    <a:pt x="364" y="65"/>
                  </a:cubicBezTo>
                  <a:cubicBezTo>
                    <a:pt x="363" y="65"/>
                    <a:pt x="363" y="65"/>
                    <a:pt x="363" y="65"/>
                  </a:cubicBezTo>
                  <a:cubicBezTo>
                    <a:pt x="363" y="66"/>
                    <a:pt x="363" y="66"/>
                    <a:pt x="363" y="66"/>
                  </a:cubicBezTo>
                  <a:cubicBezTo>
                    <a:pt x="363" y="66"/>
                    <a:pt x="363" y="66"/>
                    <a:pt x="363" y="66"/>
                  </a:cubicBezTo>
                  <a:cubicBezTo>
                    <a:pt x="363" y="66"/>
                    <a:pt x="363" y="66"/>
                    <a:pt x="363" y="66"/>
                  </a:cubicBezTo>
                  <a:cubicBezTo>
                    <a:pt x="363" y="68"/>
                    <a:pt x="363" y="68"/>
                    <a:pt x="363" y="68"/>
                  </a:cubicBezTo>
                  <a:cubicBezTo>
                    <a:pt x="363" y="69"/>
                    <a:pt x="363" y="69"/>
                    <a:pt x="363" y="69"/>
                  </a:cubicBezTo>
                  <a:cubicBezTo>
                    <a:pt x="363" y="70"/>
                    <a:pt x="363" y="70"/>
                    <a:pt x="363" y="70"/>
                  </a:cubicBezTo>
                  <a:cubicBezTo>
                    <a:pt x="362" y="70"/>
                    <a:pt x="362" y="70"/>
                    <a:pt x="362" y="70"/>
                  </a:cubicBezTo>
                  <a:cubicBezTo>
                    <a:pt x="362" y="70"/>
                    <a:pt x="362" y="70"/>
                    <a:pt x="362" y="70"/>
                  </a:cubicBezTo>
                  <a:cubicBezTo>
                    <a:pt x="361" y="71"/>
                    <a:pt x="361" y="71"/>
                    <a:pt x="361" y="71"/>
                  </a:cubicBezTo>
                  <a:cubicBezTo>
                    <a:pt x="361" y="71"/>
                    <a:pt x="361" y="71"/>
                    <a:pt x="361" y="71"/>
                  </a:cubicBezTo>
                  <a:cubicBezTo>
                    <a:pt x="360" y="70"/>
                    <a:pt x="360" y="70"/>
                    <a:pt x="360" y="70"/>
                  </a:cubicBezTo>
                  <a:cubicBezTo>
                    <a:pt x="360" y="70"/>
                    <a:pt x="360" y="70"/>
                    <a:pt x="360" y="70"/>
                  </a:cubicBezTo>
                  <a:cubicBezTo>
                    <a:pt x="359" y="70"/>
                    <a:pt x="359" y="70"/>
                    <a:pt x="359" y="70"/>
                  </a:cubicBezTo>
                  <a:cubicBezTo>
                    <a:pt x="359" y="70"/>
                    <a:pt x="359" y="70"/>
                    <a:pt x="359" y="70"/>
                  </a:cubicBezTo>
                  <a:cubicBezTo>
                    <a:pt x="358" y="71"/>
                    <a:pt x="358" y="71"/>
                    <a:pt x="358" y="71"/>
                  </a:cubicBezTo>
                  <a:cubicBezTo>
                    <a:pt x="358" y="71"/>
                    <a:pt x="358" y="71"/>
                    <a:pt x="358" y="71"/>
                  </a:cubicBezTo>
                  <a:cubicBezTo>
                    <a:pt x="358" y="72"/>
                    <a:pt x="358" y="72"/>
                    <a:pt x="358" y="72"/>
                  </a:cubicBezTo>
                  <a:cubicBezTo>
                    <a:pt x="358" y="72"/>
                    <a:pt x="358" y="72"/>
                    <a:pt x="358" y="72"/>
                  </a:cubicBezTo>
                  <a:cubicBezTo>
                    <a:pt x="357" y="73"/>
                    <a:pt x="357" y="73"/>
                    <a:pt x="357" y="73"/>
                  </a:cubicBezTo>
                  <a:cubicBezTo>
                    <a:pt x="357" y="73"/>
                    <a:pt x="357" y="73"/>
                    <a:pt x="357" y="73"/>
                  </a:cubicBezTo>
                  <a:cubicBezTo>
                    <a:pt x="356" y="73"/>
                    <a:pt x="356" y="73"/>
                    <a:pt x="356" y="73"/>
                  </a:cubicBezTo>
                  <a:cubicBezTo>
                    <a:pt x="356" y="73"/>
                    <a:pt x="356" y="73"/>
                    <a:pt x="356" y="73"/>
                  </a:cubicBezTo>
                  <a:cubicBezTo>
                    <a:pt x="355" y="73"/>
                    <a:pt x="355" y="73"/>
                    <a:pt x="355" y="73"/>
                  </a:cubicBezTo>
                  <a:cubicBezTo>
                    <a:pt x="354" y="73"/>
                    <a:pt x="354" y="73"/>
                    <a:pt x="354" y="73"/>
                  </a:cubicBezTo>
                  <a:cubicBezTo>
                    <a:pt x="354" y="73"/>
                    <a:pt x="354" y="73"/>
                    <a:pt x="354" y="73"/>
                  </a:cubicBezTo>
                  <a:cubicBezTo>
                    <a:pt x="353" y="72"/>
                    <a:pt x="353" y="72"/>
                    <a:pt x="353" y="72"/>
                  </a:cubicBezTo>
                  <a:cubicBezTo>
                    <a:pt x="352" y="73"/>
                    <a:pt x="352" y="73"/>
                    <a:pt x="352" y="73"/>
                  </a:cubicBezTo>
                  <a:cubicBezTo>
                    <a:pt x="352" y="72"/>
                    <a:pt x="352" y="72"/>
                    <a:pt x="352" y="72"/>
                  </a:cubicBezTo>
                  <a:cubicBezTo>
                    <a:pt x="352" y="72"/>
                    <a:pt x="352" y="72"/>
                    <a:pt x="352" y="72"/>
                  </a:cubicBezTo>
                  <a:cubicBezTo>
                    <a:pt x="352" y="72"/>
                    <a:pt x="352" y="72"/>
                    <a:pt x="352" y="72"/>
                  </a:cubicBezTo>
                  <a:cubicBezTo>
                    <a:pt x="352" y="71"/>
                    <a:pt x="352" y="71"/>
                    <a:pt x="352" y="71"/>
                  </a:cubicBezTo>
                  <a:cubicBezTo>
                    <a:pt x="352" y="71"/>
                    <a:pt x="352" y="71"/>
                    <a:pt x="352" y="71"/>
                  </a:cubicBezTo>
                  <a:cubicBezTo>
                    <a:pt x="351" y="70"/>
                    <a:pt x="351" y="70"/>
                    <a:pt x="351" y="70"/>
                  </a:cubicBezTo>
                  <a:cubicBezTo>
                    <a:pt x="351" y="70"/>
                    <a:pt x="351" y="70"/>
                    <a:pt x="351" y="70"/>
                  </a:cubicBezTo>
                  <a:cubicBezTo>
                    <a:pt x="350" y="70"/>
                    <a:pt x="350" y="70"/>
                    <a:pt x="350" y="70"/>
                  </a:cubicBezTo>
                  <a:cubicBezTo>
                    <a:pt x="350" y="70"/>
                    <a:pt x="350" y="70"/>
                    <a:pt x="350" y="70"/>
                  </a:cubicBezTo>
                  <a:cubicBezTo>
                    <a:pt x="349" y="69"/>
                    <a:pt x="349" y="69"/>
                    <a:pt x="349" y="69"/>
                  </a:cubicBezTo>
                  <a:cubicBezTo>
                    <a:pt x="349" y="69"/>
                    <a:pt x="349" y="69"/>
                    <a:pt x="349" y="69"/>
                  </a:cubicBezTo>
                  <a:cubicBezTo>
                    <a:pt x="348" y="69"/>
                    <a:pt x="348" y="69"/>
                    <a:pt x="348" y="69"/>
                  </a:cubicBezTo>
                  <a:cubicBezTo>
                    <a:pt x="348" y="69"/>
                    <a:pt x="348" y="69"/>
                    <a:pt x="348" y="69"/>
                  </a:cubicBezTo>
                  <a:cubicBezTo>
                    <a:pt x="347" y="69"/>
                    <a:pt x="347" y="69"/>
                    <a:pt x="347" y="69"/>
                  </a:cubicBezTo>
                  <a:cubicBezTo>
                    <a:pt x="346" y="70"/>
                    <a:pt x="346" y="70"/>
                    <a:pt x="346" y="70"/>
                  </a:cubicBezTo>
                  <a:cubicBezTo>
                    <a:pt x="346" y="70"/>
                    <a:pt x="346" y="70"/>
                    <a:pt x="346" y="70"/>
                  </a:cubicBezTo>
                  <a:cubicBezTo>
                    <a:pt x="345" y="71"/>
                    <a:pt x="345" y="71"/>
                    <a:pt x="345" y="71"/>
                  </a:cubicBezTo>
                  <a:cubicBezTo>
                    <a:pt x="344" y="71"/>
                    <a:pt x="344" y="71"/>
                    <a:pt x="344" y="71"/>
                  </a:cubicBezTo>
                  <a:cubicBezTo>
                    <a:pt x="343" y="71"/>
                    <a:pt x="343" y="71"/>
                    <a:pt x="343" y="71"/>
                  </a:cubicBezTo>
                  <a:cubicBezTo>
                    <a:pt x="341" y="71"/>
                    <a:pt x="341" y="71"/>
                    <a:pt x="341" y="71"/>
                  </a:cubicBezTo>
                  <a:cubicBezTo>
                    <a:pt x="341" y="72"/>
                    <a:pt x="341" y="72"/>
                    <a:pt x="341" y="72"/>
                  </a:cubicBezTo>
                  <a:cubicBezTo>
                    <a:pt x="340" y="72"/>
                    <a:pt x="340" y="72"/>
                    <a:pt x="340" y="72"/>
                  </a:cubicBezTo>
                  <a:cubicBezTo>
                    <a:pt x="338" y="73"/>
                    <a:pt x="338" y="73"/>
                    <a:pt x="338" y="73"/>
                  </a:cubicBezTo>
                  <a:cubicBezTo>
                    <a:pt x="337" y="73"/>
                    <a:pt x="337" y="73"/>
                    <a:pt x="337" y="73"/>
                  </a:cubicBezTo>
                  <a:cubicBezTo>
                    <a:pt x="336" y="74"/>
                    <a:pt x="336" y="74"/>
                    <a:pt x="336" y="74"/>
                  </a:cubicBezTo>
                  <a:cubicBezTo>
                    <a:pt x="335" y="74"/>
                    <a:pt x="335" y="74"/>
                    <a:pt x="335" y="74"/>
                  </a:cubicBezTo>
                  <a:cubicBezTo>
                    <a:pt x="334" y="75"/>
                    <a:pt x="334" y="75"/>
                    <a:pt x="334" y="75"/>
                  </a:cubicBezTo>
                  <a:cubicBezTo>
                    <a:pt x="333" y="76"/>
                    <a:pt x="333" y="76"/>
                    <a:pt x="333" y="76"/>
                  </a:cubicBezTo>
                  <a:cubicBezTo>
                    <a:pt x="333" y="77"/>
                    <a:pt x="333" y="77"/>
                    <a:pt x="333" y="77"/>
                  </a:cubicBezTo>
                  <a:cubicBezTo>
                    <a:pt x="330" y="79"/>
                    <a:pt x="330" y="79"/>
                    <a:pt x="330" y="79"/>
                  </a:cubicBezTo>
                  <a:cubicBezTo>
                    <a:pt x="329" y="80"/>
                    <a:pt x="329" y="80"/>
                    <a:pt x="329" y="80"/>
                  </a:cubicBezTo>
                  <a:cubicBezTo>
                    <a:pt x="328" y="81"/>
                    <a:pt x="328" y="81"/>
                    <a:pt x="328" y="81"/>
                  </a:cubicBezTo>
                  <a:cubicBezTo>
                    <a:pt x="327" y="81"/>
                    <a:pt x="327" y="81"/>
                    <a:pt x="327" y="81"/>
                  </a:cubicBezTo>
                  <a:cubicBezTo>
                    <a:pt x="325" y="81"/>
                    <a:pt x="325" y="81"/>
                    <a:pt x="325" y="81"/>
                  </a:cubicBezTo>
                  <a:cubicBezTo>
                    <a:pt x="324" y="82"/>
                    <a:pt x="324" y="82"/>
                    <a:pt x="324" y="82"/>
                  </a:cubicBezTo>
                  <a:cubicBezTo>
                    <a:pt x="323" y="82"/>
                    <a:pt x="323" y="82"/>
                    <a:pt x="323" y="82"/>
                  </a:cubicBezTo>
                  <a:cubicBezTo>
                    <a:pt x="322" y="82"/>
                    <a:pt x="322" y="82"/>
                    <a:pt x="322" y="82"/>
                  </a:cubicBezTo>
                  <a:cubicBezTo>
                    <a:pt x="322" y="82"/>
                    <a:pt x="322" y="82"/>
                    <a:pt x="322" y="83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323" y="83"/>
                    <a:pt x="323" y="83"/>
                    <a:pt x="323" y="83"/>
                  </a:cubicBezTo>
                  <a:cubicBezTo>
                    <a:pt x="324" y="83"/>
                    <a:pt x="324" y="83"/>
                    <a:pt x="324" y="83"/>
                  </a:cubicBezTo>
                  <a:cubicBezTo>
                    <a:pt x="325" y="83"/>
                    <a:pt x="325" y="83"/>
                    <a:pt x="325" y="83"/>
                  </a:cubicBezTo>
                  <a:cubicBezTo>
                    <a:pt x="326" y="82"/>
                    <a:pt x="326" y="82"/>
                    <a:pt x="326" y="82"/>
                  </a:cubicBezTo>
                  <a:cubicBezTo>
                    <a:pt x="327" y="86"/>
                    <a:pt x="327" y="86"/>
                    <a:pt x="327" y="86"/>
                  </a:cubicBezTo>
                  <a:cubicBezTo>
                    <a:pt x="327" y="88"/>
                    <a:pt x="327" y="88"/>
                    <a:pt x="327" y="88"/>
                  </a:cubicBezTo>
                  <a:cubicBezTo>
                    <a:pt x="325" y="89"/>
                    <a:pt x="325" y="89"/>
                    <a:pt x="325" y="89"/>
                  </a:cubicBezTo>
                  <a:cubicBezTo>
                    <a:pt x="322" y="91"/>
                    <a:pt x="322" y="91"/>
                    <a:pt x="322" y="91"/>
                  </a:cubicBezTo>
                  <a:cubicBezTo>
                    <a:pt x="320" y="93"/>
                    <a:pt x="320" y="93"/>
                    <a:pt x="320" y="93"/>
                  </a:cubicBezTo>
                  <a:cubicBezTo>
                    <a:pt x="319" y="94"/>
                    <a:pt x="319" y="94"/>
                    <a:pt x="319" y="94"/>
                  </a:cubicBezTo>
                  <a:cubicBezTo>
                    <a:pt x="318" y="95"/>
                    <a:pt x="318" y="95"/>
                    <a:pt x="318" y="95"/>
                  </a:cubicBezTo>
                  <a:cubicBezTo>
                    <a:pt x="316" y="95"/>
                    <a:pt x="316" y="95"/>
                    <a:pt x="316" y="95"/>
                  </a:cubicBezTo>
                  <a:cubicBezTo>
                    <a:pt x="315" y="96"/>
                    <a:pt x="315" y="96"/>
                    <a:pt x="315" y="96"/>
                  </a:cubicBezTo>
                  <a:cubicBezTo>
                    <a:pt x="313" y="98"/>
                    <a:pt x="313" y="98"/>
                    <a:pt x="313" y="98"/>
                  </a:cubicBezTo>
                  <a:cubicBezTo>
                    <a:pt x="312" y="99"/>
                    <a:pt x="312" y="99"/>
                    <a:pt x="312" y="99"/>
                  </a:cubicBezTo>
                  <a:cubicBezTo>
                    <a:pt x="312" y="102"/>
                    <a:pt x="312" y="102"/>
                    <a:pt x="312" y="102"/>
                  </a:cubicBezTo>
                  <a:cubicBezTo>
                    <a:pt x="311" y="105"/>
                    <a:pt x="311" y="105"/>
                    <a:pt x="311" y="105"/>
                  </a:cubicBezTo>
                  <a:cubicBezTo>
                    <a:pt x="310" y="107"/>
                    <a:pt x="310" y="107"/>
                    <a:pt x="310" y="107"/>
                  </a:cubicBezTo>
                  <a:cubicBezTo>
                    <a:pt x="310" y="110"/>
                    <a:pt x="310" y="110"/>
                    <a:pt x="310" y="110"/>
                  </a:cubicBezTo>
                  <a:cubicBezTo>
                    <a:pt x="309" y="111"/>
                    <a:pt x="309" y="111"/>
                    <a:pt x="309" y="111"/>
                  </a:cubicBezTo>
                  <a:cubicBezTo>
                    <a:pt x="307" y="112"/>
                    <a:pt x="307" y="112"/>
                    <a:pt x="307" y="112"/>
                  </a:cubicBezTo>
                  <a:cubicBezTo>
                    <a:pt x="305" y="112"/>
                    <a:pt x="305" y="112"/>
                    <a:pt x="305" y="112"/>
                  </a:cubicBezTo>
                  <a:cubicBezTo>
                    <a:pt x="303" y="110"/>
                    <a:pt x="303" y="110"/>
                    <a:pt x="303" y="110"/>
                  </a:cubicBezTo>
                  <a:cubicBezTo>
                    <a:pt x="302" y="113"/>
                    <a:pt x="302" y="113"/>
                    <a:pt x="302" y="113"/>
                  </a:cubicBezTo>
                  <a:cubicBezTo>
                    <a:pt x="300" y="115"/>
                    <a:pt x="300" y="115"/>
                    <a:pt x="300" y="115"/>
                  </a:cubicBezTo>
                  <a:cubicBezTo>
                    <a:pt x="298" y="117"/>
                    <a:pt x="298" y="117"/>
                    <a:pt x="298" y="117"/>
                  </a:cubicBezTo>
                  <a:cubicBezTo>
                    <a:pt x="295" y="118"/>
                    <a:pt x="295" y="118"/>
                    <a:pt x="295" y="118"/>
                  </a:cubicBezTo>
                  <a:cubicBezTo>
                    <a:pt x="291" y="117"/>
                    <a:pt x="291" y="117"/>
                    <a:pt x="291" y="117"/>
                  </a:cubicBezTo>
                  <a:cubicBezTo>
                    <a:pt x="290" y="119"/>
                    <a:pt x="290" y="119"/>
                    <a:pt x="290" y="119"/>
                  </a:cubicBezTo>
                  <a:cubicBezTo>
                    <a:pt x="287" y="121"/>
                    <a:pt x="287" y="121"/>
                    <a:pt x="287" y="121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83" y="123"/>
                    <a:pt x="283" y="123"/>
                    <a:pt x="283" y="123"/>
                  </a:cubicBezTo>
                  <a:cubicBezTo>
                    <a:pt x="281" y="127"/>
                    <a:pt x="281" y="127"/>
                    <a:pt x="281" y="127"/>
                  </a:cubicBezTo>
                  <a:cubicBezTo>
                    <a:pt x="280" y="127"/>
                    <a:pt x="280" y="127"/>
                    <a:pt x="280" y="127"/>
                  </a:cubicBezTo>
                  <a:cubicBezTo>
                    <a:pt x="275" y="128"/>
                    <a:pt x="275" y="128"/>
                    <a:pt x="275" y="128"/>
                  </a:cubicBezTo>
                  <a:cubicBezTo>
                    <a:pt x="274" y="128"/>
                    <a:pt x="274" y="128"/>
                    <a:pt x="274" y="128"/>
                  </a:cubicBezTo>
                  <a:cubicBezTo>
                    <a:pt x="272" y="128"/>
                    <a:pt x="272" y="128"/>
                    <a:pt x="272" y="128"/>
                  </a:cubicBezTo>
                  <a:cubicBezTo>
                    <a:pt x="270" y="130"/>
                    <a:pt x="270" y="130"/>
                    <a:pt x="270" y="130"/>
                  </a:cubicBezTo>
                  <a:cubicBezTo>
                    <a:pt x="269" y="129"/>
                    <a:pt x="269" y="129"/>
                    <a:pt x="269" y="129"/>
                  </a:cubicBezTo>
                  <a:cubicBezTo>
                    <a:pt x="268" y="127"/>
                    <a:pt x="268" y="127"/>
                    <a:pt x="268" y="127"/>
                  </a:cubicBezTo>
                  <a:cubicBezTo>
                    <a:pt x="266" y="129"/>
                    <a:pt x="266" y="129"/>
                    <a:pt x="266" y="129"/>
                  </a:cubicBezTo>
                  <a:cubicBezTo>
                    <a:pt x="264" y="132"/>
                    <a:pt x="264" y="132"/>
                    <a:pt x="264" y="132"/>
                  </a:cubicBezTo>
                  <a:cubicBezTo>
                    <a:pt x="263" y="133"/>
                    <a:pt x="263" y="133"/>
                    <a:pt x="263" y="133"/>
                  </a:cubicBezTo>
                  <a:cubicBezTo>
                    <a:pt x="262" y="134"/>
                    <a:pt x="262" y="134"/>
                    <a:pt x="262" y="134"/>
                  </a:cubicBezTo>
                  <a:cubicBezTo>
                    <a:pt x="263" y="136"/>
                    <a:pt x="263" y="136"/>
                    <a:pt x="263" y="136"/>
                  </a:cubicBezTo>
                  <a:cubicBezTo>
                    <a:pt x="264" y="138"/>
                    <a:pt x="264" y="138"/>
                    <a:pt x="264" y="138"/>
                  </a:cubicBezTo>
                  <a:cubicBezTo>
                    <a:pt x="265" y="138"/>
                    <a:pt x="265" y="138"/>
                    <a:pt x="265" y="138"/>
                  </a:cubicBezTo>
                  <a:cubicBezTo>
                    <a:pt x="263" y="140"/>
                    <a:pt x="263" y="140"/>
                    <a:pt x="263" y="140"/>
                  </a:cubicBezTo>
                  <a:cubicBezTo>
                    <a:pt x="262" y="138"/>
                    <a:pt x="262" y="138"/>
                    <a:pt x="262" y="138"/>
                  </a:cubicBezTo>
                  <a:cubicBezTo>
                    <a:pt x="258" y="139"/>
                    <a:pt x="258" y="139"/>
                    <a:pt x="258" y="139"/>
                  </a:cubicBezTo>
                  <a:cubicBezTo>
                    <a:pt x="255" y="137"/>
                    <a:pt x="255" y="137"/>
                    <a:pt x="255" y="137"/>
                  </a:cubicBezTo>
                  <a:cubicBezTo>
                    <a:pt x="252" y="138"/>
                    <a:pt x="252" y="138"/>
                    <a:pt x="252" y="138"/>
                  </a:cubicBezTo>
                  <a:cubicBezTo>
                    <a:pt x="251" y="137"/>
                    <a:pt x="251" y="137"/>
                    <a:pt x="251" y="137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47" y="136"/>
                    <a:pt x="247" y="136"/>
                    <a:pt x="247" y="136"/>
                  </a:cubicBezTo>
                  <a:cubicBezTo>
                    <a:pt x="246" y="134"/>
                    <a:pt x="246" y="134"/>
                    <a:pt x="246" y="134"/>
                  </a:cubicBezTo>
                  <a:cubicBezTo>
                    <a:pt x="243" y="132"/>
                    <a:pt x="243" y="132"/>
                    <a:pt x="243" y="132"/>
                  </a:cubicBezTo>
                  <a:cubicBezTo>
                    <a:pt x="241" y="133"/>
                    <a:pt x="241" y="133"/>
                    <a:pt x="241" y="133"/>
                  </a:cubicBezTo>
                  <a:cubicBezTo>
                    <a:pt x="238" y="137"/>
                    <a:pt x="238" y="137"/>
                    <a:pt x="238" y="137"/>
                  </a:cubicBezTo>
                  <a:cubicBezTo>
                    <a:pt x="237" y="139"/>
                    <a:pt x="237" y="139"/>
                    <a:pt x="237" y="139"/>
                  </a:cubicBezTo>
                  <a:cubicBezTo>
                    <a:pt x="235" y="138"/>
                    <a:pt x="235" y="138"/>
                    <a:pt x="235" y="138"/>
                  </a:cubicBezTo>
                  <a:cubicBezTo>
                    <a:pt x="232" y="137"/>
                    <a:pt x="232" y="137"/>
                    <a:pt x="232" y="137"/>
                  </a:cubicBezTo>
                  <a:cubicBezTo>
                    <a:pt x="232" y="140"/>
                    <a:pt x="232" y="140"/>
                    <a:pt x="232" y="140"/>
                  </a:cubicBezTo>
                  <a:cubicBezTo>
                    <a:pt x="232" y="142"/>
                    <a:pt x="232" y="142"/>
                    <a:pt x="232" y="142"/>
                  </a:cubicBezTo>
                  <a:cubicBezTo>
                    <a:pt x="237" y="142"/>
                    <a:pt x="237" y="142"/>
                    <a:pt x="237" y="142"/>
                  </a:cubicBezTo>
                  <a:cubicBezTo>
                    <a:pt x="237" y="146"/>
                    <a:pt x="237" y="146"/>
                    <a:pt x="237" y="146"/>
                  </a:cubicBezTo>
                  <a:cubicBezTo>
                    <a:pt x="238" y="146"/>
                    <a:pt x="238" y="146"/>
                    <a:pt x="238" y="146"/>
                  </a:cubicBezTo>
                  <a:cubicBezTo>
                    <a:pt x="243" y="146"/>
                    <a:pt x="243" y="146"/>
                    <a:pt x="243" y="146"/>
                  </a:cubicBezTo>
                  <a:cubicBezTo>
                    <a:pt x="244" y="149"/>
                    <a:pt x="244" y="149"/>
                    <a:pt x="244" y="149"/>
                  </a:cubicBezTo>
                  <a:cubicBezTo>
                    <a:pt x="245" y="152"/>
                    <a:pt x="245" y="152"/>
                    <a:pt x="245" y="152"/>
                  </a:cubicBezTo>
                  <a:cubicBezTo>
                    <a:pt x="243" y="153"/>
                    <a:pt x="243" y="153"/>
                    <a:pt x="243" y="153"/>
                  </a:cubicBezTo>
                  <a:cubicBezTo>
                    <a:pt x="244" y="155"/>
                    <a:pt x="244" y="155"/>
                    <a:pt x="244" y="155"/>
                  </a:cubicBezTo>
                  <a:cubicBezTo>
                    <a:pt x="242" y="157"/>
                    <a:pt x="242" y="157"/>
                    <a:pt x="242" y="157"/>
                  </a:cubicBezTo>
                  <a:cubicBezTo>
                    <a:pt x="238" y="157"/>
                    <a:pt x="238" y="157"/>
                    <a:pt x="238" y="157"/>
                  </a:cubicBezTo>
                  <a:cubicBezTo>
                    <a:pt x="236" y="155"/>
                    <a:pt x="236" y="155"/>
                    <a:pt x="236" y="155"/>
                  </a:cubicBezTo>
                  <a:cubicBezTo>
                    <a:pt x="236" y="153"/>
                    <a:pt x="236" y="153"/>
                    <a:pt x="236" y="153"/>
                  </a:cubicBezTo>
                  <a:cubicBezTo>
                    <a:pt x="233" y="152"/>
                    <a:pt x="233" y="152"/>
                    <a:pt x="233" y="152"/>
                  </a:cubicBezTo>
                  <a:cubicBezTo>
                    <a:pt x="231" y="154"/>
                    <a:pt x="231" y="154"/>
                    <a:pt x="231" y="154"/>
                  </a:cubicBezTo>
                  <a:cubicBezTo>
                    <a:pt x="229" y="153"/>
                    <a:pt x="229" y="153"/>
                    <a:pt x="229" y="153"/>
                  </a:cubicBezTo>
                  <a:cubicBezTo>
                    <a:pt x="229" y="151"/>
                    <a:pt x="229" y="151"/>
                    <a:pt x="229" y="151"/>
                  </a:cubicBezTo>
                  <a:cubicBezTo>
                    <a:pt x="230" y="149"/>
                    <a:pt x="230" y="149"/>
                    <a:pt x="230" y="149"/>
                  </a:cubicBezTo>
                  <a:cubicBezTo>
                    <a:pt x="229" y="148"/>
                    <a:pt x="229" y="148"/>
                    <a:pt x="229" y="148"/>
                  </a:cubicBezTo>
                  <a:cubicBezTo>
                    <a:pt x="226" y="144"/>
                    <a:pt x="226" y="144"/>
                    <a:pt x="226" y="144"/>
                  </a:cubicBezTo>
                  <a:cubicBezTo>
                    <a:pt x="225" y="142"/>
                    <a:pt x="225" y="142"/>
                    <a:pt x="225" y="142"/>
                  </a:cubicBezTo>
                  <a:cubicBezTo>
                    <a:pt x="218" y="140"/>
                    <a:pt x="218" y="140"/>
                    <a:pt x="218" y="140"/>
                  </a:cubicBezTo>
                  <a:cubicBezTo>
                    <a:pt x="217" y="143"/>
                    <a:pt x="217" y="143"/>
                    <a:pt x="217" y="143"/>
                  </a:cubicBezTo>
                  <a:cubicBezTo>
                    <a:pt x="213" y="143"/>
                    <a:pt x="213" y="143"/>
                    <a:pt x="213" y="143"/>
                  </a:cubicBezTo>
                  <a:cubicBezTo>
                    <a:pt x="213" y="144"/>
                    <a:pt x="213" y="144"/>
                    <a:pt x="213" y="144"/>
                  </a:cubicBezTo>
                  <a:cubicBezTo>
                    <a:pt x="211" y="146"/>
                    <a:pt x="211" y="146"/>
                    <a:pt x="211" y="146"/>
                  </a:cubicBezTo>
                  <a:cubicBezTo>
                    <a:pt x="210" y="149"/>
                    <a:pt x="210" y="149"/>
                    <a:pt x="210" y="149"/>
                  </a:cubicBezTo>
                  <a:cubicBezTo>
                    <a:pt x="210" y="153"/>
                    <a:pt x="210" y="153"/>
                    <a:pt x="210" y="153"/>
                  </a:cubicBezTo>
                  <a:cubicBezTo>
                    <a:pt x="212" y="155"/>
                    <a:pt x="212" y="155"/>
                    <a:pt x="212" y="155"/>
                  </a:cubicBezTo>
                  <a:cubicBezTo>
                    <a:pt x="212" y="156"/>
                    <a:pt x="212" y="156"/>
                    <a:pt x="212" y="156"/>
                  </a:cubicBezTo>
                  <a:cubicBezTo>
                    <a:pt x="213" y="156"/>
                    <a:pt x="213" y="156"/>
                    <a:pt x="213" y="156"/>
                  </a:cubicBezTo>
                  <a:cubicBezTo>
                    <a:pt x="210" y="159"/>
                    <a:pt x="210" y="159"/>
                    <a:pt x="210" y="159"/>
                  </a:cubicBezTo>
                  <a:cubicBezTo>
                    <a:pt x="208" y="163"/>
                    <a:pt x="208" y="163"/>
                    <a:pt x="208" y="163"/>
                  </a:cubicBezTo>
                  <a:cubicBezTo>
                    <a:pt x="206" y="166"/>
                    <a:pt x="206" y="166"/>
                    <a:pt x="206" y="166"/>
                  </a:cubicBezTo>
                  <a:cubicBezTo>
                    <a:pt x="203" y="166"/>
                    <a:pt x="203" y="166"/>
                    <a:pt x="203" y="166"/>
                  </a:cubicBezTo>
                  <a:cubicBezTo>
                    <a:pt x="201" y="163"/>
                    <a:pt x="201" y="163"/>
                    <a:pt x="201" y="163"/>
                  </a:cubicBezTo>
                  <a:cubicBezTo>
                    <a:pt x="197" y="162"/>
                    <a:pt x="197" y="162"/>
                    <a:pt x="197" y="162"/>
                  </a:cubicBezTo>
                  <a:cubicBezTo>
                    <a:pt x="195" y="160"/>
                    <a:pt x="195" y="160"/>
                    <a:pt x="195" y="160"/>
                  </a:cubicBezTo>
                  <a:cubicBezTo>
                    <a:pt x="192" y="161"/>
                    <a:pt x="192" y="161"/>
                    <a:pt x="192" y="161"/>
                  </a:cubicBezTo>
                  <a:cubicBezTo>
                    <a:pt x="189" y="162"/>
                    <a:pt x="189" y="162"/>
                    <a:pt x="189" y="162"/>
                  </a:cubicBezTo>
                  <a:cubicBezTo>
                    <a:pt x="186" y="165"/>
                    <a:pt x="186" y="165"/>
                    <a:pt x="186" y="165"/>
                  </a:cubicBezTo>
                  <a:cubicBezTo>
                    <a:pt x="183" y="166"/>
                    <a:pt x="183" y="166"/>
                    <a:pt x="183" y="166"/>
                  </a:cubicBezTo>
                  <a:cubicBezTo>
                    <a:pt x="179" y="166"/>
                    <a:pt x="179" y="166"/>
                    <a:pt x="179" y="166"/>
                  </a:cubicBezTo>
                  <a:cubicBezTo>
                    <a:pt x="178" y="168"/>
                    <a:pt x="178" y="168"/>
                    <a:pt x="178" y="168"/>
                  </a:cubicBezTo>
                  <a:cubicBezTo>
                    <a:pt x="176" y="169"/>
                    <a:pt x="176" y="169"/>
                    <a:pt x="176" y="169"/>
                  </a:cubicBezTo>
                  <a:cubicBezTo>
                    <a:pt x="173" y="169"/>
                    <a:pt x="173" y="169"/>
                    <a:pt x="173" y="169"/>
                  </a:cubicBezTo>
                  <a:cubicBezTo>
                    <a:pt x="168" y="170"/>
                    <a:pt x="168" y="170"/>
                    <a:pt x="168" y="170"/>
                  </a:cubicBezTo>
                  <a:cubicBezTo>
                    <a:pt x="165" y="171"/>
                    <a:pt x="165" y="171"/>
                    <a:pt x="165" y="171"/>
                  </a:cubicBezTo>
                  <a:cubicBezTo>
                    <a:pt x="162" y="171"/>
                    <a:pt x="162" y="171"/>
                    <a:pt x="162" y="171"/>
                  </a:cubicBezTo>
                  <a:cubicBezTo>
                    <a:pt x="158" y="172"/>
                    <a:pt x="158" y="172"/>
                    <a:pt x="158" y="172"/>
                  </a:cubicBezTo>
                  <a:cubicBezTo>
                    <a:pt x="157" y="173"/>
                    <a:pt x="157" y="173"/>
                    <a:pt x="157" y="173"/>
                  </a:cubicBezTo>
                  <a:cubicBezTo>
                    <a:pt x="157" y="176"/>
                    <a:pt x="157" y="176"/>
                    <a:pt x="157" y="176"/>
                  </a:cubicBezTo>
                  <a:cubicBezTo>
                    <a:pt x="155" y="179"/>
                    <a:pt x="155" y="179"/>
                    <a:pt x="155" y="179"/>
                  </a:cubicBezTo>
                  <a:cubicBezTo>
                    <a:pt x="157" y="182"/>
                    <a:pt x="157" y="182"/>
                    <a:pt x="157" y="182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7" y="184"/>
                    <a:pt x="157" y="184"/>
                    <a:pt x="157" y="184"/>
                  </a:cubicBezTo>
                  <a:cubicBezTo>
                    <a:pt x="156" y="185"/>
                    <a:pt x="156" y="185"/>
                    <a:pt x="156" y="185"/>
                  </a:cubicBezTo>
                  <a:cubicBezTo>
                    <a:pt x="160" y="188"/>
                    <a:pt x="160" y="188"/>
                    <a:pt x="160" y="188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5" y="193"/>
                    <a:pt x="155" y="193"/>
                    <a:pt x="155" y="193"/>
                  </a:cubicBezTo>
                  <a:cubicBezTo>
                    <a:pt x="153" y="193"/>
                    <a:pt x="153" y="193"/>
                    <a:pt x="153" y="193"/>
                  </a:cubicBezTo>
                  <a:cubicBezTo>
                    <a:pt x="150" y="194"/>
                    <a:pt x="150" y="194"/>
                    <a:pt x="150" y="194"/>
                  </a:cubicBezTo>
                  <a:cubicBezTo>
                    <a:pt x="145" y="194"/>
                    <a:pt x="145" y="194"/>
                    <a:pt x="145" y="194"/>
                  </a:cubicBezTo>
                  <a:cubicBezTo>
                    <a:pt x="142" y="194"/>
                    <a:pt x="142" y="194"/>
                    <a:pt x="142" y="194"/>
                  </a:cubicBezTo>
                  <a:cubicBezTo>
                    <a:pt x="139" y="197"/>
                    <a:pt x="139" y="197"/>
                    <a:pt x="139" y="197"/>
                  </a:cubicBezTo>
                  <a:cubicBezTo>
                    <a:pt x="139" y="200"/>
                    <a:pt x="139" y="200"/>
                    <a:pt x="139" y="200"/>
                  </a:cubicBezTo>
                  <a:cubicBezTo>
                    <a:pt x="138" y="201"/>
                    <a:pt x="138" y="201"/>
                    <a:pt x="138" y="20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4" y="200"/>
                    <a:pt x="134" y="200"/>
                    <a:pt x="134" y="200"/>
                  </a:cubicBezTo>
                  <a:cubicBezTo>
                    <a:pt x="134" y="203"/>
                    <a:pt x="134" y="203"/>
                    <a:pt x="134" y="203"/>
                  </a:cubicBezTo>
                  <a:cubicBezTo>
                    <a:pt x="132" y="206"/>
                    <a:pt x="132" y="206"/>
                    <a:pt x="132" y="206"/>
                  </a:cubicBezTo>
                  <a:cubicBezTo>
                    <a:pt x="127" y="206"/>
                    <a:pt x="127" y="206"/>
                    <a:pt x="127" y="206"/>
                  </a:cubicBezTo>
                  <a:cubicBezTo>
                    <a:pt x="127" y="204"/>
                    <a:pt x="127" y="204"/>
                    <a:pt x="127" y="204"/>
                  </a:cubicBezTo>
                  <a:cubicBezTo>
                    <a:pt x="120" y="203"/>
                    <a:pt x="120" y="203"/>
                    <a:pt x="120" y="203"/>
                  </a:cubicBezTo>
                  <a:cubicBezTo>
                    <a:pt x="119" y="204"/>
                    <a:pt x="119" y="204"/>
                    <a:pt x="119" y="204"/>
                  </a:cubicBezTo>
                  <a:cubicBezTo>
                    <a:pt x="112" y="204"/>
                    <a:pt x="112" y="204"/>
                    <a:pt x="112" y="204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04" y="203"/>
                    <a:pt x="104" y="203"/>
                    <a:pt x="104" y="203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98" y="208"/>
                    <a:pt x="98" y="208"/>
                    <a:pt x="98" y="208"/>
                  </a:cubicBezTo>
                  <a:cubicBezTo>
                    <a:pt x="96" y="210"/>
                    <a:pt x="96" y="210"/>
                    <a:pt x="96" y="210"/>
                  </a:cubicBezTo>
                  <a:cubicBezTo>
                    <a:pt x="93" y="214"/>
                    <a:pt x="93" y="214"/>
                    <a:pt x="93" y="214"/>
                  </a:cubicBezTo>
                  <a:cubicBezTo>
                    <a:pt x="91" y="216"/>
                    <a:pt x="91" y="216"/>
                    <a:pt x="91" y="216"/>
                  </a:cubicBezTo>
                  <a:cubicBezTo>
                    <a:pt x="86" y="217"/>
                    <a:pt x="86" y="217"/>
                    <a:pt x="86" y="217"/>
                  </a:cubicBezTo>
                  <a:cubicBezTo>
                    <a:pt x="83" y="214"/>
                    <a:pt x="83" y="214"/>
                    <a:pt x="83" y="214"/>
                  </a:cubicBezTo>
                  <a:cubicBezTo>
                    <a:pt x="81" y="215"/>
                    <a:pt x="81" y="215"/>
                    <a:pt x="81" y="215"/>
                  </a:cubicBezTo>
                  <a:cubicBezTo>
                    <a:pt x="78" y="217"/>
                    <a:pt x="78" y="217"/>
                    <a:pt x="78" y="217"/>
                  </a:cubicBezTo>
                  <a:cubicBezTo>
                    <a:pt x="73" y="217"/>
                    <a:pt x="73" y="217"/>
                    <a:pt x="73" y="217"/>
                  </a:cubicBezTo>
                  <a:cubicBezTo>
                    <a:pt x="68" y="217"/>
                    <a:pt x="68" y="217"/>
                    <a:pt x="68" y="217"/>
                  </a:cubicBezTo>
                  <a:cubicBezTo>
                    <a:pt x="65" y="217"/>
                    <a:pt x="65" y="217"/>
                    <a:pt x="65" y="217"/>
                  </a:cubicBezTo>
                  <a:cubicBezTo>
                    <a:pt x="58" y="216"/>
                    <a:pt x="58" y="216"/>
                    <a:pt x="58" y="216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50" y="213"/>
                    <a:pt x="50" y="213"/>
                    <a:pt x="50" y="213"/>
                  </a:cubicBezTo>
                  <a:cubicBezTo>
                    <a:pt x="48" y="212"/>
                    <a:pt x="48" y="212"/>
                    <a:pt x="48" y="212"/>
                  </a:cubicBezTo>
                  <a:cubicBezTo>
                    <a:pt x="47" y="210"/>
                    <a:pt x="47" y="210"/>
                    <a:pt x="47" y="210"/>
                  </a:cubicBezTo>
                  <a:cubicBezTo>
                    <a:pt x="48" y="211"/>
                    <a:pt x="48" y="211"/>
                    <a:pt x="48" y="211"/>
                  </a:cubicBezTo>
                  <a:cubicBezTo>
                    <a:pt x="49" y="211"/>
                    <a:pt x="49" y="211"/>
                    <a:pt x="49" y="211"/>
                  </a:cubicBezTo>
                  <a:cubicBezTo>
                    <a:pt x="50" y="210"/>
                    <a:pt x="50" y="210"/>
                    <a:pt x="50" y="210"/>
                  </a:cubicBezTo>
                  <a:cubicBezTo>
                    <a:pt x="50" y="208"/>
                    <a:pt x="50" y="208"/>
                    <a:pt x="50" y="208"/>
                  </a:cubicBezTo>
                  <a:cubicBezTo>
                    <a:pt x="50" y="207"/>
                    <a:pt x="50" y="207"/>
                    <a:pt x="50" y="207"/>
                  </a:cubicBezTo>
                  <a:cubicBezTo>
                    <a:pt x="49" y="206"/>
                    <a:pt x="49" y="206"/>
                    <a:pt x="49" y="206"/>
                  </a:cubicBezTo>
                  <a:cubicBezTo>
                    <a:pt x="49" y="206"/>
                    <a:pt x="49" y="206"/>
                    <a:pt x="49" y="206"/>
                  </a:cubicBezTo>
                  <a:cubicBezTo>
                    <a:pt x="49" y="208"/>
                    <a:pt x="49" y="208"/>
                    <a:pt x="49" y="208"/>
                  </a:cubicBezTo>
                  <a:cubicBezTo>
                    <a:pt x="49" y="209"/>
                    <a:pt x="49" y="209"/>
                    <a:pt x="49" y="209"/>
                  </a:cubicBezTo>
                  <a:cubicBezTo>
                    <a:pt x="49" y="210"/>
                    <a:pt x="49" y="210"/>
                    <a:pt x="49" y="210"/>
                  </a:cubicBezTo>
                  <a:cubicBezTo>
                    <a:pt x="47" y="210"/>
                    <a:pt x="47" y="210"/>
                    <a:pt x="47" y="210"/>
                  </a:cubicBezTo>
                  <a:cubicBezTo>
                    <a:pt x="47" y="210"/>
                    <a:pt x="47" y="210"/>
                    <a:pt x="47" y="210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2" y="209"/>
                    <a:pt x="42" y="209"/>
                    <a:pt x="42" y="209"/>
                  </a:cubicBezTo>
                  <a:cubicBezTo>
                    <a:pt x="41" y="208"/>
                    <a:pt x="41" y="208"/>
                    <a:pt x="41" y="208"/>
                  </a:cubicBezTo>
                  <a:cubicBezTo>
                    <a:pt x="40" y="208"/>
                    <a:pt x="40" y="208"/>
                    <a:pt x="40" y="208"/>
                  </a:cubicBezTo>
                  <a:cubicBezTo>
                    <a:pt x="39" y="207"/>
                    <a:pt x="39" y="207"/>
                    <a:pt x="39" y="207"/>
                  </a:cubicBezTo>
                  <a:cubicBezTo>
                    <a:pt x="37" y="206"/>
                    <a:pt x="37" y="206"/>
                    <a:pt x="37" y="206"/>
                  </a:cubicBezTo>
                  <a:cubicBezTo>
                    <a:pt x="36" y="206"/>
                    <a:pt x="36" y="206"/>
                    <a:pt x="36" y="206"/>
                  </a:cubicBezTo>
                  <a:cubicBezTo>
                    <a:pt x="34" y="206"/>
                    <a:pt x="34" y="206"/>
                    <a:pt x="34" y="206"/>
                  </a:cubicBezTo>
                  <a:cubicBezTo>
                    <a:pt x="34" y="206"/>
                    <a:pt x="34" y="206"/>
                    <a:pt x="34" y="206"/>
                  </a:cubicBezTo>
                  <a:cubicBezTo>
                    <a:pt x="32" y="207"/>
                    <a:pt x="32" y="207"/>
                    <a:pt x="32" y="207"/>
                  </a:cubicBezTo>
                  <a:cubicBezTo>
                    <a:pt x="32" y="207"/>
                    <a:pt x="32" y="207"/>
                    <a:pt x="32" y="207"/>
                  </a:cubicBezTo>
                  <a:cubicBezTo>
                    <a:pt x="31" y="207"/>
                    <a:pt x="31" y="207"/>
                    <a:pt x="31" y="207"/>
                  </a:cubicBezTo>
                  <a:cubicBezTo>
                    <a:pt x="30" y="208"/>
                    <a:pt x="30" y="208"/>
                    <a:pt x="30" y="208"/>
                  </a:cubicBezTo>
                  <a:cubicBezTo>
                    <a:pt x="29" y="208"/>
                    <a:pt x="29" y="208"/>
                    <a:pt x="29" y="208"/>
                  </a:cubicBezTo>
                  <a:cubicBezTo>
                    <a:pt x="28" y="208"/>
                    <a:pt x="28" y="208"/>
                    <a:pt x="28" y="208"/>
                  </a:cubicBezTo>
                  <a:cubicBezTo>
                    <a:pt x="27" y="208"/>
                    <a:pt x="27" y="208"/>
                    <a:pt x="27" y="208"/>
                  </a:cubicBezTo>
                  <a:cubicBezTo>
                    <a:pt x="26" y="208"/>
                    <a:pt x="26" y="208"/>
                    <a:pt x="26" y="208"/>
                  </a:cubicBezTo>
                  <a:cubicBezTo>
                    <a:pt x="25" y="209"/>
                    <a:pt x="25" y="209"/>
                    <a:pt x="25" y="209"/>
                  </a:cubicBezTo>
                  <a:cubicBezTo>
                    <a:pt x="25" y="209"/>
                    <a:pt x="25" y="209"/>
                    <a:pt x="25" y="209"/>
                  </a:cubicBezTo>
                  <a:cubicBezTo>
                    <a:pt x="22" y="211"/>
                    <a:pt x="22" y="211"/>
                    <a:pt x="22" y="211"/>
                  </a:cubicBezTo>
                  <a:cubicBezTo>
                    <a:pt x="22" y="211"/>
                    <a:pt x="22" y="211"/>
                    <a:pt x="22" y="211"/>
                  </a:cubicBezTo>
                  <a:cubicBezTo>
                    <a:pt x="21" y="211"/>
                    <a:pt x="21" y="211"/>
                    <a:pt x="21" y="211"/>
                  </a:cubicBezTo>
                  <a:cubicBezTo>
                    <a:pt x="21" y="211"/>
                    <a:pt x="21" y="211"/>
                    <a:pt x="21" y="211"/>
                  </a:cubicBezTo>
                  <a:cubicBezTo>
                    <a:pt x="20" y="212"/>
                    <a:pt x="20" y="212"/>
                    <a:pt x="20" y="212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9" y="213"/>
                    <a:pt x="19" y="213"/>
                    <a:pt x="19" y="213"/>
                  </a:cubicBezTo>
                  <a:cubicBezTo>
                    <a:pt x="18" y="213"/>
                    <a:pt x="18" y="213"/>
                    <a:pt x="18" y="213"/>
                  </a:cubicBezTo>
                  <a:cubicBezTo>
                    <a:pt x="18" y="214"/>
                    <a:pt x="18" y="214"/>
                    <a:pt x="18" y="214"/>
                  </a:cubicBezTo>
                  <a:cubicBezTo>
                    <a:pt x="17" y="214"/>
                    <a:pt x="17" y="214"/>
                    <a:pt x="17" y="214"/>
                  </a:cubicBezTo>
                  <a:cubicBezTo>
                    <a:pt x="17" y="215"/>
                    <a:pt x="17" y="215"/>
                    <a:pt x="17" y="215"/>
                  </a:cubicBezTo>
                  <a:cubicBezTo>
                    <a:pt x="17" y="215"/>
                    <a:pt x="17" y="215"/>
                    <a:pt x="17" y="215"/>
                  </a:cubicBezTo>
                  <a:cubicBezTo>
                    <a:pt x="18" y="216"/>
                    <a:pt x="18" y="216"/>
                    <a:pt x="18" y="216"/>
                  </a:cubicBezTo>
                  <a:cubicBezTo>
                    <a:pt x="18" y="216"/>
                    <a:pt x="18" y="216"/>
                    <a:pt x="18" y="216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19" y="219"/>
                    <a:pt x="19" y="219"/>
                    <a:pt x="19" y="219"/>
                  </a:cubicBezTo>
                  <a:cubicBezTo>
                    <a:pt x="18" y="219"/>
                    <a:pt x="18" y="219"/>
                    <a:pt x="18" y="219"/>
                  </a:cubicBezTo>
                  <a:cubicBezTo>
                    <a:pt x="18" y="219"/>
                    <a:pt x="18" y="219"/>
                    <a:pt x="18" y="219"/>
                  </a:cubicBezTo>
                  <a:cubicBezTo>
                    <a:pt x="18" y="220"/>
                    <a:pt x="18" y="220"/>
                    <a:pt x="18" y="220"/>
                  </a:cubicBezTo>
                  <a:cubicBezTo>
                    <a:pt x="18" y="220"/>
                    <a:pt x="18" y="220"/>
                    <a:pt x="18" y="220"/>
                  </a:cubicBezTo>
                  <a:cubicBezTo>
                    <a:pt x="19" y="221"/>
                    <a:pt x="19" y="221"/>
                    <a:pt x="19" y="221"/>
                  </a:cubicBezTo>
                  <a:cubicBezTo>
                    <a:pt x="19" y="221"/>
                    <a:pt x="19" y="221"/>
                    <a:pt x="19" y="221"/>
                  </a:cubicBezTo>
                  <a:cubicBezTo>
                    <a:pt x="20" y="221"/>
                    <a:pt x="20" y="221"/>
                    <a:pt x="20" y="221"/>
                  </a:cubicBezTo>
                  <a:cubicBezTo>
                    <a:pt x="20" y="221"/>
                    <a:pt x="20" y="221"/>
                    <a:pt x="20" y="221"/>
                  </a:cubicBezTo>
                  <a:cubicBezTo>
                    <a:pt x="21" y="222"/>
                    <a:pt x="21" y="222"/>
                    <a:pt x="21" y="222"/>
                  </a:cubicBezTo>
                  <a:cubicBezTo>
                    <a:pt x="21" y="223"/>
                    <a:pt x="21" y="223"/>
                    <a:pt x="21" y="223"/>
                  </a:cubicBezTo>
                  <a:cubicBezTo>
                    <a:pt x="21" y="223"/>
                    <a:pt x="21" y="223"/>
                    <a:pt x="21" y="223"/>
                  </a:cubicBezTo>
                  <a:cubicBezTo>
                    <a:pt x="22" y="223"/>
                    <a:pt x="22" y="223"/>
                    <a:pt x="22" y="223"/>
                  </a:cubicBezTo>
                  <a:cubicBezTo>
                    <a:pt x="22" y="224"/>
                    <a:pt x="22" y="224"/>
                    <a:pt x="22" y="224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2" y="225"/>
                    <a:pt x="22" y="225"/>
                    <a:pt x="22" y="225"/>
                  </a:cubicBezTo>
                  <a:cubicBezTo>
                    <a:pt x="23" y="225"/>
                    <a:pt x="23" y="225"/>
                    <a:pt x="23" y="225"/>
                  </a:cubicBezTo>
                  <a:cubicBezTo>
                    <a:pt x="23" y="226"/>
                    <a:pt x="23" y="226"/>
                    <a:pt x="23" y="226"/>
                  </a:cubicBezTo>
                  <a:cubicBezTo>
                    <a:pt x="23" y="226"/>
                    <a:pt x="23" y="226"/>
                    <a:pt x="23" y="226"/>
                  </a:cubicBezTo>
                  <a:cubicBezTo>
                    <a:pt x="24" y="226"/>
                    <a:pt x="24" y="226"/>
                    <a:pt x="24" y="226"/>
                  </a:cubicBezTo>
                  <a:cubicBezTo>
                    <a:pt x="24" y="227"/>
                    <a:pt x="24" y="227"/>
                    <a:pt x="24" y="227"/>
                  </a:cubicBezTo>
                  <a:cubicBezTo>
                    <a:pt x="24" y="227"/>
                    <a:pt x="24" y="227"/>
                    <a:pt x="24" y="227"/>
                  </a:cubicBezTo>
                  <a:cubicBezTo>
                    <a:pt x="23" y="228"/>
                    <a:pt x="23" y="228"/>
                    <a:pt x="23" y="228"/>
                  </a:cubicBezTo>
                  <a:cubicBezTo>
                    <a:pt x="23" y="228"/>
                    <a:pt x="23" y="228"/>
                    <a:pt x="23" y="228"/>
                  </a:cubicBezTo>
                  <a:cubicBezTo>
                    <a:pt x="23" y="228"/>
                    <a:pt x="23" y="228"/>
                    <a:pt x="23" y="228"/>
                  </a:cubicBezTo>
                  <a:cubicBezTo>
                    <a:pt x="23" y="228"/>
                    <a:pt x="23" y="228"/>
                    <a:pt x="23" y="228"/>
                  </a:cubicBezTo>
                  <a:cubicBezTo>
                    <a:pt x="22" y="228"/>
                    <a:pt x="22" y="228"/>
                    <a:pt x="22" y="228"/>
                  </a:cubicBezTo>
                  <a:cubicBezTo>
                    <a:pt x="22" y="228"/>
                    <a:pt x="22" y="228"/>
                    <a:pt x="22" y="228"/>
                  </a:cubicBezTo>
                  <a:cubicBezTo>
                    <a:pt x="22" y="228"/>
                    <a:pt x="22" y="228"/>
                    <a:pt x="22" y="228"/>
                  </a:cubicBezTo>
                  <a:cubicBezTo>
                    <a:pt x="21" y="228"/>
                    <a:pt x="21" y="228"/>
                    <a:pt x="21" y="228"/>
                  </a:cubicBezTo>
                  <a:cubicBezTo>
                    <a:pt x="21" y="228"/>
                    <a:pt x="21" y="228"/>
                    <a:pt x="21" y="228"/>
                  </a:cubicBezTo>
                  <a:cubicBezTo>
                    <a:pt x="20" y="228"/>
                    <a:pt x="20" y="228"/>
                    <a:pt x="20" y="228"/>
                  </a:cubicBezTo>
                  <a:cubicBezTo>
                    <a:pt x="20" y="227"/>
                    <a:pt x="20" y="227"/>
                    <a:pt x="20" y="227"/>
                  </a:cubicBezTo>
                  <a:cubicBezTo>
                    <a:pt x="19" y="227"/>
                    <a:pt x="19" y="227"/>
                    <a:pt x="19" y="227"/>
                  </a:cubicBezTo>
                  <a:cubicBezTo>
                    <a:pt x="19" y="227"/>
                    <a:pt x="19" y="227"/>
                    <a:pt x="19" y="227"/>
                  </a:cubicBezTo>
                  <a:cubicBezTo>
                    <a:pt x="19" y="227"/>
                    <a:pt x="19" y="227"/>
                    <a:pt x="19" y="227"/>
                  </a:cubicBezTo>
                  <a:cubicBezTo>
                    <a:pt x="18" y="227"/>
                    <a:pt x="18" y="227"/>
                    <a:pt x="18" y="227"/>
                  </a:cubicBezTo>
                  <a:cubicBezTo>
                    <a:pt x="18" y="228"/>
                    <a:pt x="18" y="228"/>
                    <a:pt x="18" y="228"/>
                  </a:cubicBezTo>
                  <a:cubicBezTo>
                    <a:pt x="18" y="228"/>
                    <a:pt x="18" y="228"/>
                    <a:pt x="18" y="228"/>
                  </a:cubicBezTo>
                  <a:cubicBezTo>
                    <a:pt x="17" y="228"/>
                    <a:pt x="17" y="228"/>
                    <a:pt x="17" y="228"/>
                  </a:cubicBezTo>
                  <a:cubicBezTo>
                    <a:pt x="17" y="229"/>
                    <a:pt x="17" y="229"/>
                    <a:pt x="17" y="229"/>
                  </a:cubicBezTo>
                  <a:cubicBezTo>
                    <a:pt x="17" y="230"/>
                    <a:pt x="17" y="230"/>
                    <a:pt x="17" y="230"/>
                  </a:cubicBezTo>
                  <a:cubicBezTo>
                    <a:pt x="17" y="231"/>
                    <a:pt x="17" y="231"/>
                    <a:pt x="17" y="231"/>
                  </a:cubicBezTo>
                  <a:cubicBezTo>
                    <a:pt x="16" y="232"/>
                    <a:pt x="16" y="232"/>
                    <a:pt x="16" y="232"/>
                  </a:cubicBezTo>
                  <a:cubicBezTo>
                    <a:pt x="16" y="234"/>
                    <a:pt x="16" y="234"/>
                    <a:pt x="16" y="234"/>
                  </a:cubicBezTo>
                  <a:cubicBezTo>
                    <a:pt x="16" y="234"/>
                    <a:pt x="16" y="234"/>
                    <a:pt x="16" y="234"/>
                  </a:cubicBezTo>
                  <a:cubicBezTo>
                    <a:pt x="17" y="235"/>
                    <a:pt x="17" y="235"/>
                    <a:pt x="17" y="235"/>
                  </a:cubicBezTo>
                  <a:cubicBezTo>
                    <a:pt x="17" y="235"/>
                    <a:pt x="17" y="235"/>
                    <a:pt x="17" y="235"/>
                  </a:cubicBezTo>
                  <a:cubicBezTo>
                    <a:pt x="17" y="236"/>
                    <a:pt x="17" y="236"/>
                    <a:pt x="17" y="236"/>
                  </a:cubicBezTo>
                  <a:cubicBezTo>
                    <a:pt x="17" y="236"/>
                    <a:pt x="17" y="236"/>
                    <a:pt x="17" y="236"/>
                  </a:cubicBezTo>
                  <a:cubicBezTo>
                    <a:pt x="16" y="236"/>
                    <a:pt x="16" y="236"/>
                    <a:pt x="16" y="236"/>
                  </a:cubicBezTo>
                  <a:cubicBezTo>
                    <a:pt x="16" y="236"/>
                    <a:pt x="16" y="236"/>
                    <a:pt x="16" y="236"/>
                  </a:cubicBezTo>
                  <a:cubicBezTo>
                    <a:pt x="15" y="236"/>
                    <a:pt x="15" y="236"/>
                    <a:pt x="15" y="236"/>
                  </a:cubicBezTo>
                  <a:cubicBezTo>
                    <a:pt x="14" y="236"/>
                    <a:pt x="14" y="236"/>
                    <a:pt x="14" y="236"/>
                  </a:cubicBezTo>
                  <a:cubicBezTo>
                    <a:pt x="14" y="236"/>
                    <a:pt x="14" y="236"/>
                    <a:pt x="14" y="236"/>
                  </a:cubicBezTo>
                  <a:cubicBezTo>
                    <a:pt x="14" y="237"/>
                    <a:pt x="14" y="237"/>
                    <a:pt x="14" y="237"/>
                  </a:cubicBezTo>
                  <a:cubicBezTo>
                    <a:pt x="13" y="237"/>
                    <a:pt x="13" y="237"/>
                    <a:pt x="13" y="237"/>
                  </a:cubicBezTo>
                  <a:cubicBezTo>
                    <a:pt x="13" y="238"/>
                    <a:pt x="13" y="238"/>
                    <a:pt x="13" y="238"/>
                  </a:cubicBezTo>
                  <a:cubicBezTo>
                    <a:pt x="14" y="238"/>
                    <a:pt x="14" y="238"/>
                    <a:pt x="14" y="238"/>
                  </a:cubicBezTo>
                  <a:cubicBezTo>
                    <a:pt x="14" y="238"/>
                    <a:pt x="14" y="238"/>
                    <a:pt x="14" y="238"/>
                  </a:cubicBezTo>
                  <a:cubicBezTo>
                    <a:pt x="14" y="239"/>
                    <a:pt x="14" y="239"/>
                    <a:pt x="14" y="239"/>
                  </a:cubicBezTo>
                  <a:cubicBezTo>
                    <a:pt x="14" y="239"/>
                    <a:pt x="14" y="239"/>
                    <a:pt x="14" y="239"/>
                  </a:cubicBezTo>
                  <a:cubicBezTo>
                    <a:pt x="15" y="240"/>
                    <a:pt x="15" y="240"/>
                    <a:pt x="15" y="240"/>
                  </a:cubicBezTo>
                  <a:cubicBezTo>
                    <a:pt x="16" y="240"/>
                    <a:pt x="16" y="240"/>
                    <a:pt x="16" y="240"/>
                  </a:cubicBezTo>
                  <a:cubicBezTo>
                    <a:pt x="16" y="241"/>
                    <a:pt x="16" y="241"/>
                    <a:pt x="16" y="241"/>
                  </a:cubicBezTo>
                  <a:cubicBezTo>
                    <a:pt x="16" y="241"/>
                    <a:pt x="16" y="241"/>
                    <a:pt x="16" y="241"/>
                  </a:cubicBezTo>
                  <a:cubicBezTo>
                    <a:pt x="16" y="242"/>
                    <a:pt x="16" y="242"/>
                    <a:pt x="16" y="242"/>
                  </a:cubicBezTo>
                  <a:cubicBezTo>
                    <a:pt x="17" y="243"/>
                    <a:pt x="17" y="243"/>
                    <a:pt x="17" y="243"/>
                  </a:cubicBezTo>
                  <a:cubicBezTo>
                    <a:pt x="17" y="244"/>
                    <a:pt x="17" y="244"/>
                    <a:pt x="17" y="244"/>
                  </a:cubicBezTo>
                  <a:cubicBezTo>
                    <a:pt x="17" y="245"/>
                    <a:pt x="17" y="245"/>
                    <a:pt x="17" y="245"/>
                  </a:cubicBezTo>
                  <a:cubicBezTo>
                    <a:pt x="17" y="245"/>
                    <a:pt x="17" y="245"/>
                    <a:pt x="17" y="245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9" y="247"/>
                    <a:pt x="19" y="247"/>
                    <a:pt x="19" y="247"/>
                  </a:cubicBezTo>
                  <a:cubicBezTo>
                    <a:pt x="19" y="247"/>
                    <a:pt x="19" y="247"/>
                    <a:pt x="19" y="247"/>
                  </a:cubicBezTo>
                  <a:cubicBezTo>
                    <a:pt x="20" y="248"/>
                    <a:pt x="20" y="248"/>
                    <a:pt x="20" y="248"/>
                  </a:cubicBezTo>
                  <a:cubicBezTo>
                    <a:pt x="21" y="248"/>
                    <a:pt x="21" y="248"/>
                    <a:pt x="21" y="248"/>
                  </a:cubicBezTo>
                  <a:cubicBezTo>
                    <a:pt x="22" y="248"/>
                    <a:pt x="22" y="248"/>
                    <a:pt x="22" y="248"/>
                  </a:cubicBezTo>
                  <a:cubicBezTo>
                    <a:pt x="23" y="249"/>
                    <a:pt x="23" y="249"/>
                    <a:pt x="23" y="249"/>
                  </a:cubicBezTo>
                  <a:cubicBezTo>
                    <a:pt x="23" y="249"/>
                    <a:pt x="23" y="249"/>
                    <a:pt x="23" y="249"/>
                  </a:cubicBezTo>
                  <a:cubicBezTo>
                    <a:pt x="24" y="249"/>
                    <a:pt x="24" y="249"/>
                    <a:pt x="24" y="249"/>
                  </a:cubicBezTo>
                  <a:cubicBezTo>
                    <a:pt x="24" y="250"/>
                    <a:pt x="24" y="250"/>
                    <a:pt x="24" y="250"/>
                  </a:cubicBezTo>
                  <a:cubicBezTo>
                    <a:pt x="24" y="251"/>
                    <a:pt x="24" y="251"/>
                    <a:pt x="24" y="251"/>
                  </a:cubicBezTo>
                  <a:cubicBezTo>
                    <a:pt x="24" y="251"/>
                    <a:pt x="24" y="251"/>
                    <a:pt x="24" y="251"/>
                  </a:cubicBezTo>
                  <a:cubicBezTo>
                    <a:pt x="24" y="252"/>
                    <a:pt x="24" y="252"/>
                    <a:pt x="24" y="252"/>
                  </a:cubicBezTo>
                  <a:cubicBezTo>
                    <a:pt x="24" y="253"/>
                    <a:pt x="24" y="253"/>
                    <a:pt x="24" y="253"/>
                  </a:cubicBezTo>
                  <a:cubicBezTo>
                    <a:pt x="24" y="253"/>
                    <a:pt x="24" y="253"/>
                    <a:pt x="24" y="253"/>
                  </a:cubicBezTo>
                  <a:cubicBezTo>
                    <a:pt x="24" y="253"/>
                    <a:pt x="24" y="253"/>
                    <a:pt x="24" y="253"/>
                  </a:cubicBezTo>
                  <a:cubicBezTo>
                    <a:pt x="24" y="254"/>
                    <a:pt x="24" y="254"/>
                    <a:pt x="24" y="254"/>
                  </a:cubicBezTo>
                  <a:cubicBezTo>
                    <a:pt x="24" y="255"/>
                    <a:pt x="24" y="255"/>
                    <a:pt x="24" y="255"/>
                  </a:cubicBezTo>
                  <a:cubicBezTo>
                    <a:pt x="24" y="255"/>
                    <a:pt x="24" y="255"/>
                    <a:pt x="24" y="255"/>
                  </a:cubicBezTo>
                  <a:cubicBezTo>
                    <a:pt x="24" y="256"/>
                    <a:pt x="24" y="256"/>
                    <a:pt x="24" y="256"/>
                  </a:cubicBezTo>
                  <a:cubicBezTo>
                    <a:pt x="23" y="256"/>
                    <a:pt x="23" y="256"/>
                    <a:pt x="23" y="256"/>
                  </a:cubicBezTo>
                  <a:cubicBezTo>
                    <a:pt x="23" y="257"/>
                    <a:pt x="23" y="257"/>
                    <a:pt x="23" y="257"/>
                  </a:cubicBezTo>
                  <a:cubicBezTo>
                    <a:pt x="23" y="258"/>
                    <a:pt x="23" y="258"/>
                    <a:pt x="23" y="258"/>
                  </a:cubicBezTo>
                  <a:cubicBezTo>
                    <a:pt x="23" y="258"/>
                    <a:pt x="23" y="258"/>
                    <a:pt x="23" y="258"/>
                  </a:cubicBezTo>
                  <a:cubicBezTo>
                    <a:pt x="23" y="259"/>
                    <a:pt x="23" y="259"/>
                    <a:pt x="23" y="259"/>
                  </a:cubicBezTo>
                  <a:cubicBezTo>
                    <a:pt x="23" y="259"/>
                    <a:pt x="23" y="259"/>
                    <a:pt x="23" y="259"/>
                  </a:cubicBezTo>
                  <a:cubicBezTo>
                    <a:pt x="24" y="260"/>
                    <a:pt x="24" y="260"/>
                    <a:pt x="24" y="260"/>
                  </a:cubicBezTo>
                  <a:cubicBezTo>
                    <a:pt x="24" y="260"/>
                    <a:pt x="24" y="260"/>
                    <a:pt x="24" y="260"/>
                  </a:cubicBezTo>
                  <a:cubicBezTo>
                    <a:pt x="24" y="261"/>
                    <a:pt x="24" y="261"/>
                    <a:pt x="24" y="261"/>
                  </a:cubicBezTo>
                  <a:cubicBezTo>
                    <a:pt x="24" y="261"/>
                    <a:pt x="24" y="261"/>
                    <a:pt x="24" y="261"/>
                  </a:cubicBezTo>
                  <a:cubicBezTo>
                    <a:pt x="25" y="261"/>
                    <a:pt x="25" y="261"/>
                    <a:pt x="25" y="261"/>
                  </a:cubicBezTo>
                  <a:cubicBezTo>
                    <a:pt x="25" y="262"/>
                    <a:pt x="25" y="262"/>
                    <a:pt x="25" y="262"/>
                  </a:cubicBezTo>
                  <a:cubicBezTo>
                    <a:pt x="25" y="262"/>
                    <a:pt x="25" y="262"/>
                    <a:pt x="25" y="262"/>
                  </a:cubicBezTo>
                  <a:cubicBezTo>
                    <a:pt x="25" y="263"/>
                    <a:pt x="25" y="263"/>
                    <a:pt x="25" y="263"/>
                  </a:cubicBezTo>
                  <a:cubicBezTo>
                    <a:pt x="25" y="263"/>
                    <a:pt x="25" y="263"/>
                    <a:pt x="25" y="263"/>
                  </a:cubicBezTo>
                  <a:cubicBezTo>
                    <a:pt x="25" y="264"/>
                    <a:pt x="25" y="264"/>
                    <a:pt x="25" y="264"/>
                  </a:cubicBezTo>
                  <a:cubicBezTo>
                    <a:pt x="24" y="264"/>
                    <a:pt x="24" y="264"/>
                    <a:pt x="24" y="264"/>
                  </a:cubicBezTo>
                  <a:cubicBezTo>
                    <a:pt x="24" y="265"/>
                    <a:pt x="24" y="265"/>
                    <a:pt x="24" y="265"/>
                  </a:cubicBezTo>
                  <a:cubicBezTo>
                    <a:pt x="24" y="265"/>
                    <a:pt x="24" y="265"/>
                    <a:pt x="24" y="265"/>
                  </a:cubicBezTo>
                  <a:cubicBezTo>
                    <a:pt x="23" y="266"/>
                    <a:pt x="23" y="266"/>
                    <a:pt x="23" y="266"/>
                  </a:cubicBezTo>
                  <a:cubicBezTo>
                    <a:pt x="24" y="266"/>
                    <a:pt x="24" y="266"/>
                    <a:pt x="24" y="266"/>
                  </a:cubicBezTo>
                  <a:cubicBezTo>
                    <a:pt x="23" y="267"/>
                    <a:pt x="23" y="267"/>
                    <a:pt x="23" y="267"/>
                  </a:cubicBezTo>
                  <a:cubicBezTo>
                    <a:pt x="23" y="267"/>
                    <a:pt x="23" y="267"/>
                    <a:pt x="23" y="267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2" y="268"/>
                    <a:pt x="22" y="268"/>
                    <a:pt x="22" y="268"/>
                  </a:cubicBezTo>
                  <a:cubicBezTo>
                    <a:pt x="21" y="269"/>
                    <a:pt x="21" y="269"/>
                    <a:pt x="21" y="269"/>
                  </a:cubicBezTo>
                  <a:cubicBezTo>
                    <a:pt x="21" y="269"/>
                    <a:pt x="21" y="269"/>
                    <a:pt x="21" y="269"/>
                  </a:cubicBezTo>
                  <a:cubicBezTo>
                    <a:pt x="20" y="269"/>
                    <a:pt x="20" y="269"/>
                    <a:pt x="20" y="269"/>
                  </a:cubicBezTo>
                  <a:cubicBezTo>
                    <a:pt x="20" y="269"/>
                    <a:pt x="20" y="269"/>
                    <a:pt x="20" y="269"/>
                  </a:cubicBezTo>
                  <a:cubicBezTo>
                    <a:pt x="20" y="269"/>
                    <a:pt x="20" y="269"/>
                    <a:pt x="20" y="269"/>
                  </a:cubicBezTo>
                  <a:cubicBezTo>
                    <a:pt x="19" y="268"/>
                    <a:pt x="19" y="268"/>
                    <a:pt x="19" y="268"/>
                  </a:cubicBezTo>
                  <a:cubicBezTo>
                    <a:pt x="19" y="268"/>
                    <a:pt x="19" y="268"/>
                    <a:pt x="19" y="268"/>
                  </a:cubicBezTo>
                  <a:cubicBezTo>
                    <a:pt x="18" y="268"/>
                    <a:pt x="18" y="268"/>
                    <a:pt x="18" y="268"/>
                  </a:cubicBezTo>
                  <a:cubicBezTo>
                    <a:pt x="17" y="268"/>
                    <a:pt x="17" y="268"/>
                    <a:pt x="17" y="268"/>
                  </a:cubicBezTo>
                  <a:cubicBezTo>
                    <a:pt x="17" y="268"/>
                    <a:pt x="17" y="268"/>
                    <a:pt x="17" y="268"/>
                  </a:cubicBezTo>
                  <a:cubicBezTo>
                    <a:pt x="16" y="268"/>
                    <a:pt x="16" y="268"/>
                    <a:pt x="16" y="268"/>
                  </a:cubicBezTo>
                  <a:cubicBezTo>
                    <a:pt x="16" y="268"/>
                    <a:pt x="16" y="268"/>
                    <a:pt x="16" y="268"/>
                  </a:cubicBezTo>
                  <a:cubicBezTo>
                    <a:pt x="15" y="268"/>
                    <a:pt x="15" y="268"/>
                    <a:pt x="15" y="268"/>
                  </a:cubicBezTo>
                  <a:cubicBezTo>
                    <a:pt x="14" y="268"/>
                    <a:pt x="14" y="268"/>
                    <a:pt x="14" y="268"/>
                  </a:cubicBezTo>
                  <a:cubicBezTo>
                    <a:pt x="14" y="268"/>
                    <a:pt x="14" y="268"/>
                    <a:pt x="14" y="268"/>
                  </a:cubicBezTo>
                  <a:cubicBezTo>
                    <a:pt x="14" y="268"/>
                    <a:pt x="14" y="268"/>
                    <a:pt x="14" y="268"/>
                  </a:cubicBezTo>
                  <a:cubicBezTo>
                    <a:pt x="13" y="268"/>
                    <a:pt x="13" y="268"/>
                    <a:pt x="13" y="268"/>
                  </a:cubicBezTo>
                  <a:cubicBezTo>
                    <a:pt x="13" y="268"/>
                    <a:pt x="13" y="268"/>
                    <a:pt x="13" y="268"/>
                  </a:cubicBezTo>
                  <a:cubicBezTo>
                    <a:pt x="12" y="268"/>
                    <a:pt x="12" y="268"/>
                    <a:pt x="12" y="268"/>
                  </a:cubicBezTo>
                  <a:cubicBezTo>
                    <a:pt x="11" y="268"/>
                    <a:pt x="11" y="268"/>
                    <a:pt x="11" y="268"/>
                  </a:cubicBezTo>
                  <a:cubicBezTo>
                    <a:pt x="10" y="268"/>
                    <a:pt x="10" y="268"/>
                    <a:pt x="10" y="268"/>
                  </a:cubicBezTo>
                  <a:cubicBezTo>
                    <a:pt x="10" y="268"/>
                    <a:pt x="10" y="268"/>
                    <a:pt x="10" y="268"/>
                  </a:cubicBezTo>
                  <a:cubicBezTo>
                    <a:pt x="10" y="268"/>
                    <a:pt x="10" y="268"/>
                    <a:pt x="10" y="268"/>
                  </a:cubicBezTo>
                  <a:cubicBezTo>
                    <a:pt x="9" y="267"/>
                    <a:pt x="9" y="267"/>
                    <a:pt x="9" y="267"/>
                  </a:cubicBezTo>
                  <a:cubicBezTo>
                    <a:pt x="9" y="267"/>
                    <a:pt x="9" y="267"/>
                    <a:pt x="9" y="267"/>
                  </a:cubicBezTo>
                  <a:cubicBezTo>
                    <a:pt x="9" y="267"/>
                    <a:pt x="9" y="267"/>
                    <a:pt x="9" y="267"/>
                  </a:cubicBezTo>
                  <a:cubicBezTo>
                    <a:pt x="8" y="267"/>
                    <a:pt x="8" y="267"/>
                    <a:pt x="8" y="267"/>
                  </a:cubicBezTo>
                  <a:cubicBezTo>
                    <a:pt x="8" y="266"/>
                    <a:pt x="8" y="266"/>
                    <a:pt x="8" y="266"/>
                  </a:cubicBezTo>
                  <a:cubicBezTo>
                    <a:pt x="7" y="266"/>
                    <a:pt x="7" y="266"/>
                    <a:pt x="7" y="266"/>
                  </a:cubicBezTo>
                  <a:cubicBezTo>
                    <a:pt x="7" y="266"/>
                    <a:pt x="7" y="266"/>
                    <a:pt x="7" y="266"/>
                  </a:cubicBezTo>
                  <a:cubicBezTo>
                    <a:pt x="6" y="265"/>
                    <a:pt x="6" y="265"/>
                    <a:pt x="6" y="265"/>
                  </a:cubicBezTo>
                  <a:cubicBezTo>
                    <a:pt x="6" y="265"/>
                    <a:pt x="6" y="265"/>
                    <a:pt x="6" y="265"/>
                  </a:cubicBezTo>
                  <a:cubicBezTo>
                    <a:pt x="5" y="265"/>
                    <a:pt x="5" y="265"/>
                    <a:pt x="5" y="265"/>
                  </a:cubicBezTo>
                  <a:cubicBezTo>
                    <a:pt x="5" y="265"/>
                    <a:pt x="5" y="265"/>
                    <a:pt x="5" y="265"/>
                  </a:cubicBezTo>
                  <a:cubicBezTo>
                    <a:pt x="4" y="265"/>
                    <a:pt x="4" y="265"/>
                    <a:pt x="4" y="265"/>
                  </a:cubicBezTo>
                  <a:cubicBezTo>
                    <a:pt x="4" y="265"/>
                    <a:pt x="4" y="265"/>
                    <a:pt x="4" y="265"/>
                  </a:cubicBezTo>
                  <a:cubicBezTo>
                    <a:pt x="3" y="265"/>
                    <a:pt x="3" y="265"/>
                    <a:pt x="3" y="265"/>
                  </a:cubicBezTo>
                  <a:cubicBezTo>
                    <a:pt x="3" y="265"/>
                    <a:pt x="3" y="265"/>
                    <a:pt x="3" y="265"/>
                  </a:cubicBezTo>
                  <a:cubicBezTo>
                    <a:pt x="2" y="265"/>
                    <a:pt x="2" y="265"/>
                    <a:pt x="2" y="265"/>
                  </a:cubicBezTo>
                  <a:cubicBezTo>
                    <a:pt x="3" y="266"/>
                    <a:pt x="3" y="266"/>
                    <a:pt x="3" y="266"/>
                  </a:cubicBezTo>
                  <a:cubicBezTo>
                    <a:pt x="3" y="266"/>
                    <a:pt x="3" y="266"/>
                    <a:pt x="3" y="266"/>
                  </a:cubicBezTo>
                  <a:cubicBezTo>
                    <a:pt x="3" y="267"/>
                    <a:pt x="3" y="267"/>
                    <a:pt x="3" y="267"/>
                  </a:cubicBezTo>
                  <a:cubicBezTo>
                    <a:pt x="3" y="267"/>
                    <a:pt x="3" y="267"/>
                    <a:pt x="3" y="267"/>
                  </a:cubicBezTo>
                  <a:cubicBezTo>
                    <a:pt x="3" y="268"/>
                    <a:pt x="3" y="268"/>
                    <a:pt x="3" y="268"/>
                  </a:cubicBezTo>
                  <a:cubicBezTo>
                    <a:pt x="2" y="268"/>
                    <a:pt x="2" y="268"/>
                    <a:pt x="2" y="268"/>
                  </a:cubicBezTo>
                  <a:cubicBezTo>
                    <a:pt x="2" y="269"/>
                    <a:pt x="2" y="269"/>
                    <a:pt x="2" y="269"/>
                  </a:cubicBezTo>
                  <a:cubicBezTo>
                    <a:pt x="2" y="269"/>
                    <a:pt x="2" y="269"/>
                    <a:pt x="2" y="269"/>
                  </a:cubicBezTo>
                  <a:cubicBezTo>
                    <a:pt x="2" y="269"/>
                    <a:pt x="2" y="269"/>
                    <a:pt x="2" y="269"/>
                  </a:cubicBezTo>
                  <a:cubicBezTo>
                    <a:pt x="1" y="269"/>
                    <a:pt x="1" y="269"/>
                    <a:pt x="1" y="269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1" y="271"/>
                    <a:pt x="1" y="271"/>
                    <a:pt x="1" y="271"/>
                  </a:cubicBezTo>
                  <a:cubicBezTo>
                    <a:pt x="1" y="271"/>
                    <a:pt x="1" y="271"/>
                    <a:pt x="1" y="271"/>
                  </a:cubicBezTo>
                  <a:cubicBezTo>
                    <a:pt x="2" y="271"/>
                    <a:pt x="2" y="271"/>
                    <a:pt x="2" y="271"/>
                  </a:cubicBezTo>
                  <a:cubicBezTo>
                    <a:pt x="2" y="271"/>
                    <a:pt x="2" y="271"/>
                    <a:pt x="2" y="271"/>
                  </a:cubicBezTo>
                  <a:cubicBezTo>
                    <a:pt x="3" y="271"/>
                    <a:pt x="3" y="271"/>
                    <a:pt x="3" y="271"/>
                  </a:cubicBezTo>
                  <a:cubicBezTo>
                    <a:pt x="3" y="271"/>
                    <a:pt x="3" y="271"/>
                    <a:pt x="3" y="271"/>
                  </a:cubicBezTo>
                  <a:cubicBezTo>
                    <a:pt x="4" y="271"/>
                    <a:pt x="4" y="271"/>
                    <a:pt x="4" y="271"/>
                  </a:cubicBezTo>
                  <a:cubicBezTo>
                    <a:pt x="5" y="271"/>
                    <a:pt x="5" y="271"/>
                    <a:pt x="5" y="271"/>
                  </a:cubicBezTo>
                  <a:cubicBezTo>
                    <a:pt x="5" y="271"/>
                    <a:pt x="5" y="271"/>
                    <a:pt x="5" y="271"/>
                  </a:cubicBezTo>
                  <a:cubicBezTo>
                    <a:pt x="5" y="272"/>
                    <a:pt x="5" y="272"/>
                    <a:pt x="5" y="272"/>
                  </a:cubicBezTo>
                  <a:cubicBezTo>
                    <a:pt x="6" y="272"/>
                    <a:pt x="6" y="272"/>
                    <a:pt x="6" y="272"/>
                  </a:cubicBezTo>
                  <a:cubicBezTo>
                    <a:pt x="6" y="272"/>
                    <a:pt x="6" y="272"/>
                    <a:pt x="6" y="272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7" y="273"/>
                    <a:pt x="7" y="273"/>
                    <a:pt x="7" y="273"/>
                  </a:cubicBezTo>
                  <a:cubicBezTo>
                    <a:pt x="7" y="273"/>
                    <a:pt x="7" y="273"/>
                    <a:pt x="7" y="273"/>
                  </a:cubicBezTo>
                  <a:cubicBezTo>
                    <a:pt x="7" y="274"/>
                    <a:pt x="7" y="274"/>
                    <a:pt x="7" y="274"/>
                  </a:cubicBezTo>
                  <a:cubicBezTo>
                    <a:pt x="7" y="274"/>
                    <a:pt x="7" y="274"/>
                    <a:pt x="7" y="274"/>
                  </a:cubicBezTo>
                  <a:cubicBezTo>
                    <a:pt x="7" y="275"/>
                    <a:pt x="7" y="275"/>
                    <a:pt x="7" y="275"/>
                  </a:cubicBezTo>
                  <a:cubicBezTo>
                    <a:pt x="7" y="275"/>
                    <a:pt x="7" y="275"/>
                    <a:pt x="7" y="275"/>
                  </a:cubicBezTo>
                  <a:cubicBezTo>
                    <a:pt x="7" y="276"/>
                    <a:pt x="7" y="276"/>
                    <a:pt x="7" y="276"/>
                  </a:cubicBezTo>
                  <a:cubicBezTo>
                    <a:pt x="6" y="277"/>
                    <a:pt x="6" y="277"/>
                    <a:pt x="6" y="277"/>
                  </a:cubicBezTo>
                  <a:cubicBezTo>
                    <a:pt x="6" y="278"/>
                    <a:pt x="6" y="278"/>
                    <a:pt x="6" y="278"/>
                  </a:cubicBezTo>
                  <a:cubicBezTo>
                    <a:pt x="6" y="279"/>
                    <a:pt x="6" y="279"/>
                    <a:pt x="6" y="279"/>
                  </a:cubicBezTo>
                  <a:cubicBezTo>
                    <a:pt x="6" y="280"/>
                    <a:pt x="6" y="280"/>
                    <a:pt x="6" y="280"/>
                  </a:cubicBezTo>
                  <a:cubicBezTo>
                    <a:pt x="6" y="280"/>
                    <a:pt x="6" y="280"/>
                    <a:pt x="6" y="280"/>
                  </a:cubicBezTo>
                  <a:cubicBezTo>
                    <a:pt x="6" y="281"/>
                    <a:pt x="6" y="281"/>
                    <a:pt x="6" y="281"/>
                  </a:cubicBezTo>
                  <a:cubicBezTo>
                    <a:pt x="6" y="282"/>
                    <a:pt x="6" y="282"/>
                    <a:pt x="6" y="282"/>
                  </a:cubicBezTo>
                  <a:cubicBezTo>
                    <a:pt x="6" y="282"/>
                    <a:pt x="6" y="282"/>
                    <a:pt x="6" y="282"/>
                  </a:cubicBezTo>
                  <a:cubicBezTo>
                    <a:pt x="6" y="282"/>
                    <a:pt x="6" y="282"/>
                    <a:pt x="6" y="282"/>
                  </a:cubicBezTo>
                  <a:cubicBezTo>
                    <a:pt x="5" y="283"/>
                    <a:pt x="5" y="283"/>
                    <a:pt x="5" y="283"/>
                  </a:cubicBezTo>
                  <a:cubicBezTo>
                    <a:pt x="5" y="283"/>
                    <a:pt x="5" y="283"/>
                    <a:pt x="5" y="283"/>
                  </a:cubicBezTo>
                  <a:cubicBezTo>
                    <a:pt x="4" y="283"/>
                    <a:pt x="4" y="283"/>
                    <a:pt x="4" y="283"/>
                  </a:cubicBezTo>
                  <a:cubicBezTo>
                    <a:pt x="4" y="283"/>
                    <a:pt x="4" y="283"/>
                    <a:pt x="4" y="283"/>
                  </a:cubicBezTo>
                  <a:cubicBezTo>
                    <a:pt x="3" y="284"/>
                    <a:pt x="3" y="284"/>
                    <a:pt x="3" y="284"/>
                  </a:cubicBezTo>
                  <a:cubicBezTo>
                    <a:pt x="3" y="284"/>
                    <a:pt x="3" y="284"/>
                    <a:pt x="3" y="284"/>
                  </a:cubicBezTo>
                  <a:cubicBezTo>
                    <a:pt x="3" y="285"/>
                    <a:pt x="3" y="285"/>
                    <a:pt x="3" y="285"/>
                  </a:cubicBezTo>
                  <a:cubicBezTo>
                    <a:pt x="3" y="285"/>
                    <a:pt x="3" y="285"/>
                    <a:pt x="3" y="285"/>
                  </a:cubicBezTo>
                  <a:cubicBezTo>
                    <a:pt x="4" y="286"/>
                    <a:pt x="4" y="286"/>
                    <a:pt x="4" y="286"/>
                  </a:cubicBezTo>
                  <a:cubicBezTo>
                    <a:pt x="4" y="286"/>
                    <a:pt x="4" y="286"/>
                    <a:pt x="4" y="286"/>
                  </a:cubicBezTo>
                  <a:cubicBezTo>
                    <a:pt x="4" y="287"/>
                    <a:pt x="4" y="287"/>
                    <a:pt x="4" y="287"/>
                  </a:cubicBezTo>
                  <a:cubicBezTo>
                    <a:pt x="4" y="288"/>
                    <a:pt x="4" y="288"/>
                    <a:pt x="4" y="288"/>
                  </a:cubicBezTo>
                  <a:cubicBezTo>
                    <a:pt x="4" y="288"/>
                    <a:pt x="4" y="288"/>
                    <a:pt x="4" y="288"/>
                  </a:cubicBezTo>
                  <a:cubicBezTo>
                    <a:pt x="3" y="289"/>
                    <a:pt x="3" y="289"/>
                    <a:pt x="3" y="289"/>
                  </a:cubicBezTo>
                  <a:cubicBezTo>
                    <a:pt x="2" y="290"/>
                    <a:pt x="2" y="290"/>
                    <a:pt x="2" y="290"/>
                  </a:cubicBezTo>
                  <a:cubicBezTo>
                    <a:pt x="2" y="290"/>
                    <a:pt x="2" y="290"/>
                    <a:pt x="2" y="290"/>
                  </a:cubicBezTo>
                  <a:cubicBezTo>
                    <a:pt x="2" y="291"/>
                    <a:pt x="2" y="291"/>
                    <a:pt x="2" y="291"/>
                  </a:cubicBezTo>
                  <a:cubicBezTo>
                    <a:pt x="2" y="292"/>
                    <a:pt x="2" y="292"/>
                    <a:pt x="2" y="292"/>
                  </a:cubicBezTo>
                  <a:cubicBezTo>
                    <a:pt x="1" y="292"/>
                    <a:pt x="1" y="292"/>
                    <a:pt x="1" y="292"/>
                  </a:cubicBezTo>
                  <a:cubicBezTo>
                    <a:pt x="1" y="293"/>
                    <a:pt x="1" y="293"/>
                    <a:pt x="1" y="293"/>
                  </a:cubicBezTo>
                  <a:cubicBezTo>
                    <a:pt x="2" y="294"/>
                    <a:pt x="2" y="294"/>
                    <a:pt x="2" y="294"/>
                  </a:cubicBezTo>
                  <a:cubicBezTo>
                    <a:pt x="2" y="294"/>
                    <a:pt x="2" y="294"/>
                    <a:pt x="2" y="294"/>
                  </a:cubicBezTo>
                  <a:cubicBezTo>
                    <a:pt x="2" y="295"/>
                    <a:pt x="2" y="295"/>
                    <a:pt x="2" y="295"/>
                  </a:cubicBezTo>
                  <a:cubicBezTo>
                    <a:pt x="2" y="296"/>
                    <a:pt x="2" y="296"/>
                    <a:pt x="2" y="296"/>
                  </a:cubicBezTo>
                  <a:cubicBezTo>
                    <a:pt x="2" y="296"/>
                    <a:pt x="2" y="296"/>
                    <a:pt x="2" y="296"/>
                  </a:cubicBezTo>
                  <a:cubicBezTo>
                    <a:pt x="2" y="297"/>
                    <a:pt x="2" y="297"/>
                    <a:pt x="2" y="297"/>
                  </a:cubicBezTo>
                  <a:cubicBezTo>
                    <a:pt x="2" y="298"/>
                    <a:pt x="2" y="298"/>
                    <a:pt x="2" y="298"/>
                  </a:cubicBezTo>
                  <a:cubicBezTo>
                    <a:pt x="2" y="298"/>
                    <a:pt x="2" y="298"/>
                    <a:pt x="2" y="298"/>
                  </a:cubicBezTo>
                  <a:cubicBezTo>
                    <a:pt x="2" y="298"/>
                    <a:pt x="2" y="298"/>
                    <a:pt x="2" y="298"/>
                  </a:cubicBezTo>
                  <a:cubicBezTo>
                    <a:pt x="3" y="299"/>
                    <a:pt x="3" y="299"/>
                    <a:pt x="3" y="299"/>
                  </a:cubicBezTo>
                  <a:cubicBezTo>
                    <a:pt x="3" y="300"/>
                    <a:pt x="3" y="300"/>
                    <a:pt x="3" y="300"/>
                  </a:cubicBezTo>
                  <a:cubicBezTo>
                    <a:pt x="4" y="300"/>
                    <a:pt x="4" y="300"/>
                    <a:pt x="4" y="300"/>
                  </a:cubicBezTo>
                  <a:cubicBezTo>
                    <a:pt x="4" y="301"/>
                    <a:pt x="4" y="301"/>
                    <a:pt x="4" y="301"/>
                  </a:cubicBezTo>
                  <a:cubicBezTo>
                    <a:pt x="4" y="301"/>
                    <a:pt x="4" y="301"/>
                    <a:pt x="4" y="301"/>
                  </a:cubicBezTo>
                  <a:cubicBezTo>
                    <a:pt x="4" y="302"/>
                    <a:pt x="4" y="302"/>
                    <a:pt x="4" y="302"/>
                  </a:cubicBezTo>
                  <a:cubicBezTo>
                    <a:pt x="5" y="302"/>
                    <a:pt x="5" y="302"/>
                    <a:pt x="5" y="302"/>
                  </a:cubicBezTo>
                  <a:cubicBezTo>
                    <a:pt x="6" y="303"/>
                    <a:pt x="6" y="303"/>
                    <a:pt x="6" y="303"/>
                  </a:cubicBezTo>
                  <a:cubicBezTo>
                    <a:pt x="6" y="304"/>
                    <a:pt x="6" y="304"/>
                    <a:pt x="6" y="304"/>
                  </a:cubicBezTo>
                  <a:cubicBezTo>
                    <a:pt x="7" y="304"/>
                    <a:pt x="7" y="304"/>
                    <a:pt x="7" y="304"/>
                  </a:cubicBezTo>
                  <a:cubicBezTo>
                    <a:pt x="7" y="304"/>
                    <a:pt x="7" y="304"/>
                    <a:pt x="7" y="304"/>
                  </a:cubicBezTo>
                  <a:cubicBezTo>
                    <a:pt x="8" y="304"/>
                    <a:pt x="8" y="304"/>
                    <a:pt x="8" y="304"/>
                  </a:cubicBezTo>
                  <a:cubicBezTo>
                    <a:pt x="9" y="304"/>
                    <a:pt x="9" y="304"/>
                    <a:pt x="9" y="304"/>
                  </a:cubicBezTo>
                  <a:cubicBezTo>
                    <a:pt x="10" y="304"/>
                    <a:pt x="10" y="304"/>
                    <a:pt x="10" y="304"/>
                  </a:cubicBezTo>
                  <a:cubicBezTo>
                    <a:pt x="10" y="304"/>
                    <a:pt x="10" y="304"/>
                    <a:pt x="10" y="304"/>
                  </a:cubicBezTo>
                  <a:cubicBezTo>
                    <a:pt x="11" y="304"/>
                    <a:pt x="11" y="304"/>
                    <a:pt x="11" y="304"/>
                  </a:cubicBezTo>
                  <a:cubicBezTo>
                    <a:pt x="12" y="304"/>
                    <a:pt x="12" y="304"/>
                    <a:pt x="12" y="304"/>
                  </a:cubicBezTo>
                  <a:cubicBezTo>
                    <a:pt x="12" y="304"/>
                    <a:pt x="12" y="304"/>
                    <a:pt x="12" y="304"/>
                  </a:cubicBezTo>
                  <a:cubicBezTo>
                    <a:pt x="13" y="304"/>
                    <a:pt x="13" y="304"/>
                    <a:pt x="13" y="304"/>
                  </a:cubicBezTo>
                  <a:cubicBezTo>
                    <a:pt x="13" y="304"/>
                    <a:pt x="13" y="304"/>
                    <a:pt x="13" y="304"/>
                  </a:cubicBezTo>
                  <a:cubicBezTo>
                    <a:pt x="13" y="305"/>
                    <a:pt x="13" y="305"/>
                    <a:pt x="13" y="305"/>
                  </a:cubicBezTo>
                  <a:cubicBezTo>
                    <a:pt x="13" y="305"/>
                    <a:pt x="13" y="305"/>
                    <a:pt x="13" y="305"/>
                  </a:cubicBezTo>
                  <a:cubicBezTo>
                    <a:pt x="14" y="306"/>
                    <a:pt x="14" y="306"/>
                    <a:pt x="14" y="306"/>
                  </a:cubicBezTo>
                  <a:cubicBezTo>
                    <a:pt x="14" y="306"/>
                    <a:pt x="14" y="306"/>
                    <a:pt x="14" y="306"/>
                  </a:cubicBezTo>
                  <a:cubicBezTo>
                    <a:pt x="14" y="306"/>
                    <a:pt x="14" y="306"/>
                    <a:pt x="14" y="306"/>
                  </a:cubicBezTo>
                  <a:cubicBezTo>
                    <a:pt x="14" y="307"/>
                    <a:pt x="14" y="307"/>
                    <a:pt x="14" y="307"/>
                  </a:cubicBezTo>
                  <a:cubicBezTo>
                    <a:pt x="13" y="307"/>
                    <a:pt x="13" y="307"/>
                    <a:pt x="13" y="307"/>
                  </a:cubicBezTo>
                  <a:cubicBezTo>
                    <a:pt x="13" y="307"/>
                    <a:pt x="13" y="307"/>
                    <a:pt x="13" y="307"/>
                  </a:cubicBezTo>
                  <a:cubicBezTo>
                    <a:pt x="12" y="308"/>
                    <a:pt x="12" y="308"/>
                    <a:pt x="12" y="308"/>
                  </a:cubicBezTo>
                  <a:cubicBezTo>
                    <a:pt x="12" y="308"/>
                    <a:pt x="12" y="308"/>
                    <a:pt x="12" y="308"/>
                  </a:cubicBezTo>
                  <a:cubicBezTo>
                    <a:pt x="11" y="309"/>
                    <a:pt x="11" y="309"/>
                    <a:pt x="11" y="309"/>
                  </a:cubicBezTo>
                  <a:cubicBezTo>
                    <a:pt x="11" y="309"/>
                    <a:pt x="11" y="309"/>
                    <a:pt x="11" y="309"/>
                  </a:cubicBezTo>
                  <a:cubicBezTo>
                    <a:pt x="10" y="309"/>
                    <a:pt x="10" y="309"/>
                    <a:pt x="10" y="309"/>
                  </a:cubicBezTo>
                  <a:cubicBezTo>
                    <a:pt x="9" y="309"/>
                    <a:pt x="9" y="309"/>
                    <a:pt x="9" y="309"/>
                  </a:cubicBezTo>
                  <a:cubicBezTo>
                    <a:pt x="9" y="310"/>
                    <a:pt x="9" y="310"/>
                    <a:pt x="9" y="310"/>
                  </a:cubicBezTo>
                  <a:cubicBezTo>
                    <a:pt x="9" y="310"/>
                    <a:pt x="9" y="310"/>
                    <a:pt x="9" y="310"/>
                  </a:cubicBezTo>
                  <a:cubicBezTo>
                    <a:pt x="9" y="311"/>
                    <a:pt x="9" y="311"/>
                    <a:pt x="9" y="311"/>
                  </a:cubicBezTo>
                  <a:cubicBezTo>
                    <a:pt x="9" y="311"/>
                    <a:pt x="9" y="311"/>
                    <a:pt x="9" y="311"/>
                  </a:cubicBezTo>
                  <a:cubicBezTo>
                    <a:pt x="9" y="311"/>
                    <a:pt x="9" y="311"/>
                    <a:pt x="9" y="311"/>
                  </a:cubicBezTo>
                  <a:cubicBezTo>
                    <a:pt x="9" y="312"/>
                    <a:pt x="9" y="312"/>
                    <a:pt x="9" y="312"/>
                  </a:cubicBezTo>
                  <a:cubicBezTo>
                    <a:pt x="9" y="312"/>
                    <a:pt x="9" y="312"/>
                    <a:pt x="9" y="312"/>
                  </a:cubicBezTo>
                  <a:cubicBezTo>
                    <a:pt x="10" y="313"/>
                    <a:pt x="10" y="313"/>
                    <a:pt x="10" y="313"/>
                  </a:cubicBezTo>
                  <a:cubicBezTo>
                    <a:pt x="11" y="313"/>
                    <a:pt x="11" y="313"/>
                    <a:pt x="11" y="313"/>
                  </a:cubicBezTo>
                  <a:cubicBezTo>
                    <a:pt x="11" y="313"/>
                    <a:pt x="11" y="313"/>
                    <a:pt x="11" y="313"/>
                  </a:cubicBezTo>
                  <a:cubicBezTo>
                    <a:pt x="12" y="314"/>
                    <a:pt x="12" y="314"/>
                    <a:pt x="12" y="314"/>
                  </a:cubicBezTo>
                  <a:cubicBezTo>
                    <a:pt x="12" y="315"/>
                    <a:pt x="12" y="315"/>
                    <a:pt x="12" y="315"/>
                  </a:cubicBezTo>
                  <a:cubicBezTo>
                    <a:pt x="12" y="315"/>
                    <a:pt x="12" y="315"/>
                    <a:pt x="12" y="315"/>
                  </a:cubicBezTo>
                  <a:cubicBezTo>
                    <a:pt x="12" y="315"/>
                    <a:pt x="12" y="315"/>
                    <a:pt x="12" y="315"/>
                  </a:cubicBezTo>
                  <a:cubicBezTo>
                    <a:pt x="12" y="316"/>
                    <a:pt x="12" y="316"/>
                    <a:pt x="12" y="316"/>
                  </a:cubicBezTo>
                  <a:cubicBezTo>
                    <a:pt x="12" y="318"/>
                    <a:pt x="12" y="318"/>
                    <a:pt x="12" y="318"/>
                  </a:cubicBezTo>
                  <a:cubicBezTo>
                    <a:pt x="12" y="318"/>
                    <a:pt x="12" y="318"/>
                    <a:pt x="12" y="318"/>
                  </a:cubicBezTo>
                  <a:cubicBezTo>
                    <a:pt x="12" y="319"/>
                    <a:pt x="12" y="319"/>
                    <a:pt x="12" y="319"/>
                  </a:cubicBezTo>
                  <a:cubicBezTo>
                    <a:pt x="12" y="319"/>
                    <a:pt x="12" y="319"/>
                    <a:pt x="12" y="319"/>
                  </a:cubicBezTo>
                  <a:cubicBezTo>
                    <a:pt x="12" y="319"/>
                    <a:pt x="12" y="319"/>
                    <a:pt x="12" y="319"/>
                  </a:cubicBezTo>
                  <a:cubicBezTo>
                    <a:pt x="13" y="319"/>
                    <a:pt x="13" y="319"/>
                    <a:pt x="13" y="319"/>
                  </a:cubicBezTo>
                  <a:cubicBezTo>
                    <a:pt x="13" y="319"/>
                    <a:pt x="13" y="319"/>
                    <a:pt x="13" y="319"/>
                  </a:cubicBezTo>
                  <a:cubicBezTo>
                    <a:pt x="14" y="319"/>
                    <a:pt x="14" y="319"/>
                    <a:pt x="14" y="319"/>
                  </a:cubicBezTo>
                  <a:cubicBezTo>
                    <a:pt x="14" y="319"/>
                    <a:pt x="14" y="319"/>
                    <a:pt x="14" y="319"/>
                  </a:cubicBezTo>
                  <a:cubicBezTo>
                    <a:pt x="15" y="319"/>
                    <a:pt x="15" y="319"/>
                    <a:pt x="15" y="319"/>
                  </a:cubicBezTo>
                  <a:cubicBezTo>
                    <a:pt x="15" y="319"/>
                    <a:pt x="15" y="319"/>
                    <a:pt x="15" y="319"/>
                  </a:cubicBezTo>
                  <a:cubicBezTo>
                    <a:pt x="16" y="319"/>
                    <a:pt x="16" y="319"/>
                    <a:pt x="16" y="319"/>
                  </a:cubicBezTo>
                  <a:cubicBezTo>
                    <a:pt x="16" y="319"/>
                    <a:pt x="16" y="319"/>
                    <a:pt x="16" y="319"/>
                  </a:cubicBezTo>
                  <a:cubicBezTo>
                    <a:pt x="16" y="319"/>
                    <a:pt x="16" y="319"/>
                    <a:pt x="16" y="319"/>
                  </a:cubicBezTo>
                  <a:cubicBezTo>
                    <a:pt x="17" y="319"/>
                    <a:pt x="17" y="319"/>
                    <a:pt x="17" y="319"/>
                  </a:cubicBezTo>
                  <a:cubicBezTo>
                    <a:pt x="18" y="319"/>
                    <a:pt x="18" y="319"/>
                    <a:pt x="18" y="319"/>
                  </a:cubicBezTo>
                  <a:cubicBezTo>
                    <a:pt x="19" y="319"/>
                    <a:pt x="19" y="319"/>
                    <a:pt x="19" y="319"/>
                  </a:cubicBezTo>
                  <a:cubicBezTo>
                    <a:pt x="19" y="319"/>
                    <a:pt x="19" y="319"/>
                    <a:pt x="19" y="319"/>
                  </a:cubicBezTo>
                  <a:cubicBezTo>
                    <a:pt x="20" y="319"/>
                    <a:pt x="20" y="319"/>
                    <a:pt x="20" y="319"/>
                  </a:cubicBezTo>
                  <a:cubicBezTo>
                    <a:pt x="20" y="319"/>
                    <a:pt x="20" y="319"/>
                    <a:pt x="20" y="319"/>
                  </a:cubicBezTo>
                  <a:cubicBezTo>
                    <a:pt x="20" y="320"/>
                    <a:pt x="20" y="320"/>
                    <a:pt x="20" y="320"/>
                  </a:cubicBezTo>
                  <a:cubicBezTo>
                    <a:pt x="21" y="320"/>
                    <a:pt x="21" y="320"/>
                    <a:pt x="21" y="320"/>
                  </a:cubicBezTo>
                  <a:cubicBezTo>
                    <a:pt x="21" y="321"/>
                    <a:pt x="21" y="321"/>
                    <a:pt x="21" y="321"/>
                  </a:cubicBezTo>
                  <a:cubicBezTo>
                    <a:pt x="21" y="321"/>
                    <a:pt x="21" y="321"/>
                    <a:pt x="21" y="321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3" y="320"/>
                    <a:pt x="23" y="320"/>
                    <a:pt x="23" y="320"/>
                  </a:cubicBezTo>
                  <a:cubicBezTo>
                    <a:pt x="23" y="320"/>
                    <a:pt x="23" y="320"/>
                    <a:pt x="23" y="320"/>
                  </a:cubicBezTo>
                  <a:cubicBezTo>
                    <a:pt x="23" y="319"/>
                    <a:pt x="23" y="319"/>
                    <a:pt x="23" y="319"/>
                  </a:cubicBezTo>
                  <a:cubicBezTo>
                    <a:pt x="23" y="319"/>
                    <a:pt x="23" y="319"/>
                    <a:pt x="23" y="319"/>
                  </a:cubicBezTo>
                  <a:cubicBezTo>
                    <a:pt x="23" y="319"/>
                    <a:pt x="23" y="319"/>
                    <a:pt x="23" y="319"/>
                  </a:cubicBezTo>
                  <a:cubicBezTo>
                    <a:pt x="23" y="318"/>
                    <a:pt x="23" y="318"/>
                    <a:pt x="23" y="318"/>
                  </a:cubicBezTo>
                  <a:cubicBezTo>
                    <a:pt x="23" y="317"/>
                    <a:pt x="23" y="317"/>
                    <a:pt x="23" y="317"/>
                  </a:cubicBezTo>
                  <a:cubicBezTo>
                    <a:pt x="23" y="317"/>
                    <a:pt x="23" y="317"/>
                    <a:pt x="23" y="317"/>
                  </a:cubicBezTo>
                  <a:cubicBezTo>
                    <a:pt x="24" y="316"/>
                    <a:pt x="24" y="316"/>
                    <a:pt x="24" y="316"/>
                  </a:cubicBezTo>
                  <a:cubicBezTo>
                    <a:pt x="24" y="315"/>
                    <a:pt x="24" y="315"/>
                    <a:pt x="24" y="315"/>
                  </a:cubicBezTo>
                  <a:cubicBezTo>
                    <a:pt x="25" y="315"/>
                    <a:pt x="25" y="315"/>
                    <a:pt x="25" y="315"/>
                  </a:cubicBezTo>
                  <a:cubicBezTo>
                    <a:pt x="25" y="314"/>
                    <a:pt x="25" y="314"/>
                    <a:pt x="25" y="314"/>
                  </a:cubicBezTo>
                  <a:cubicBezTo>
                    <a:pt x="25" y="313"/>
                    <a:pt x="25" y="313"/>
                    <a:pt x="25" y="313"/>
                  </a:cubicBezTo>
                  <a:cubicBezTo>
                    <a:pt x="25" y="313"/>
                    <a:pt x="25" y="313"/>
                    <a:pt x="25" y="313"/>
                  </a:cubicBezTo>
                  <a:cubicBezTo>
                    <a:pt x="26" y="312"/>
                    <a:pt x="26" y="312"/>
                    <a:pt x="26" y="312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28" y="312"/>
                    <a:pt x="28" y="312"/>
                    <a:pt x="28" y="312"/>
                  </a:cubicBezTo>
                  <a:cubicBezTo>
                    <a:pt x="28" y="313"/>
                    <a:pt x="28" y="313"/>
                    <a:pt x="28" y="313"/>
                  </a:cubicBezTo>
                  <a:cubicBezTo>
                    <a:pt x="28" y="313"/>
                    <a:pt x="28" y="313"/>
                    <a:pt x="28" y="313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31" y="314"/>
                    <a:pt x="31" y="314"/>
                    <a:pt x="31" y="314"/>
                  </a:cubicBezTo>
                  <a:cubicBezTo>
                    <a:pt x="31" y="314"/>
                    <a:pt x="31" y="314"/>
                    <a:pt x="31" y="314"/>
                  </a:cubicBezTo>
                  <a:cubicBezTo>
                    <a:pt x="31" y="314"/>
                    <a:pt x="31" y="314"/>
                    <a:pt x="31" y="314"/>
                  </a:cubicBezTo>
                  <a:cubicBezTo>
                    <a:pt x="32" y="314"/>
                    <a:pt x="32" y="314"/>
                    <a:pt x="32" y="314"/>
                  </a:cubicBezTo>
                  <a:cubicBezTo>
                    <a:pt x="32" y="313"/>
                    <a:pt x="32" y="313"/>
                    <a:pt x="32" y="313"/>
                  </a:cubicBezTo>
                  <a:cubicBezTo>
                    <a:pt x="33" y="313"/>
                    <a:pt x="33" y="313"/>
                    <a:pt x="33" y="313"/>
                  </a:cubicBezTo>
                  <a:cubicBezTo>
                    <a:pt x="33" y="313"/>
                    <a:pt x="33" y="313"/>
                    <a:pt x="33" y="313"/>
                  </a:cubicBezTo>
                  <a:cubicBezTo>
                    <a:pt x="33" y="313"/>
                    <a:pt x="33" y="313"/>
                    <a:pt x="33" y="313"/>
                  </a:cubicBezTo>
                  <a:cubicBezTo>
                    <a:pt x="33" y="313"/>
                    <a:pt x="33" y="313"/>
                    <a:pt x="33" y="313"/>
                  </a:cubicBezTo>
                  <a:cubicBezTo>
                    <a:pt x="34" y="313"/>
                    <a:pt x="34" y="313"/>
                    <a:pt x="34" y="313"/>
                  </a:cubicBezTo>
                  <a:cubicBezTo>
                    <a:pt x="34" y="312"/>
                    <a:pt x="34" y="312"/>
                    <a:pt x="34" y="312"/>
                  </a:cubicBezTo>
                  <a:cubicBezTo>
                    <a:pt x="35" y="313"/>
                    <a:pt x="35" y="313"/>
                    <a:pt x="35" y="313"/>
                  </a:cubicBezTo>
                  <a:cubicBezTo>
                    <a:pt x="35" y="313"/>
                    <a:pt x="35" y="313"/>
                    <a:pt x="35" y="313"/>
                  </a:cubicBezTo>
                  <a:cubicBezTo>
                    <a:pt x="36" y="313"/>
                    <a:pt x="36" y="313"/>
                    <a:pt x="36" y="313"/>
                  </a:cubicBezTo>
                  <a:cubicBezTo>
                    <a:pt x="36" y="314"/>
                    <a:pt x="36" y="314"/>
                    <a:pt x="36" y="314"/>
                  </a:cubicBezTo>
                  <a:cubicBezTo>
                    <a:pt x="36" y="315"/>
                    <a:pt x="36" y="315"/>
                    <a:pt x="36" y="315"/>
                  </a:cubicBezTo>
                  <a:cubicBezTo>
                    <a:pt x="36" y="315"/>
                    <a:pt x="36" y="315"/>
                    <a:pt x="36" y="315"/>
                  </a:cubicBezTo>
                  <a:cubicBezTo>
                    <a:pt x="36" y="315"/>
                    <a:pt x="36" y="315"/>
                    <a:pt x="36" y="315"/>
                  </a:cubicBezTo>
                  <a:cubicBezTo>
                    <a:pt x="36" y="315"/>
                    <a:pt x="36" y="315"/>
                    <a:pt x="36" y="315"/>
                  </a:cubicBezTo>
                  <a:cubicBezTo>
                    <a:pt x="36" y="315"/>
                    <a:pt x="36" y="315"/>
                    <a:pt x="36" y="315"/>
                  </a:cubicBezTo>
                  <a:cubicBezTo>
                    <a:pt x="36" y="316"/>
                    <a:pt x="36" y="316"/>
                    <a:pt x="36" y="316"/>
                  </a:cubicBezTo>
                  <a:cubicBezTo>
                    <a:pt x="36" y="316"/>
                    <a:pt x="36" y="316"/>
                    <a:pt x="36" y="316"/>
                  </a:cubicBezTo>
                  <a:cubicBezTo>
                    <a:pt x="37" y="317"/>
                    <a:pt x="37" y="317"/>
                    <a:pt x="37" y="317"/>
                  </a:cubicBezTo>
                  <a:cubicBezTo>
                    <a:pt x="37" y="317"/>
                    <a:pt x="37" y="317"/>
                    <a:pt x="37" y="317"/>
                  </a:cubicBezTo>
                  <a:cubicBezTo>
                    <a:pt x="37" y="318"/>
                    <a:pt x="37" y="318"/>
                    <a:pt x="37" y="318"/>
                  </a:cubicBezTo>
                  <a:cubicBezTo>
                    <a:pt x="38" y="318"/>
                    <a:pt x="38" y="318"/>
                    <a:pt x="38" y="318"/>
                  </a:cubicBezTo>
                  <a:cubicBezTo>
                    <a:pt x="38" y="319"/>
                    <a:pt x="38" y="319"/>
                    <a:pt x="38" y="319"/>
                  </a:cubicBezTo>
                  <a:cubicBezTo>
                    <a:pt x="39" y="319"/>
                    <a:pt x="39" y="319"/>
                    <a:pt x="39" y="319"/>
                  </a:cubicBezTo>
                  <a:cubicBezTo>
                    <a:pt x="40" y="320"/>
                    <a:pt x="40" y="320"/>
                    <a:pt x="40" y="320"/>
                  </a:cubicBezTo>
                  <a:cubicBezTo>
                    <a:pt x="40" y="321"/>
                    <a:pt x="40" y="321"/>
                    <a:pt x="40" y="321"/>
                  </a:cubicBezTo>
                  <a:cubicBezTo>
                    <a:pt x="41" y="321"/>
                    <a:pt x="41" y="321"/>
                    <a:pt x="41" y="321"/>
                  </a:cubicBezTo>
                  <a:cubicBezTo>
                    <a:pt x="41" y="321"/>
                    <a:pt x="41" y="321"/>
                    <a:pt x="41" y="321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2" y="319"/>
                    <a:pt x="42" y="319"/>
                    <a:pt x="42" y="319"/>
                  </a:cubicBezTo>
                  <a:cubicBezTo>
                    <a:pt x="41" y="317"/>
                    <a:pt x="41" y="317"/>
                    <a:pt x="41" y="317"/>
                  </a:cubicBezTo>
                  <a:cubicBezTo>
                    <a:pt x="40" y="316"/>
                    <a:pt x="40" y="316"/>
                    <a:pt x="40" y="316"/>
                  </a:cubicBezTo>
                  <a:cubicBezTo>
                    <a:pt x="40" y="315"/>
                    <a:pt x="40" y="315"/>
                    <a:pt x="40" y="315"/>
                  </a:cubicBezTo>
                  <a:cubicBezTo>
                    <a:pt x="39" y="315"/>
                    <a:pt x="39" y="315"/>
                    <a:pt x="39" y="315"/>
                  </a:cubicBezTo>
                  <a:cubicBezTo>
                    <a:pt x="39" y="314"/>
                    <a:pt x="39" y="314"/>
                    <a:pt x="39" y="314"/>
                  </a:cubicBezTo>
                  <a:cubicBezTo>
                    <a:pt x="38" y="313"/>
                    <a:pt x="38" y="313"/>
                    <a:pt x="38" y="313"/>
                  </a:cubicBezTo>
                  <a:cubicBezTo>
                    <a:pt x="39" y="312"/>
                    <a:pt x="39" y="312"/>
                    <a:pt x="39" y="312"/>
                  </a:cubicBezTo>
                  <a:cubicBezTo>
                    <a:pt x="40" y="311"/>
                    <a:pt x="40" y="311"/>
                    <a:pt x="40" y="311"/>
                  </a:cubicBezTo>
                  <a:cubicBezTo>
                    <a:pt x="40" y="311"/>
                    <a:pt x="40" y="311"/>
                    <a:pt x="40" y="311"/>
                  </a:cubicBezTo>
                  <a:cubicBezTo>
                    <a:pt x="41" y="312"/>
                    <a:pt x="41" y="312"/>
                    <a:pt x="41" y="312"/>
                  </a:cubicBezTo>
                  <a:cubicBezTo>
                    <a:pt x="43" y="313"/>
                    <a:pt x="43" y="313"/>
                    <a:pt x="43" y="313"/>
                  </a:cubicBezTo>
                  <a:cubicBezTo>
                    <a:pt x="43" y="313"/>
                    <a:pt x="43" y="313"/>
                    <a:pt x="43" y="313"/>
                  </a:cubicBezTo>
                  <a:cubicBezTo>
                    <a:pt x="44" y="315"/>
                    <a:pt x="44" y="315"/>
                    <a:pt x="44" y="315"/>
                  </a:cubicBezTo>
                  <a:cubicBezTo>
                    <a:pt x="44" y="315"/>
                    <a:pt x="44" y="315"/>
                    <a:pt x="44" y="315"/>
                  </a:cubicBezTo>
                  <a:cubicBezTo>
                    <a:pt x="45" y="315"/>
                    <a:pt x="45" y="315"/>
                    <a:pt x="45" y="315"/>
                  </a:cubicBezTo>
                  <a:cubicBezTo>
                    <a:pt x="46" y="316"/>
                    <a:pt x="46" y="316"/>
                    <a:pt x="46" y="316"/>
                  </a:cubicBezTo>
                  <a:cubicBezTo>
                    <a:pt x="47" y="316"/>
                    <a:pt x="47" y="316"/>
                    <a:pt x="47" y="316"/>
                  </a:cubicBezTo>
                  <a:cubicBezTo>
                    <a:pt x="47" y="318"/>
                    <a:pt x="47" y="318"/>
                    <a:pt x="47" y="318"/>
                  </a:cubicBezTo>
                  <a:cubicBezTo>
                    <a:pt x="47" y="318"/>
                    <a:pt x="47" y="318"/>
                    <a:pt x="47" y="318"/>
                  </a:cubicBezTo>
                  <a:cubicBezTo>
                    <a:pt x="47" y="319"/>
                    <a:pt x="47" y="319"/>
                    <a:pt x="47" y="319"/>
                  </a:cubicBezTo>
                  <a:cubicBezTo>
                    <a:pt x="47" y="319"/>
                    <a:pt x="47" y="319"/>
                    <a:pt x="47" y="319"/>
                  </a:cubicBezTo>
                  <a:cubicBezTo>
                    <a:pt x="47" y="320"/>
                    <a:pt x="47" y="320"/>
                    <a:pt x="47" y="320"/>
                  </a:cubicBezTo>
                  <a:cubicBezTo>
                    <a:pt x="47" y="321"/>
                    <a:pt x="47" y="321"/>
                    <a:pt x="47" y="321"/>
                  </a:cubicBezTo>
                  <a:cubicBezTo>
                    <a:pt x="47" y="322"/>
                    <a:pt x="47" y="322"/>
                    <a:pt x="47" y="322"/>
                  </a:cubicBezTo>
                  <a:cubicBezTo>
                    <a:pt x="47" y="323"/>
                    <a:pt x="47" y="323"/>
                    <a:pt x="47" y="323"/>
                  </a:cubicBezTo>
                  <a:cubicBezTo>
                    <a:pt x="46" y="323"/>
                    <a:pt x="46" y="323"/>
                    <a:pt x="46" y="323"/>
                  </a:cubicBezTo>
                  <a:cubicBezTo>
                    <a:pt x="45" y="323"/>
                    <a:pt x="45" y="323"/>
                    <a:pt x="45" y="323"/>
                  </a:cubicBezTo>
                  <a:cubicBezTo>
                    <a:pt x="44" y="323"/>
                    <a:pt x="44" y="323"/>
                    <a:pt x="44" y="323"/>
                  </a:cubicBezTo>
                  <a:cubicBezTo>
                    <a:pt x="42" y="323"/>
                    <a:pt x="42" y="323"/>
                    <a:pt x="42" y="323"/>
                  </a:cubicBezTo>
                  <a:cubicBezTo>
                    <a:pt x="41" y="323"/>
                    <a:pt x="41" y="323"/>
                    <a:pt x="41" y="323"/>
                  </a:cubicBezTo>
                  <a:cubicBezTo>
                    <a:pt x="40" y="324"/>
                    <a:pt x="40" y="324"/>
                    <a:pt x="40" y="324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40" y="326"/>
                    <a:pt x="40" y="326"/>
                    <a:pt x="40" y="326"/>
                  </a:cubicBezTo>
                  <a:cubicBezTo>
                    <a:pt x="40" y="326"/>
                    <a:pt x="40" y="326"/>
                    <a:pt x="40" y="326"/>
                  </a:cubicBezTo>
                  <a:cubicBezTo>
                    <a:pt x="40" y="327"/>
                    <a:pt x="40" y="327"/>
                    <a:pt x="40" y="327"/>
                  </a:cubicBezTo>
                  <a:cubicBezTo>
                    <a:pt x="40" y="328"/>
                    <a:pt x="40" y="328"/>
                    <a:pt x="40" y="328"/>
                  </a:cubicBezTo>
                  <a:cubicBezTo>
                    <a:pt x="40" y="328"/>
                    <a:pt x="40" y="328"/>
                    <a:pt x="40" y="328"/>
                  </a:cubicBezTo>
                  <a:cubicBezTo>
                    <a:pt x="39" y="330"/>
                    <a:pt x="39" y="330"/>
                    <a:pt x="39" y="330"/>
                  </a:cubicBezTo>
                  <a:cubicBezTo>
                    <a:pt x="38" y="330"/>
                    <a:pt x="38" y="330"/>
                    <a:pt x="38" y="330"/>
                  </a:cubicBezTo>
                  <a:cubicBezTo>
                    <a:pt x="37" y="330"/>
                    <a:pt x="37" y="330"/>
                    <a:pt x="37" y="330"/>
                  </a:cubicBezTo>
                  <a:cubicBezTo>
                    <a:pt x="37" y="330"/>
                    <a:pt x="37" y="330"/>
                    <a:pt x="37" y="330"/>
                  </a:cubicBezTo>
                  <a:cubicBezTo>
                    <a:pt x="37" y="330"/>
                    <a:pt x="37" y="330"/>
                    <a:pt x="37" y="330"/>
                  </a:cubicBezTo>
                  <a:cubicBezTo>
                    <a:pt x="37" y="331"/>
                    <a:pt x="37" y="331"/>
                    <a:pt x="37" y="331"/>
                  </a:cubicBezTo>
                  <a:cubicBezTo>
                    <a:pt x="37" y="331"/>
                    <a:pt x="37" y="331"/>
                    <a:pt x="37" y="331"/>
                  </a:cubicBezTo>
                  <a:cubicBezTo>
                    <a:pt x="38" y="331"/>
                    <a:pt x="38" y="331"/>
                    <a:pt x="38" y="331"/>
                  </a:cubicBezTo>
                  <a:cubicBezTo>
                    <a:pt x="38" y="332"/>
                    <a:pt x="38" y="332"/>
                    <a:pt x="38" y="332"/>
                  </a:cubicBezTo>
                  <a:cubicBezTo>
                    <a:pt x="38" y="332"/>
                    <a:pt x="38" y="332"/>
                    <a:pt x="38" y="332"/>
                  </a:cubicBezTo>
                  <a:cubicBezTo>
                    <a:pt x="38" y="333"/>
                    <a:pt x="38" y="333"/>
                    <a:pt x="38" y="333"/>
                  </a:cubicBezTo>
                  <a:cubicBezTo>
                    <a:pt x="39" y="334"/>
                    <a:pt x="39" y="334"/>
                    <a:pt x="39" y="334"/>
                  </a:cubicBezTo>
                  <a:cubicBezTo>
                    <a:pt x="39" y="335"/>
                    <a:pt x="39" y="335"/>
                    <a:pt x="39" y="335"/>
                  </a:cubicBezTo>
                  <a:cubicBezTo>
                    <a:pt x="40" y="335"/>
                    <a:pt x="40" y="335"/>
                    <a:pt x="40" y="335"/>
                  </a:cubicBezTo>
                  <a:cubicBezTo>
                    <a:pt x="41" y="335"/>
                    <a:pt x="41" y="335"/>
                    <a:pt x="41" y="335"/>
                  </a:cubicBezTo>
                  <a:cubicBezTo>
                    <a:pt x="42" y="336"/>
                    <a:pt x="42" y="336"/>
                    <a:pt x="42" y="336"/>
                  </a:cubicBezTo>
                  <a:cubicBezTo>
                    <a:pt x="43" y="336"/>
                    <a:pt x="43" y="336"/>
                    <a:pt x="43" y="336"/>
                  </a:cubicBezTo>
                  <a:cubicBezTo>
                    <a:pt x="44" y="337"/>
                    <a:pt x="44" y="337"/>
                    <a:pt x="44" y="337"/>
                  </a:cubicBezTo>
                  <a:cubicBezTo>
                    <a:pt x="44" y="338"/>
                    <a:pt x="44" y="338"/>
                    <a:pt x="44" y="338"/>
                  </a:cubicBezTo>
                  <a:cubicBezTo>
                    <a:pt x="43" y="339"/>
                    <a:pt x="43" y="339"/>
                    <a:pt x="43" y="339"/>
                  </a:cubicBezTo>
                  <a:cubicBezTo>
                    <a:pt x="43" y="340"/>
                    <a:pt x="43" y="340"/>
                    <a:pt x="43" y="340"/>
                  </a:cubicBezTo>
                  <a:cubicBezTo>
                    <a:pt x="44" y="340"/>
                    <a:pt x="44" y="340"/>
                    <a:pt x="44" y="340"/>
                  </a:cubicBezTo>
                  <a:cubicBezTo>
                    <a:pt x="44" y="341"/>
                    <a:pt x="44" y="341"/>
                    <a:pt x="44" y="341"/>
                  </a:cubicBezTo>
                  <a:cubicBezTo>
                    <a:pt x="44" y="342"/>
                    <a:pt x="44" y="342"/>
                    <a:pt x="44" y="342"/>
                  </a:cubicBezTo>
                  <a:cubicBezTo>
                    <a:pt x="43" y="342"/>
                    <a:pt x="43" y="342"/>
                    <a:pt x="43" y="342"/>
                  </a:cubicBezTo>
                  <a:cubicBezTo>
                    <a:pt x="42" y="342"/>
                    <a:pt x="42" y="342"/>
                    <a:pt x="42" y="342"/>
                  </a:cubicBezTo>
                  <a:cubicBezTo>
                    <a:pt x="41" y="342"/>
                    <a:pt x="41" y="342"/>
                    <a:pt x="41" y="342"/>
                  </a:cubicBezTo>
                  <a:cubicBezTo>
                    <a:pt x="40" y="341"/>
                    <a:pt x="40" y="341"/>
                    <a:pt x="40" y="341"/>
                  </a:cubicBezTo>
                  <a:cubicBezTo>
                    <a:pt x="40" y="341"/>
                    <a:pt x="40" y="341"/>
                    <a:pt x="40" y="341"/>
                  </a:cubicBezTo>
                  <a:cubicBezTo>
                    <a:pt x="40" y="340"/>
                    <a:pt x="40" y="340"/>
                    <a:pt x="40" y="340"/>
                  </a:cubicBezTo>
                  <a:cubicBezTo>
                    <a:pt x="40" y="339"/>
                    <a:pt x="40" y="339"/>
                    <a:pt x="40" y="339"/>
                  </a:cubicBezTo>
                  <a:cubicBezTo>
                    <a:pt x="40" y="339"/>
                    <a:pt x="40" y="339"/>
                    <a:pt x="40" y="339"/>
                  </a:cubicBezTo>
                  <a:cubicBezTo>
                    <a:pt x="39" y="338"/>
                    <a:pt x="39" y="338"/>
                    <a:pt x="39" y="338"/>
                  </a:cubicBezTo>
                  <a:cubicBezTo>
                    <a:pt x="39" y="338"/>
                    <a:pt x="39" y="338"/>
                    <a:pt x="39" y="338"/>
                  </a:cubicBezTo>
                  <a:cubicBezTo>
                    <a:pt x="39" y="338"/>
                    <a:pt x="39" y="338"/>
                    <a:pt x="39" y="338"/>
                  </a:cubicBezTo>
                  <a:cubicBezTo>
                    <a:pt x="39" y="337"/>
                    <a:pt x="39" y="337"/>
                    <a:pt x="39" y="337"/>
                  </a:cubicBezTo>
                  <a:cubicBezTo>
                    <a:pt x="39" y="337"/>
                    <a:pt x="39" y="337"/>
                    <a:pt x="39" y="337"/>
                  </a:cubicBezTo>
                  <a:cubicBezTo>
                    <a:pt x="39" y="336"/>
                    <a:pt x="39" y="336"/>
                    <a:pt x="39" y="336"/>
                  </a:cubicBezTo>
                  <a:cubicBezTo>
                    <a:pt x="39" y="336"/>
                    <a:pt x="39" y="336"/>
                    <a:pt x="39" y="336"/>
                  </a:cubicBezTo>
                  <a:cubicBezTo>
                    <a:pt x="38" y="335"/>
                    <a:pt x="38" y="335"/>
                    <a:pt x="38" y="335"/>
                  </a:cubicBezTo>
                  <a:cubicBezTo>
                    <a:pt x="38" y="335"/>
                    <a:pt x="38" y="335"/>
                    <a:pt x="38" y="335"/>
                  </a:cubicBezTo>
                  <a:cubicBezTo>
                    <a:pt x="38" y="334"/>
                    <a:pt x="38" y="334"/>
                    <a:pt x="38" y="334"/>
                  </a:cubicBezTo>
                  <a:cubicBezTo>
                    <a:pt x="38" y="334"/>
                    <a:pt x="38" y="334"/>
                    <a:pt x="38" y="334"/>
                  </a:cubicBezTo>
                  <a:cubicBezTo>
                    <a:pt x="38" y="334"/>
                    <a:pt x="38" y="334"/>
                    <a:pt x="38" y="334"/>
                  </a:cubicBezTo>
                  <a:cubicBezTo>
                    <a:pt x="38" y="333"/>
                    <a:pt x="38" y="333"/>
                    <a:pt x="38" y="333"/>
                  </a:cubicBezTo>
                  <a:cubicBezTo>
                    <a:pt x="38" y="333"/>
                    <a:pt x="38" y="333"/>
                    <a:pt x="38" y="333"/>
                  </a:cubicBezTo>
                  <a:cubicBezTo>
                    <a:pt x="37" y="333"/>
                    <a:pt x="37" y="333"/>
                    <a:pt x="37" y="333"/>
                  </a:cubicBezTo>
                  <a:cubicBezTo>
                    <a:pt x="37" y="332"/>
                    <a:pt x="37" y="332"/>
                    <a:pt x="37" y="332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5" y="332"/>
                    <a:pt x="35" y="332"/>
                    <a:pt x="35" y="332"/>
                  </a:cubicBezTo>
                  <a:cubicBezTo>
                    <a:pt x="35" y="333"/>
                    <a:pt x="35" y="333"/>
                    <a:pt x="35" y="333"/>
                  </a:cubicBezTo>
                  <a:cubicBezTo>
                    <a:pt x="34" y="333"/>
                    <a:pt x="34" y="333"/>
                    <a:pt x="34" y="333"/>
                  </a:cubicBezTo>
                  <a:cubicBezTo>
                    <a:pt x="34" y="333"/>
                    <a:pt x="34" y="333"/>
                    <a:pt x="34" y="333"/>
                  </a:cubicBezTo>
                  <a:cubicBezTo>
                    <a:pt x="34" y="333"/>
                    <a:pt x="34" y="333"/>
                    <a:pt x="34" y="333"/>
                  </a:cubicBezTo>
                  <a:cubicBezTo>
                    <a:pt x="33" y="334"/>
                    <a:pt x="33" y="334"/>
                    <a:pt x="33" y="334"/>
                  </a:cubicBezTo>
                  <a:cubicBezTo>
                    <a:pt x="33" y="334"/>
                    <a:pt x="33" y="334"/>
                    <a:pt x="33" y="334"/>
                  </a:cubicBezTo>
                  <a:cubicBezTo>
                    <a:pt x="32" y="334"/>
                    <a:pt x="32" y="334"/>
                    <a:pt x="32" y="334"/>
                  </a:cubicBezTo>
                  <a:cubicBezTo>
                    <a:pt x="31" y="334"/>
                    <a:pt x="31" y="334"/>
                    <a:pt x="31" y="334"/>
                  </a:cubicBezTo>
                  <a:cubicBezTo>
                    <a:pt x="31" y="334"/>
                    <a:pt x="31" y="334"/>
                    <a:pt x="31" y="334"/>
                  </a:cubicBezTo>
                  <a:cubicBezTo>
                    <a:pt x="31" y="334"/>
                    <a:pt x="31" y="334"/>
                    <a:pt x="31" y="334"/>
                  </a:cubicBezTo>
                  <a:cubicBezTo>
                    <a:pt x="30" y="334"/>
                    <a:pt x="30" y="334"/>
                    <a:pt x="30" y="334"/>
                  </a:cubicBezTo>
                  <a:cubicBezTo>
                    <a:pt x="29" y="334"/>
                    <a:pt x="29" y="334"/>
                    <a:pt x="29" y="334"/>
                  </a:cubicBezTo>
                  <a:cubicBezTo>
                    <a:pt x="29" y="334"/>
                    <a:pt x="29" y="334"/>
                    <a:pt x="29" y="334"/>
                  </a:cubicBezTo>
                  <a:cubicBezTo>
                    <a:pt x="28" y="334"/>
                    <a:pt x="28" y="334"/>
                    <a:pt x="28" y="334"/>
                  </a:cubicBezTo>
                  <a:cubicBezTo>
                    <a:pt x="28" y="334"/>
                    <a:pt x="28" y="334"/>
                    <a:pt x="28" y="334"/>
                  </a:cubicBezTo>
                  <a:cubicBezTo>
                    <a:pt x="28" y="334"/>
                    <a:pt x="28" y="334"/>
                    <a:pt x="28" y="334"/>
                  </a:cubicBezTo>
                  <a:cubicBezTo>
                    <a:pt x="27" y="334"/>
                    <a:pt x="27" y="334"/>
                    <a:pt x="27" y="334"/>
                  </a:cubicBezTo>
                  <a:cubicBezTo>
                    <a:pt x="26" y="334"/>
                    <a:pt x="26" y="334"/>
                    <a:pt x="26" y="334"/>
                  </a:cubicBezTo>
                  <a:cubicBezTo>
                    <a:pt x="26" y="334"/>
                    <a:pt x="26" y="334"/>
                    <a:pt x="26" y="334"/>
                  </a:cubicBezTo>
                  <a:cubicBezTo>
                    <a:pt x="25" y="334"/>
                    <a:pt x="25" y="334"/>
                    <a:pt x="25" y="334"/>
                  </a:cubicBezTo>
                  <a:cubicBezTo>
                    <a:pt x="25" y="334"/>
                    <a:pt x="25" y="334"/>
                    <a:pt x="25" y="334"/>
                  </a:cubicBezTo>
                  <a:cubicBezTo>
                    <a:pt x="24" y="333"/>
                    <a:pt x="24" y="333"/>
                    <a:pt x="24" y="333"/>
                  </a:cubicBezTo>
                  <a:cubicBezTo>
                    <a:pt x="24" y="333"/>
                    <a:pt x="24" y="333"/>
                    <a:pt x="24" y="333"/>
                  </a:cubicBezTo>
                  <a:cubicBezTo>
                    <a:pt x="23" y="332"/>
                    <a:pt x="23" y="332"/>
                    <a:pt x="23" y="332"/>
                  </a:cubicBezTo>
                  <a:cubicBezTo>
                    <a:pt x="23" y="332"/>
                    <a:pt x="23" y="332"/>
                    <a:pt x="23" y="332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1" y="331"/>
                    <a:pt x="21" y="331"/>
                    <a:pt x="21" y="331"/>
                  </a:cubicBezTo>
                  <a:cubicBezTo>
                    <a:pt x="21" y="331"/>
                    <a:pt x="21" y="331"/>
                    <a:pt x="21" y="331"/>
                  </a:cubicBezTo>
                  <a:cubicBezTo>
                    <a:pt x="20" y="331"/>
                    <a:pt x="20" y="331"/>
                    <a:pt x="20" y="331"/>
                  </a:cubicBezTo>
                  <a:cubicBezTo>
                    <a:pt x="20" y="331"/>
                    <a:pt x="20" y="331"/>
                    <a:pt x="20" y="331"/>
                  </a:cubicBezTo>
                  <a:cubicBezTo>
                    <a:pt x="19" y="331"/>
                    <a:pt x="19" y="331"/>
                    <a:pt x="19" y="331"/>
                  </a:cubicBezTo>
                  <a:cubicBezTo>
                    <a:pt x="19" y="330"/>
                    <a:pt x="19" y="330"/>
                    <a:pt x="19" y="330"/>
                  </a:cubicBezTo>
                  <a:cubicBezTo>
                    <a:pt x="19" y="330"/>
                    <a:pt x="19" y="330"/>
                    <a:pt x="19" y="330"/>
                  </a:cubicBezTo>
                  <a:cubicBezTo>
                    <a:pt x="19" y="329"/>
                    <a:pt x="19" y="329"/>
                    <a:pt x="19" y="329"/>
                  </a:cubicBezTo>
                  <a:cubicBezTo>
                    <a:pt x="19" y="329"/>
                    <a:pt x="19" y="329"/>
                    <a:pt x="19" y="329"/>
                  </a:cubicBezTo>
                  <a:cubicBezTo>
                    <a:pt x="19" y="329"/>
                    <a:pt x="19" y="329"/>
                    <a:pt x="19" y="329"/>
                  </a:cubicBezTo>
                  <a:cubicBezTo>
                    <a:pt x="19" y="328"/>
                    <a:pt x="19" y="328"/>
                    <a:pt x="19" y="328"/>
                  </a:cubicBezTo>
                  <a:cubicBezTo>
                    <a:pt x="19" y="327"/>
                    <a:pt x="19" y="327"/>
                    <a:pt x="19" y="327"/>
                  </a:cubicBezTo>
                  <a:cubicBezTo>
                    <a:pt x="19" y="327"/>
                    <a:pt x="19" y="327"/>
                    <a:pt x="19" y="327"/>
                  </a:cubicBezTo>
                  <a:cubicBezTo>
                    <a:pt x="19" y="327"/>
                    <a:pt x="19" y="327"/>
                    <a:pt x="19" y="327"/>
                  </a:cubicBezTo>
                  <a:cubicBezTo>
                    <a:pt x="19" y="326"/>
                    <a:pt x="19" y="326"/>
                    <a:pt x="19" y="326"/>
                  </a:cubicBezTo>
                  <a:cubicBezTo>
                    <a:pt x="19" y="326"/>
                    <a:pt x="19" y="326"/>
                    <a:pt x="19" y="326"/>
                  </a:cubicBezTo>
                  <a:cubicBezTo>
                    <a:pt x="19" y="325"/>
                    <a:pt x="19" y="325"/>
                    <a:pt x="19" y="325"/>
                  </a:cubicBezTo>
                  <a:cubicBezTo>
                    <a:pt x="18" y="325"/>
                    <a:pt x="18" y="325"/>
                    <a:pt x="18" y="325"/>
                  </a:cubicBezTo>
                  <a:cubicBezTo>
                    <a:pt x="18" y="325"/>
                    <a:pt x="18" y="325"/>
                    <a:pt x="18" y="325"/>
                  </a:cubicBezTo>
                  <a:cubicBezTo>
                    <a:pt x="18" y="324"/>
                    <a:pt x="18" y="324"/>
                    <a:pt x="18" y="324"/>
                  </a:cubicBezTo>
                  <a:cubicBezTo>
                    <a:pt x="18" y="324"/>
                    <a:pt x="18" y="324"/>
                    <a:pt x="18" y="324"/>
                  </a:cubicBezTo>
                  <a:cubicBezTo>
                    <a:pt x="18" y="324"/>
                    <a:pt x="18" y="324"/>
                    <a:pt x="18" y="324"/>
                  </a:cubicBezTo>
                  <a:cubicBezTo>
                    <a:pt x="18" y="323"/>
                    <a:pt x="18" y="323"/>
                    <a:pt x="18" y="323"/>
                  </a:cubicBezTo>
                  <a:cubicBezTo>
                    <a:pt x="17" y="323"/>
                    <a:pt x="17" y="323"/>
                    <a:pt x="17" y="323"/>
                  </a:cubicBezTo>
                  <a:cubicBezTo>
                    <a:pt x="17" y="323"/>
                    <a:pt x="17" y="323"/>
                    <a:pt x="17" y="323"/>
                  </a:cubicBezTo>
                  <a:cubicBezTo>
                    <a:pt x="16" y="323"/>
                    <a:pt x="16" y="323"/>
                    <a:pt x="16" y="323"/>
                  </a:cubicBezTo>
                  <a:cubicBezTo>
                    <a:pt x="16" y="323"/>
                    <a:pt x="16" y="323"/>
                    <a:pt x="16" y="323"/>
                  </a:cubicBezTo>
                  <a:cubicBezTo>
                    <a:pt x="15" y="323"/>
                    <a:pt x="15" y="323"/>
                    <a:pt x="15" y="323"/>
                  </a:cubicBezTo>
                  <a:cubicBezTo>
                    <a:pt x="15" y="323"/>
                    <a:pt x="15" y="323"/>
                    <a:pt x="15" y="323"/>
                  </a:cubicBezTo>
                  <a:cubicBezTo>
                    <a:pt x="14" y="323"/>
                    <a:pt x="14" y="323"/>
                    <a:pt x="14" y="323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2" y="323"/>
                    <a:pt x="12" y="323"/>
                    <a:pt x="12" y="323"/>
                  </a:cubicBezTo>
                  <a:cubicBezTo>
                    <a:pt x="12" y="324"/>
                    <a:pt x="12" y="324"/>
                    <a:pt x="12" y="324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1" y="325"/>
                    <a:pt x="11" y="325"/>
                    <a:pt x="11" y="325"/>
                  </a:cubicBezTo>
                  <a:cubicBezTo>
                    <a:pt x="11" y="325"/>
                    <a:pt x="11" y="325"/>
                    <a:pt x="11" y="325"/>
                  </a:cubicBezTo>
                  <a:cubicBezTo>
                    <a:pt x="11" y="326"/>
                    <a:pt x="11" y="326"/>
                    <a:pt x="11" y="326"/>
                  </a:cubicBezTo>
                  <a:cubicBezTo>
                    <a:pt x="11" y="326"/>
                    <a:pt x="11" y="326"/>
                    <a:pt x="11" y="326"/>
                  </a:cubicBezTo>
                  <a:cubicBezTo>
                    <a:pt x="11" y="327"/>
                    <a:pt x="11" y="327"/>
                    <a:pt x="11" y="327"/>
                  </a:cubicBezTo>
                  <a:cubicBezTo>
                    <a:pt x="11" y="327"/>
                    <a:pt x="11" y="327"/>
                    <a:pt x="11" y="327"/>
                  </a:cubicBezTo>
                  <a:cubicBezTo>
                    <a:pt x="12" y="327"/>
                    <a:pt x="12" y="327"/>
                    <a:pt x="12" y="327"/>
                  </a:cubicBezTo>
                  <a:cubicBezTo>
                    <a:pt x="12" y="328"/>
                    <a:pt x="12" y="328"/>
                    <a:pt x="12" y="328"/>
                  </a:cubicBezTo>
                  <a:cubicBezTo>
                    <a:pt x="13" y="328"/>
                    <a:pt x="13" y="328"/>
                    <a:pt x="13" y="328"/>
                  </a:cubicBezTo>
                  <a:cubicBezTo>
                    <a:pt x="13" y="328"/>
                    <a:pt x="13" y="328"/>
                    <a:pt x="13" y="328"/>
                  </a:cubicBezTo>
                  <a:cubicBezTo>
                    <a:pt x="13" y="328"/>
                    <a:pt x="13" y="328"/>
                    <a:pt x="13" y="328"/>
                  </a:cubicBezTo>
                  <a:cubicBezTo>
                    <a:pt x="14" y="329"/>
                    <a:pt x="14" y="329"/>
                    <a:pt x="14" y="329"/>
                  </a:cubicBezTo>
                  <a:cubicBezTo>
                    <a:pt x="14" y="329"/>
                    <a:pt x="14" y="329"/>
                    <a:pt x="14" y="329"/>
                  </a:cubicBezTo>
                  <a:cubicBezTo>
                    <a:pt x="14" y="330"/>
                    <a:pt x="14" y="330"/>
                    <a:pt x="14" y="330"/>
                  </a:cubicBezTo>
                  <a:cubicBezTo>
                    <a:pt x="14" y="330"/>
                    <a:pt x="14" y="330"/>
                    <a:pt x="14" y="330"/>
                  </a:cubicBezTo>
                  <a:cubicBezTo>
                    <a:pt x="14" y="330"/>
                    <a:pt x="14" y="330"/>
                    <a:pt x="14" y="330"/>
                  </a:cubicBezTo>
                  <a:cubicBezTo>
                    <a:pt x="14" y="331"/>
                    <a:pt x="14" y="331"/>
                    <a:pt x="14" y="331"/>
                  </a:cubicBezTo>
                  <a:cubicBezTo>
                    <a:pt x="14" y="332"/>
                    <a:pt x="14" y="332"/>
                    <a:pt x="14" y="332"/>
                  </a:cubicBezTo>
                  <a:cubicBezTo>
                    <a:pt x="16" y="334"/>
                    <a:pt x="16" y="334"/>
                    <a:pt x="16" y="334"/>
                  </a:cubicBezTo>
                  <a:cubicBezTo>
                    <a:pt x="16" y="334"/>
                    <a:pt x="16" y="334"/>
                    <a:pt x="16" y="334"/>
                  </a:cubicBezTo>
                  <a:cubicBezTo>
                    <a:pt x="17" y="335"/>
                    <a:pt x="17" y="335"/>
                    <a:pt x="17" y="335"/>
                  </a:cubicBezTo>
                  <a:cubicBezTo>
                    <a:pt x="17" y="335"/>
                    <a:pt x="17" y="335"/>
                    <a:pt x="17" y="335"/>
                  </a:cubicBezTo>
                  <a:cubicBezTo>
                    <a:pt x="17" y="336"/>
                    <a:pt x="17" y="336"/>
                    <a:pt x="17" y="336"/>
                  </a:cubicBezTo>
                  <a:cubicBezTo>
                    <a:pt x="18" y="336"/>
                    <a:pt x="18" y="336"/>
                    <a:pt x="18" y="336"/>
                  </a:cubicBezTo>
                  <a:cubicBezTo>
                    <a:pt x="18" y="337"/>
                    <a:pt x="18" y="337"/>
                    <a:pt x="18" y="337"/>
                  </a:cubicBezTo>
                  <a:cubicBezTo>
                    <a:pt x="19" y="337"/>
                    <a:pt x="19" y="337"/>
                    <a:pt x="19" y="337"/>
                  </a:cubicBezTo>
                  <a:cubicBezTo>
                    <a:pt x="19" y="338"/>
                    <a:pt x="19" y="338"/>
                    <a:pt x="19" y="338"/>
                  </a:cubicBezTo>
                  <a:cubicBezTo>
                    <a:pt x="19" y="338"/>
                    <a:pt x="19" y="338"/>
                    <a:pt x="19" y="338"/>
                  </a:cubicBezTo>
                  <a:cubicBezTo>
                    <a:pt x="19" y="339"/>
                    <a:pt x="19" y="339"/>
                    <a:pt x="19" y="339"/>
                  </a:cubicBezTo>
                  <a:cubicBezTo>
                    <a:pt x="19" y="340"/>
                    <a:pt x="19" y="340"/>
                    <a:pt x="19" y="340"/>
                  </a:cubicBezTo>
                  <a:cubicBezTo>
                    <a:pt x="19" y="340"/>
                    <a:pt x="19" y="340"/>
                    <a:pt x="19" y="340"/>
                  </a:cubicBezTo>
                  <a:cubicBezTo>
                    <a:pt x="19" y="340"/>
                    <a:pt x="19" y="340"/>
                    <a:pt x="19" y="340"/>
                  </a:cubicBezTo>
                  <a:cubicBezTo>
                    <a:pt x="19" y="341"/>
                    <a:pt x="19" y="341"/>
                    <a:pt x="19" y="341"/>
                  </a:cubicBezTo>
                  <a:cubicBezTo>
                    <a:pt x="19" y="341"/>
                    <a:pt x="19" y="341"/>
                    <a:pt x="19" y="341"/>
                  </a:cubicBezTo>
                  <a:cubicBezTo>
                    <a:pt x="19" y="342"/>
                    <a:pt x="19" y="342"/>
                    <a:pt x="19" y="342"/>
                  </a:cubicBezTo>
                  <a:cubicBezTo>
                    <a:pt x="18" y="342"/>
                    <a:pt x="18" y="342"/>
                    <a:pt x="18" y="342"/>
                  </a:cubicBezTo>
                  <a:cubicBezTo>
                    <a:pt x="17" y="343"/>
                    <a:pt x="17" y="343"/>
                    <a:pt x="17" y="343"/>
                  </a:cubicBezTo>
                  <a:cubicBezTo>
                    <a:pt x="17" y="343"/>
                    <a:pt x="17" y="343"/>
                    <a:pt x="17" y="343"/>
                  </a:cubicBezTo>
                  <a:cubicBezTo>
                    <a:pt x="17" y="343"/>
                    <a:pt x="17" y="343"/>
                    <a:pt x="17" y="343"/>
                  </a:cubicBezTo>
                  <a:cubicBezTo>
                    <a:pt x="16" y="343"/>
                    <a:pt x="16" y="343"/>
                    <a:pt x="16" y="343"/>
                  </a:cubicBezTo>
                  <a:cubicBezTo>
                    <a:pt x="16" y="344"/>
                    <a:pt x="16" y="344"/>
                    <a:pt x="16" y="344"/>
                  </a:cubicBezTo>
                  <a:cubicBezTo>
                    <a:pt x="16" y="344"/>
                    <a:pt x="16" y="344"/>
                    <a:pt x="16" y="344"/>
                  </a:cubicBezTo>
                  <a:cubicBezTo>
                    <a:pt x="16" y="345"/>
                    <a:pt x="16" y="345"/>
                    <a:pt x="16" y="345"/>
                  </a:cubicBezTo>
                  <a:cubicBezTo>
                    <a:pt x="16" y="346"/>
                    <a:pt x="16" y="346"/>
                    <a:pt x="16" y="346"/>
                  </a:cubicBezTo>
                  <a:cubicBezTo>
                    <a:pt x="16" y="346"/>
                    <a:pt x="16" y="346"/>
                    <a:pt x="16" y="346"/>
                  </a:cubicBezTo>
                  <a:cubicBezTo>
                    <a:pt x="16" y="347"/>
                    <a:pt x="16" y="347"/>
                    <a:pt x="16" y="347"/>
                  </a:cubicBezTo>
                  <a:cubicBezTo>
                    <a:pt x="16" y="347"/>
                    <a:pt x="16" y="347"/>
                    <a:pt x="16" y="347"/>
                  </a:cubicBezTo>
                  <a:cubicBezTo>
                    <a:pt x="15" y="348"/>
                    <a:pt x="15" y="348"/>
                    <a:pt x="15" y="348"/>
                  </a:cubicBezTo>
                  <a:cubicBezTo>
                    <a:pt x="15" y="348"/>
                    <a:pt x="15" y="348"/>
                    <a:pt x="15" y="348"/>
                  </a:cubicBezTo>
                  <a:cubicBezTo>
                    <a:pt x="15" y="349"/>
                    <a:pt x="15" y="349"/>
                    <a:pt x="15" y="349"/>
                  </a:cubicBezTo>
                  <a:cubicBezTo>
                    <a:pt x="15" y="349"/>
                    <a:pt x="15" y="349"/>
                    <a:pt x="15" y="349"/>
                  </a:cubicBezTo>
                  <a:cubicBezTo>
                    <a:pt x="16" y="350"/>
                    <a:pt x="16" y="350"/>
                    <a:pt x="16" y="350"/>
                  </a:cubicBezTo>
                  <a:cubicBezTo>
                    <a:pt x="16" y="350"/>
                    <a:pt x="16" y="350"/>
                    <a:pt x="16" y="350"/>
                  </a:cubicBezTo>
                  <a:cubicBezTo>
                    <a:pt x="16" y="351"/>
                    <a:pt x="16" y="351"/>
                    <a:pt x="16" y="351"/>
                  </a:cubicBezTo>
                  <a:cubicBezTo>
                    <a:pt x="16" y="351"/>
                    <a:pt x="16" y="351"/>
                    <a:pt x="16" y="351"/>
                  </a:cubicBezTo>
                  <a:cubicBezTo>
                    <a:pt x="17" y="351"/>
                    <a:pt x="17" y="351"/>
                    <a:pt x="17" y="351"/>
                  </a:cubicBezTo>
                  <a:cubicBezTo>
                    <a:pt x="17" y="351"/>
                    <a:pt x="17" y="351"/>
                    <a:pt x="17" y="351"/>
                  </a:cubicBezTo>
                  <a:cubicBezTo>
                    <a:pt x="17" y="351"/>
                    <a:pt x="17" y="351"/>
                    <a:pt x="17" y="351"/>
                  </a:cubicBezTo>
                  <a:cubicBezTo>
                    <a:pt x="18" y="350"/>
                    <a:pt x="18" y="350"/>
                    <a:pt x="18" y="350"/>
                  </a:cubicBezTo>
                  <a:cubicBezTo>
                    <a:pt x="18" y="350"/>
                    <a:pt x="18" y="350"/>
                    <a:pt x="18" y="350"/>
                  </a:cubicBezTo>
                  <a:cubicBezTo>
                    <a:pt x="19" y="350"/>
                    <a:pt x="19" y="350"/>
                    <a:pt x="19" y="350"/>
                  </a:cubicBezTo>
                  <a:cubicBezTo>
                    <a:pt x="19" y="349"/>
                    <a:pt x="19" y="349"/>
                    <a:pt x="19" y="349"/>
                  </a:cubicBezTo>
                  <a:cubicBezTo>
                    <a:pt x="19" y="349"/>
                    <a:pt x="19" y="349"/>
                    <a:pt x="19" y="349"/>
                  </a:cubicBezTo>
                  <a:cubicBezTo>
                    <a:pt x="20" y="349"/>
                    <a:pt x="20" y="349"/>
                    <a:pt x="20" y="349"/>
                  </a:cubicBezTo>
                  <a:cubicBezTo>
                    <a:pt x="20" y="349"/>
                    <a:pt x="20" y="349"/>
                    <a:pt x="20" y="349"/>
                  </a:cubicBezTo>
                  <a:cubicBezTo>
                    <a:pt x="20" y="349"/>
                    <a:pt x="20" y="349"/>
                    <a:pt x="20" y="349"/>
                  </a:cubicBezTo>
                  <a:cubicBezTo>
                    <a:pt x="20" y="349"/>
                    <a:pt x="20" y="349"/>
                    <a:pt x="20" y="349"/>
                  </a:cubicBezTo>
                  <a:cubicBezTo>
                    <a:pt x="21" y="350"/>
                    <a:pt x="21" y="350"/>
                    <a:pt x="21" y="350"/>
                  </a:cubicBezTo>
                  <a:cubicBezTo>
                    <a:pt x="21" y="350"/>
                    <a:pt x="21" y="350"/>
                    <a:pt x="21" y="350"/>
                  </a:cubicBezTo>
                  <a:cubicBezTo>
                    <a:pt x="21" y="350"/>
                    <a:pt x="21" y="350"/>
                    <a:pt x="21" y="350"/>
                  </a:cubicBezTo>
                  <a:cubicBezTo>
                    <a:pt x="21" y="350"/>
                    <a:pt x="21" y="350"/>
                    <a:pt x="21" y="350"/>
                  </a:cubicBezTo>
                  <a:cubicBezTo>
                    <a:pt x="22" y="351"/>
                    <a:pt x="22" y="351"/>
                    <a:pt x="22" y="351"/>
                  </a:cubicBezTo>
                  <a:cubicBezTo>
                    <a:pt x="22" y="351"/>
                    <a:pt x="22" y="351"/>
                    <a:pt x="22" y="351"/>
                  </a:cubicBezTo>
                  <a:cubicBezTo>
                    <a:pt x="22" y="351"/>
                    <a:pt x="22" y="351"/>
                    <a:pt x="22" y="351"/>
                  </a:cubicBezTo>
                  <a:cubicBezTo>
                    <a:pt x="23" y="351"/>
                    <a:pt x="23" y="351"/>
                    <a:pt x="23" y="351"/>
                  </a:cubicBezTo>
                  <a:cubicBezTo>
                    <a:pt x="23" y="351"/>
                    <a:pt x="23" y="351"/>
                    <a:pt x="23" y="351"/>
                  </a:cubicBezTo>
                  <a:cubicBezTo>
                    <a:pt x="23" y="350"/>
                    <a:pt x="23" y="350"/>
                    <a:pt x="23" y="350"/>
                  </a:cubicBezTo>
                  <a:cubicBezTo>
                    <a:pt x="24" y="350"/>
                    <a:pt x="24" y="350"/>
                    <a:pt x="24" y="350"/>
                  </a:cubicBezTo>
                  <a:cubicBezTo>
                    <a:pt x="24" y="350"/>
                    <a:pt x="24" y="350"/>
                    <a:pt x="24" y="350"/>
                  </a:cubicBezTo>
                  <a:cubicBezTo>
                    <a:pt x="24" y="349"/>
                    <a:pt x="24" y="349"/>
                    <a:pt x="24" y="349"/>
                  </a:cubicBezTo>
                  <a:cubicBezTo>
                    <a:pt x="25" y="349"/>
                    <a:pt x="25" y="349"/>
                    <a:pt x="25" y="349"/>
                  </a:cubicBezTo>
                  <a:cubicBezTo>
                    <a:pt x="25" y="349"/>
                    <a:pt x="25" y="349"/>
                    <a:pt x="25" y="349"/>
                  </a:cubicBezTo>
                  <a:cubicBezTo>
                    <a:pt x="26" y="349"/>
                    <a:pt x="26" y="349"/>
                    <a:pt x="26" y="349"/>
                  </a:cubicBezTo>
                  <a:cubicBezTo>
                    <a:pt x="26" y="349"/>
                    <a:pt x="26" y="349"/>
                    <a:pt x="26" y="349"/>
                  </a:cubicBezTo>
                  <a:cubicBezTo>
                    <a:pt x="27" y="349"/>
                    <a:pt x="27" y="349"/>
                    <a:pt x="27" y="349"/>
                  </a:cubicBezTo>
                  <a:cubicBezTo>
                    <a:pt x="27" y="349"/>
                    <a:pt x="27" y="349"/>
                    <a:pt x="27" y="349"/>
                  </a:cubicBezTo>
                  <a:cubicBezTo>
                    <a:pt x="28" y="349"/>
                    <a:pt x="28" y="349"/>
                    <a:pt x="28" y="349"/>
                  </a:cubicBezTo>
                  <a:cubicBezTo>
                    <a:pt x="28" y="349"/>
                    <a:pt x="28" y="349"/>
                    <a:pt x="28" y="349"/>
                  </a:cubicBezTo>
                  <a:cubicBezTo>
                    <a:pt x="29" y="349"/>
                    <a:pt x="29" y="349"/>
                    <a:pt x="29" y="349"/>
                  </a:cubicBezTo>
                  <a:cubicBezTo>
                    <a:pt x="29" y="348"/>
                    <a:pt x="29" y="348"/>
                    <a:pt x="29" y="348"/>
                  </a:cubicBezTo>
                  <a:cubicBezTo>
                    <a:pt x="29" y="348"/>
                    <a:pt x="29" y="348"/>
                    <a:pt x="29" y="348"/>
                  </a:cubicBezTo>
                  <a:cubicBezTo>
                    <a:pt x="30" y="348"/>
                    <a:pt x="30" y="348"/>
                    <a:pt x="30" y="348"/>
                  </a:cubicBezTo>
                  <a:cubicBezTo>
                    <a:pt x="30" y="348"/>
                    <a:pt x="30" y="348"/>
                    <a:pt x="30" y="348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9" y="347"/>
                    <a:pt x="29" y="347"/>
                    <a:pt x="29" y="347"/>
                  </a:cubicBezTo>
                  <a:cubicBezTo>
                    <a:pt x="29" y="347"/>
                    <a:pt x="29" y="347"/>
                    <a:pt x="29" y="347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6"/>
                    <a:pt x="28" y="346"/>
                    <a:pt x="28" y="346"/>
                  </a:cubicBezTo>
                  <a:cubicBezTo>
                    <a:pt x="27" y="346"/>
                    <a:pt x="27" y="346"/>
                    <a:pt x="27" y="346"/>
                  </a:cubicBezTo>
                  <a:cubicBezTo>
                    <a:pt x="27" y="346"/>
                    <a:pt x="27" y="346"/>
                    <a:pt x="27" y="346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4"/>
                    <a:pt x="27" y="344"/>
                    <a:pt x="27" y="344"/>
                  </a:cubicBezTo>
                  <a:cubicBezTo>
                    <a:pt x="27" y="344"/>
                    <a:pt x="27" y="344"/>
                    <a:pt x="27" y="344"/>
                  </a:cubicBezTo>
                  <a:cubicBezTo>
                    <a:pt x="27" y="343"/>
                    <a:pt x="27" y="343"/>
                    <a:pt x="27" y="343"/>
                  </a:cubicBezTo>
                  <a:cubicBezTo>
                    <a:pt x="27" y="343"/>
                    <a:pt x="27" y="343"/>
                    <a:pt x="27" y="343"/>
                  </a:cubicBezTo>
                  <a:cubicBezTo>
                    <a:pt x="27" y="343"/>
                    <a:pt x="27" y="343"/>
                    <a:pt x="27" y="343"/>
                  </a:cubicBezTo>
                  <a:cubicBezTo>
                    <a:pt x="27" y="342"/>
                    <a:pt x="27" y="342"/>
                    <a:pt x="27" y="342"/>
                  </a:cubicBezTo>
                  <a:cubicBezTo>
                    <a:pt x="27" y="342"/>
                    <a:pt x="27" y="342"/>
                    <a:pt x="27" y="342"/>
                  </a:cubicBezTo>
                  <a:cubicBezTo>
                    <a:pt x="27" y="341"/>
                    <a:pt x="27" y="341"/>
                    <a:pt x="27" y="341"/>
                  </a:cubicBezTo>
                  <a:cubicBezTo>
                    <a:pt x="28" y="341"/>
                    <a:pt x="28" y="341"/>
                    <a:pt x="28" y="341"/>
                  </a:cubicBezTo>
                  <a:cubicBezTo>
                    <a:pt x="28" y="341"/>
                    <a:pt x="28" y="341"/>
                    <a:pt x="28" y="341"/>
                  </a:cubicBezTo>
                  <a:cubicBezTo>
                    <a:pt x="28" y="341"/>
                    <a:pt x="28" y="341"/>
                    <a:pt x="28" y="341"/>
                  </a:cubicBezTo>
                  <a:cubicBezTo>
                    <a:pt x="29" y="342"/>
                    <a:pt x="29" y="342"/>
                    <a:pt x="29" y="342"/>
                  </a:cubicBezTo>
                  <a:cubicBezTo>
                    <a:pt x="29" y="342"/>
                    <a:pt x="29" y="342"/>
                    <a:pt x="29" y="342"/>
                  </a:cubicBezTo>
                  <a:cubicBezTo>
                    <a:pt x="29" y="342"/>
                    <a:pt x="29" y="342"/>
                    <a:pt x="29" y="342"/>
                  </a:cubicBezTo>
                  <a:cubicBezTo>
                    <a:pt x="30" y="343"/>
                    <a:pt x="30" y="343"/>
                    <a:pt x="30" y="343"/>
                  </a:cubicBezTo>
                  <a:cubicBezTo>
                    <a:pt x="30" y="343"/>
                    <a:pt x="30" y="343"/>
                    <a:pt x="30" y="343"/>
                  </a:cubicBezTo>
                  <a:cubicBezTo>
                    <a:pt x="30" y="343"/>
                    <a:pt x="30" y="343"/>
                    <a:pt x="30" y="343"/>
                  </a:cubicBezTo>
                  <a:cubicBezTo>
                    <a:pt x="31" y="344"/>
                    <a:pt x="31" y="344"/>
                    <a:pt x="31" y="344"/>
                  </a:cubicBezTo>
                  <a:cubicBezTo>
                    <a:pt x="31" y="344"/>
                    <a:pt x="31" y="344"/>
                    <a:pt x="31" y="344"/>
                  </a:cubicBezTo>
                  <a:cubicBezTo>
                    <a:pt x="32" y="344"/>
                    <a:pt x="32" y="344"/>
                    <a:pt x="32" y="344"/>
                  </a:cubicBezTo>
                  <a:cubicBezTo>
                    <a:pt x="32" y="344"/>
                    <a:pt x="32" y="344"/>
                    <a:pt x="32" y="344"/>
                  </a:cubicBezTo>
                  <a:cubicBezTo>
                    <a:pt x="32" y="344"/>
                    <a:pt x="32" y="344"/>
                    <a:pt x="32" y="344"/>
                  </a:cubicBezTo>
                  <a:cubicBezTo>
                    <a:pt x="33" y="344"/>
                    <a:pt x="33" y="344"/>
                    <a:pt x="33" y="344"/>
                  </a:cubicBezTo>
                  <a:cubicBezTo>
                    <a:pt x="33" y="344"/>
                    <a:pt x="33" y="344"/>
                    <a:pt x="33" y="344"/>
                  </a:cubicBezTo>
                  <a:cubicBezTo>
                    <a:pt x="34" y="344"/>
                    <a:pt x="34" y="344"/>
                    <a:pt x="34" y="344"/>
                  </a:cubicBezTo>
                  <a:cubicBezTo>
                    <a:pt x="34" y="344"/>
                    <a:pt x="34" y="344"/>
                    <a:pt x="34" y="344"/>
                  </a:cubicBezTo>
                  <a:cubicBezTo>
                    <a:pt x="35" y="344"/>
                    <a:pt x="35" y="344"/>
                    <a:pt x="35" y="344"/>
                  </a:cubicBezTo>
                  <a:cubicBezTo>
                    <a:pt x="35" y="344"/>
                    <a:pt x="35" y="344"/>
                    <a:pt x="35" y="344"/>
                  </a:cubicBezTo>
                  <a:cubicBezTo>
                    <a:pt x="35" y="344"/>
                    <a:pt x="35" y="344"/>
                    <a:pt x="35" y="344"/>
                  </a:cubicBezTo>
                  <a:cubicBezTo>
                    <a:pt x="36" y="344"/>
                    <a:pt x="36" y="344"/>
                    <a:pt x="36" y="344"/>
                  </a:cubicBezTo>
                  <a:cubicBezTo>
                    <a:pt x="36" y="344"/>
                    <a:pt x="36" y="344"/>
                    <a:pt x="36" y="344"/>
                  </a:cubicBezTo>
                  <a:cubicBezTo>
                    <a:pt x="36" y="344"/>
                    <a:pt x="36" y="344"/>
                    <a:pt x="36" y="344"/>
                  </a:cubicBezTo>
                  <a:cubicBezTo>
                    <a:pt x="37" y="344"/>
                    <a:pt x="37" y="344"/>
                    <a:pt x="37" y="344"/>
                  </a:cubicBezTo>
                  <a:cubicBezTo>
                    <a:pt x="37" y="344"/>
                    <a:pt x="37" y="344"/>
                    <a:pt x="37" y="344"/>
                  </a:cubicBezTo>
                  <a:cubicBezTo>
                    <a:pt x="38" y="344"/>
                    <a:pt x="38" y="344"/>
                    <a:pt x="38" y="344"/>
                  </a:cubicBezTo>
                  <a:cubicBezTo>
                    <a:pt x="38" y="345"/>
                    <a:pt x="38" y="345"/>
                    <a:pt x="38" y="345"/>
                  </a:cubicBezTo>
                  <a:cubicBezTo>
                    <a:pt x="38" y="345"/>
                    <a:pt x="38" y="345"/>
                    <a:pt x="38" y="345"/>
                  </a:cubicBezTo>
                  <a:cubicBezTo>
                    <a:pt x="38" y="345"/>
                    <a:pt x="38" y="345"/>
                    <a:pt x="38" y="345"/>
                  </a:cubicBezTo>
                  <a:cubicBezTo>
                    <a:pt x="38" y="345"/>
                    <a:pt x="38" y="345"/>
                    <a:pt x="38" y="345"/>
                  </a:cubicBezTo>
                  <a:cubicBezTo>
                    <a:pt x="38" y="345"/>
                    <a:pt x="38" y="345"/>
                    <a:pt x="38" y="345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40" y="345"/>
                    <a:pt x="40" y="345"/>
                    <a:pt x="40" y="345"/>
                  </a:cubicBezTo>
                  <a:cubicBezTo>
                    <a:pt x="40" y="345"/>
                    <a:pt x="40" y="345"/>
                    <a:pt x="40" y="345"/>
                  </a:cubicBezTo>
                  <a:cubicBezTo>
                    <a:pt x="40" y="345"/>
                    <a:pt x="40" y="345"/>
                    <a:pt x="40" y="345"/>
                  </a:cubicBezTo>
                  <a:cubicBezTo>
                    <a:pt x="41" y="345"/>
                    <a:pt x="41" y="345"/>
                    <a:pt x="41" y="345"/>
                  </a:cubicBezTo>
                  <a:cubicBezTo>
                    <a:pt x="41" y="345"/>
                    <a:pt x="41" y="345"/>
                    <a:pt x="41" y="345"/>
                  </a:cubicBezTo>
                  <a:cubicBezTo>
                    <a:pt x="42" y="345"/>
                    <a:pt x="42" y="345"/>
                    <a:pt x="42" y="345"/>
                  </a:cubicBezTo>
                  <a:cubicBezTo>
                    <a:pt x="43" y="345"/>
                    <a:pt x="43" y="345"/>
                    <a:pt x="43" y="345"/>
                  </a:cubicBezTo>
                  <a:cubicBezTo>
                    <a:pt x="43" y="346"/>
                    <a:pt x="43" y="346"/>
                    <a:pt x="43" y="346"/>
                  </a:cubicBezTo>
                  <a:cubicBezTo>
                    <a:pt x="43" y="347"/>
                    <a:pt x="43" y="347"/>
                    <a:pt x="43" y="347"/>
                  </a:cubicBezTo>
                  <a:cubicBezTo>
                    <a:pt x="43" y="347"/>
                    <a:pt x="43" y="347"/>
                    <a:pt x="43" y="347"/>
                  </a:cubicBezTo>
                  <a:cubicBezTo>
                    <a:pt x="44" y="348"/>
                    <a:pt x="44" y="348"/>
                    <a:pt x="44" y="348"/>
                  </a:cubicBezTo>
                  <a:cubicBezTo>
                    <a:pt x="44" y="348"/>
                    <a:pt x="44" y="348"/>
                    <a:pt x="44" y="348"/>
                  </a:cubicBezTo>
                  <a:cubicBezTo>
                    <a:pt x="44" y="348"/>
                    <a:pt x="44" y="348"/>
                    <a:pt x="44" y="348"/>
                  </a:cubicBezTo>
                  <a:cubicBezTo>
                    <a:pt x="43" y="349"/>
                    <a:pt x="43" y="349"/>
                    <a:pt x="43" y="349"/>
                  </a:cubicBezTo>
                  <a:cubicBezTo>
                    <a:pt x="43" y="349"/>
                    <a:pt x="43" y="349"/>
                    <a:pt x="43" y="349"/>
                  </a:cubicBezTo>
                  <a:cubicBezTo>
                    <a:pt x="43" y="349"/>
                    <a:pt x="43" y="349"/>
                    <a:pt x="43" y="349"/>
                  </a:cubicBezTo>
                  <a:cubicBezTo>
                    <a:pt x="43" y="351"/>
                    <a:pt x="43" y="351"/>
                    <a:pt x="43" y="351"/>
                  </a:cubicBezTo>
                  <a:cubicBezTo>
                    <a:pt x="43" y="351"/>
                    <a:pt x="43" y="351"/>
                    <a:pt x="43" y="351"/>
                  </a:cubicBezTo>
                  <a:cubicBezTo>
                    <a:pt x="44" y="353"/>
                    <a:pt x="44" y="353"/>
                    <a:pt x="44" y="353"/>
                  </a:cubicBezTo>
                  <a:cubicBezTo>
                    <a:pt x="44" y="354"/>
                    <a:pt x="44" y="354"/>
                    <a:pt x="44" y="354"/>
                  </a:cubicBezTo>
                  <a:cubicBezTo>
                    <a:pt x="45" y="354"/>
                    <a:pt x="45" y="354"/>
                    <a:pt x="45" y="354"/>
                  </a:cubicBezTo>
                  <a:cubicBezTo>
                    <a:pt x="46" y="354"/>
                    <a:pt x="46" y="354"/>
                    <a:pt x="46" y="354"/>
                  </a:cubicBezTo>
                  <a:cubicBezTo>
                    <a:pt x="46" y="354"/>
                    <a:pt x="46" y="354"/>
                    <a:pt x="46" y="354"/>
                  </a:cubicBezTo>
                  <a:cubicBezTo>
                    <a:pt x="47" y="354"/>
                    <a:pt x="47" y="354"/>
                    <a:pt x="47" y="354"/>
                  </a:cubicBezTo>
                  <a:cubicBezTo>
                    <a:pt x="47" y="353"/>
                    <a:pt x="47" y="353"/>
                    <a:pt x="47" y="353"/>
                  </a:cubicBezTo>
                  <a:cubicBezTo>
                    <a:pt x="47" y="352"/>
                    <a:pt x="47" y="352"/>
                    <a:pt x="47" y="352"/>
                  </a:cubicBezTo>
                  <a:cubicBezTo>
                    <a:pt x="48" y="351"/>
                    <a:pt x="48" y="351"/>
                    <a:pt x="48" y="351"/>
                  </a:cubicBezTo>
                  <a:cubicBezTo>
                    <a:pt x="49" y="350"/>
                    <a:pt x="49" y="350"/>
                    <a:pt x="49" y="350"/>
                  </a:cubicBezTo>
                  <a:cubicBezTo>
                    <a:pt x="51" y="350"/>
                    <a:pt x="51" y="350"/>
                    <a:pt x="51" y="350"/>
                  </a:cubicBezTo>
                  <a:cubicBezTo>
                    <a:pt x="51" y="350"/>
                    <a:pt x="51" y="350"/>
                    <a:pt x="51" y="350"/>
                  </a:cubicBezTo>
                  <a:cubicBezTo>
                    <a:pt x="52" y="351"/>
                    <a:pt x="52" y="351"/>
                    <a:pt x="52" y="351"/>
                  </a:cubicBezTo>
                  <a:cubicBezTo>
                    <a:pt x="52" y="351"/>
                    <a:pt x="52" y="351"/>
                    <a:pt x="52" y="351"/>
                  </a:cubicBezTo>
                  <a:cubicBezTo>
                    <a:pt x="53" y="351"/>
                    <a:pt x="53" y="351"/>
                    <a:pt x="53" y="351"/>
                  </a:cubicBezTo>
                  <a:cubicBezTo>
                    <a:pt x="54" y="351"/>
                    <a:pt x="54" y="351"/>
                    <a:pt x="54" y="351"/>
                  </a:cubicBezTo>
                  <a:cubicBezTo>
                    <a:pt x="54" y="351"/>
                    <a:pt x="54" y="351"/>
                    <a:pt x="54" y="351"/>
                  </a:cubicBezTo>
                  <a:cubicBezTo>
                    <a:pt x="54" y="351"/>
                    <a:pt x="54" y="351"/>
                    <a:pt x="54" y="351"/>
                  </a:cubicBezTo>
                  <a:cubicBezTo>
                    <a:pt x="55" y="350"/>
                    <a:pt x="55" y="350"/>
                    <a:pt x="55" y="350"/>
                  </a:cubicBezTo>
                  <a:cubicBezTo>
                    <a:pt x="55" y="349"/>
                    <a:pt x="55" y="349"/>
                    <a:pt x="55" y="349"/>
                  </a:cubicBezTo>
                  <a:cubicBezTo>
                    <a:pt x="56" y="349"/>
                    <a:pt x="56" y="349"/>
                    <a:pt x="56" y="349"/>
                  </a:cubicBezTo>
                  <a:cubicBezTo>
                    <a:pt x="56" y="349"/>
                    <a:pt x="56" y="349"/>
                    <a:pt x="56" y="349"/>
                  </a:cubicBezTo>
                  <a:cubicBezTo>
                    <a:pt x="57" y="349"/>
                    <a:pt x="57" y="349"/>
                    <a:pt x="57" y="349"/>
                  </a:cubicBezTo>
                  <a:cubicBezTo>
                    <a:pt x="57" y="349"/>
                    <a:pt x="57" y="349"/>
                    <a:pt x="57" y="349"/>
                  </a:cubicBezTo>
                  <a:cubicBezTo>
                    <a:pt x="58" y="350"/>
                    <a:pt x="58" y="350"/>
                    <a:pt x="58" y="350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9" y="351"/>
                    <a:pt x="59" y="351"/>
                    <a:pt x="59" y="351"/>
                  </a:cubicBezTo>
                  <a:cubicBezTo>
                    <a:pt x="59" y="351"/>
                    <a:pt x="59" y="351"/>
                    <a:pt x="59" y="351"/>
                  </a:cubicBezTo>
                  <a:cubicBezTo>
                    <a:pt x="60" y="351"/>
                    <a:pt x="60" y="351"/>
                    <a:pt x="60" y="351"/>
                  </a:cubicBezTo>
                  <a:cubicBezTo>
                    <a:pt x="60" y="351"/>
                    <a:pt x="60" y="351"/>
                    <a:pt x="60" y="351"/>
                  </a:cubicBezTo>
                  <a:cubicBezTo>
                    <a:pt x="61" y="351"/>
                    <a:pt x="61" y="351"/>
                    <a:pt x="61" y="351"/>
                  </a:cubicBezTo>
                  <a:cubicBezTo>
                    <a:pt x="61" y="351"/>
                    <a:pt x="61" y="351"/>
                    <a:pt x="61" y="351"/>
                  </a:cubicBezTo>
                  <a:cubicBezTo>
                    <a:pt x="61" y="350"/>
                    <a:pt x="61" y="350"/>
                    <a:pt x="61" y="350"/>
                  </a:cubicBezTo>
                  <a:cubicBezTo>
                    <a:pt x="61" y="349"/>
                    <a:pt x="61" y="349"/>
                    <a:pt x="61" y="349"/>
                  </a:cubicBezTo>
                  <a:cubicBezTo>
                    <a:pt x="62" y="348"/>
                    <a:pt x="62" y="348"/>
                    <a:pt x="62" y="348"/>
                  </a:cubicBezTo>
                  <a:cubicBezTo>
                    <a:pt x="62" y="347"/>
                    <a:pt x="62" y="347"/>
                    <a:pt x="62" y="347"/>
                  </a:cubicBezTo>
                  <a:cubicBezTo>
                    <a:pt x="63" y="347"/>
                    <a:pt x="63" y="347"/>
                    <a:pt x="63" y="347"/>
                  </a:cubicBezTo>
                  <a:cubicBezTo>
                    <a:pt x="63" y="347"/>
                    <a:pt x="63" y="347"/>
                    <a:pt x="63" y="347"/>
                  </a:cubicBezTo>
                  <a:cubicBezTo>
                    <a:pt x="63" y="346"/>
                    <a:pt x="63" y="346"/>
                    <a:pt x="63" y="346"/>
                  </a:cubicBezTo>
                  <a:cubicBezTo>
                    <a:pt x="64" y="346"/>
                    <a:pt x="64" y="346"/>
                    <a:pt x="64" y="346"/>
                  </a:cubicBezTo>
                  <a:cubicBezTo>
                    <a:pt x="64" y="345"/>
                    <a:pt x="64" y="345"/>
                    <a:pt x="64" y="345"/>
                  </a:cubicBezTo>
                  <a:cubicBezTo>
                    <a:pt x="65" y="345"/>
                    <a:pt x="65" y="345"/>
                    <a:pt x="65" y="345"/>
                  </a:cubicBezTo>
                  <a:cubicBezTo>
                    <a:pt x="66" y="345"/>
                    <a:pt x="66" y="345"/>
                    <a:pt x="66" y="345"/>
                  </a:cubicBezTo>
                  <a:cubicBezTo>
                    <a:pt x="67" y="345"/>
                    <a:pt x="67" y="345"/>
                    <a:pt x="67" y="345"/>
                  </a:cubicBezTo>
                  <a:cubicBezTo>
                    <a:pt x="68" y="343"/>
                    <a:pt x="68" y="343"/>
                    <a:pt x="68" y="343"/>
                  </a:cubicBezTo>
                  <a:cubicBezTo>
                    <a:pt x="68" y="343"/>
                    <a:pt x="68" y="343"/>
                    <a:pt x="68" y="343"/>
                  </a:cubicBezTo>
                  <a:cubicBezTo>
                    <a:pt x="68" y="341"/>
                    <a:pt x="68" y="341"/>
                    <a:pt x="68" y="341"/>
                  </a:cubicBezTo>
                  <a:cubicBezTo>
                    <a:pt x="68" y="341"/>
                    <a:pt x="68" y="341"/>
                    <a:pt x="68" y="341"/>
                  </a:cubicBezTo>
                  <a:cubicBezTo>
                    <a:pt x="67" y="340"/>
                    <a:pt x="67" y="340"/>
                    <a:pt x="67" y="340"/>
                  </a:cubicBezTo>
                  <a:cubicBezTo>
                    <a:pt x="67" y="339"/>
                    <a:pt x="67" y="339"/>
                    <a:pt x="67" y="339"/>
                  </a:cubicBezTo>
                  <a:cubicBezTo>
                    <a:pt x="68" y="338"/>
                    <a:pt x="68" y="338"/>
                    <a:pt x="68" y="338"/>
                  </a:cubicBezTo>
                  <a:cubicBezTo>
                    <a:pt x="68" y="338"/>
                    <a:pt x="68" y="338"/>
                    <a:pt x="68" y="338"/>
                  </a:cubicBezTo>
                  <a:cubicBezTo>
                    <a:pt x="70" y="338"/>
                    <a:pt x="70" y="338"/>
                    <a:pt x="70" y="338"/>
                  </a:cubicBezTo>
                  <a:cubicBezTo>
                    <a:pt x="70" y="338"/>
                    <a:pt x="70" y="338"/>
                    <a:pt x="70" y="338"/>
                  </a:cubicBezTo>
                  <a:cubicBezTo>
                    <a:pt x="71" y="338"/>
                    <a:pt x="71" y="338"/>
                    <a:pt x="71" y="338"/>
                  </a:cubicBezTo>
                  <a:cubicBezTo>
                    <a:pt x="72" y="339"/>
                    <a:pt x="72" y="339"/>
                    <a:pt x="72" y="339"/>
                  </a:cubicBezTo>
                  <a:cubicBezTo>
                    <a:pt x="72" y="339"/>
                    <a:pt x="72" y="339"/>
                    <a:pt x="72" y="339"/>
                  </a:cubicBezTo>
                  <a:cubicBezTo>
                    <a:pt x="73" y="340"/>
                    <a:pt x="73" y="340"/>
                    <a:pt x="73" y="340"/>
                  </a:cubicBezTo>
                  <a:cubicBezTo>
                    <a:pt x="74" y="340"/>
                    <a:pt x="74" y="340"/>
                    <a:pt x="74" y="340"/>
                  </a:cubicBezTo>
                  <a:cubicBezTo>
                    <a:pt x="74" y="341"/>
                    <a:pt x="74" y="341"/>
                    <a:pt x="74" y="341"/>
                  </a:cubicBezTo>
                  <a:cubicBezTo>
                    <a:pt x="75" y="341"/>
                    <a:pt x="75" y="341"/>
                    <a:pt x="75" y="341"/>
                  </a:cubicBezTo>
                  <a:cubicBezTo>
                    <a:pt x="76" y="340"/>
                    <a:pt x="76" y="340"/>
                    <a:pt x="76" y="340"/>
                  </a:cubicBezTo>
                  <a:cubicBezTo>
                    <a:pt x="76" y="340"/>
                    <a:pt x="76" y="340"/>
                    <a:pt x="76" y="340"/>
                  </a:cubicBezTo>
                  <a:cubicBezTo>
                    <a:pt x="76" y="339"/>
                    <a:pt x="76" y="339"/>
                    <a:pt x="76" y="339"/>
                  </a:cubicBezTo>
                  <a:cubicBezTo>
                    <a:pt x="77" y="338"/>
                    <a:pt x="77" y="338"/>
                    <a:pt x="77" y="338"/>
                  </a:cubicBezTo>
                  <a:cubicBezTo>
                    <a:pt x="78" y="338"/>
                    <a:pt x="78" y="338"/>
                    <a:pt x="78" y="338"/>
                  </a:cubicBezTo>
                  <a:cubicBezTo>
                    <a:pt x="78" y="338"/>
                    <a:pt x="78" y="338"/>
                    <a:pt x="78" y="338"/>
                  </a:cubicBezTo>
                  <a:cubicBezTo>
                    <a:pt x="79" y="339"/>
                    <a:pt x="79" y="339"/>
                    <a:pt x="79" y="339"/>
                  </a:cubicBezTo>
                  <a:cubicBezTo>
                    <a:pt x="79" y="340"/>
                    <a:pt x="79" y="340"/>
                    <a:pt x="79" y="340"/>
                  </a:cubicBezTo>
                  <a:cubicBezTo>
                    <a:pt x="79" y="341"/>
                    <a:pt x="79" y="341"/>
                    <a:pt x="79" y="341"/>
                  </a:cubicBezTo>
                  <a:cubicBezTo>
                    <a:pt x="78" y="342"/>
                    <a:pt x="78" y="342"/>
                    <a:pt x="78" y="342"/>
                  </a:cubicBezTo>
                  <a:cubicBezTo>
                    <a:pt x="77" y="343"/>
                    <a:pt x="77" y="343"/>
                    <a:pt x="77" y="343"/>
                  </a:cubicBezTo>
                  <a:cubicBezTo>
                    <a:pt x="76" y="344"/>
                    <a:pt x="76" y="344"/>
                    <a:pt x="76" y="344"/>
                  </a:cubicBezTo>
                  <a:cubicBezTo>
                    <a:pt x="76" y="344"/>
                    <a:pt x="76" y="344"/>
                    <a:pt x="76" y="344"/>
                  </a:cubicBezTo>
                  <a:cubicBezTo>
                    <a:pt x="77" y="345"/>
                    <a:pt x="77" y="345"/>
                    <a:pt x="77" y="345"/>
                  </a:cubicBezTo>
                  <a:cubicBezTo>
                    <a:pt x="78" y="345"/>
                    <a:pt x="78" y="345"/>
                    <a:pt x="78" y="345"/>
                  </a:cubicBezTo>
                  <a:cubicBezTo>
                    <a:pt x="78" y="345"/>
                    <a:pt x="78" y="345"/>
                    <a:pt x="78" y="345"/>
                  </a:cubicBezTo>
                  <a:cubicBezTo>
                    <a:pt x="81" y="343"/>
                    <a:pt x="81" y="343"/>
                    <a:pt x="81" y="343"/>
                  </a:cubicBezTo>
                  <a:cubicBezTo>
                    <a:pt x="82" y="343"/>
                    <a:pt x="82" y="343"/>
                    <a:pt x="82" y="343"/>
                  </a:cubicBezTo>
                  <a:cubicBezTo>
                    <a:pt x="82" y="344"/>
                    <a:pt x="82" y="344"/>
                    <a:pt x="82" y="344"/>
                  </a:cubicBezTo>
                  <a:cubicBezTo>
                    <a:pt x="83" y="344"/>
                    <a:pt x="83" y="344"/>
                    <a:pt x="83" y="344"/>
                  </a:cubicBezTo>
                  <a:cubicBezTo>
                    <a:pt x="84" y="344"/>
                    <a:pt x="84" y="344"/>
                    <a:pt x="84" y="344"/>
                  </a:cubicBezTo>
                  <a:cubicBezTo>
                    <a:pt x="84" y="344"/>
                    <a:pt x="84" y="344"/>
                    <a:pt x="84" y="344"/>
                  </a:cubicBezTo>
                  <a:cubicBezTo>
                    <a:pt x="85" y="343"/>
                    <a:pt x="85" y="343"/>
                    <a:pt x="85" y="343"/>
                  </a:cubicBezTo>
                  <a:cubicBezTo>
                    <a:pt x="86" y="343"/>
                    <a:pt x="86" y="343"/>
                    <a:pt x="86" y="343"/>
                  </a:cubicBezTo>
                  <a:cubicBezTo>
                    <a:pt x="86" y="343"/>
                    <a:pt x="86" y="343"/>
                    <a:pt x="86" y="343"/>
                  </a:cubicBezTo>
                  <a:cubicBezTo>
                    <a:pt x="87" y="343"/>
                    <a:pt x="87" y="343"/>
                    <a:pt x="87" y="343"/>
                  </a:cubicBezTo>
                  <a:cubicBezTo>
                    <a:pt x="88" y="344"/>
                    <a:pt x="88" y="344"/>
                    <a:pt x="88" y="344"/>
                  </a:cubicBezTo>
                  <a:cubicBezTo>
                    <a:pt x="89" y="344"/>
                    <a:pt x="89" y="344"/>
                    <a:pt x="89" y="344"/>
                  </a:cubicBezTo>
                  <a:cubicBezTo>
                    <a:pt x="89" y="346"/>
                    <a:pt x="89" y="346"/>
                    <a:pt x="89" y="346"/>
                  </a:cubicBezTo>
                  <a:cubicBezTo>
                    <a:pt x="89" y="349"/>
                    <a:pt x="89" y="349"/>
                    <a:pt x="89" y="349"/>
                  </a:cubicBezTo>
                  <a:cubicBezTo>
                    <a:pt x="89" y="349"/>
                    <a:pt x="89" y="349"/>
                    <a:pt x="89" y="349"/>
                  </a:cubicBezTo>
                  <a:cubicBezTo>
                    <a:pt x="88" y="350"/>
                    <a:pt x="88" y="350"/>
                    <a:pt x="88" y="350"/>
                  </a:cubicBezTo>
                  <a:cubicBezTo>
                    <a:pt x="87" y="350"/>
                    <a:pt x="87" y="350"/>
                    <a:pt x="87" y="350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86" y="349"/>
                    <a:pt x="86" y="349"/>
                    <a:pt x="86" y="349"/>
                  </a:cubicBezTo>
                  <a:cubicBezTo>
                    <a:pt x="85" y="349"/>
                    <a:pt x="85" y="349"/>
                    <a:pt x="85" y="349"/>
                  </a:cubicBezTo>
                  <a:cubicBezTo>
                    <a:pt x="83" y="349"/>
                    <a:pt x="83" y="349"/>
                    <a:pt x="83" y="349"/>
                  </a:cubicBezTo>
                  <a:cubicBezTo>
                    <a:pt x="83" y="349"/>
                    <a:pt x="83" y="349"/>
                    <a:pt x="83" y="349"/>
                  </a:cubicBezTo>
                  <a:cubicBezTo>
                    <a:pt x="83" y="350"/>
                    <a:pt x="83" y="350"/>
                    <a:pt x="83" y="350"/>
                  </a:cubicBezTo>
                  <a:cubicBezTo>
                    <a:pt x="84" y="351"/>
                    <a:pt x="84" y="351"/>
                    <a:pt x="84" y="351"/>
                  </a:cubicBezTo>
                  <a:cubicBezTo>
                    <a:pt x="85" y="351"/>
                    <a:pt x="85" y="351"/>
                    <a:pt x="85" y="351"/>
                  </a:cubicBezTo>
                  <a:cubicBezTo>
                    <a:pt x="86" y="351"/>
                    <a:pt x="86" y="351"/>
                    <a:pt x="86" y="351"/>
                  </a:cubicBezTo>
                  <a:cubicBezTo>
                    <a:pt x="87" y="352"/>
                    <a:pt x="87" y="352"/>
                    <a:pt x="87" y="352"/>
                  </a:cubicBezTo>
                  <a:cubicBezTo>
                    <a:pt x="87" y="352"/>
                    <a:pt x="87" y="352"/>
                    <a:pt x="87" y="352"/>
                  </a:cubicBezTo>
                  <a:cubicBezTo>
                    <a:pt x="88" y="352"/>
                    <a:pt x="88" y="352"/>
                    <a:pt x="88" y="352"/>
                  </a:cubicBezTo>
                  <a:cubicBezTo>
                    <a:pt x="88" y="353"/>
                    <a:pt x="88" y="353"/>
                    <a:pt x="88" y="353"/>
                  </a:cubicBezTo>
                  <a:cubicBezTo>
                    <a:pt x="87" y="354"/>
                    <a:pt x="87" y="354"/>
                    <a:pt x="87" y="354"/>
                  </a:cubicBezTo>
                  <a:cubicBezTo>
                    <a:pt x="87" y="354"/>
                    <a:pt x="87" y="354"/>
                    <a:pt x="87" y="354"/>
                  </a:cubicBezTo>
                  <a:cubicBezTo>
                    <a:pt x="86" y="354"/>
                    <a:pt x="86" y="354"/>
                    <a:pt x="86" y="354"/>
                  </a:cubicBezTo>
                  <a:cubicBezTo>
                    <a:pt x="86" y="355"/>
                    <a:pt x="86" y="355"/>
                    <a:pt x="86" y="355"/>
                  </a:cubicBezTo>
                  <a:cubicBezTo>
                    <a:pt x="86" y="356"/>
                    <a:pt x="86" y="356"/>
                    <a:pt x="86" y="356"/>
                  </a:cubicBezTo>
                  <a:cubicBezTo>
                    <a:pt x="86" y="357"/>
                    <a:pt x="86" y="357"/>
                    <a:pt x="86" y="357"/>
                  </a:cubicBezTo>
                  <a:cubicBezTo>
                    <a:pt x="87" y="357"/>
                    <a:pt x="87" y="357"/>
                    <a:pt x="87" y="357"/>
                  </a:cubicBezTo>
                  <a:cubicBezTo>
                    <a:pt x="88" y="357"/>
                    <a:pt x="88" y="357"/>
                    <a:pt x="88" y="357"/>
                  </a:cubicBezTo>
                  <a:cubicBezTo>
                    <a:pt x="89" y="357"/>
                    <a:pt x="89" y="357"/>
                    <a:pt x="89" y="357"/>
                  </a:cubicBezTo>
                  <a:cubicBezTo>
                    <a:pt x="90" y="357"/>
                    <a:pt x="90" y="357"/>
                    <a:pt x="90" y="357"/>
                  </a:cubicBezTo>
                  <a:cubicBezTo>
                    <a:pt x="91" y="356"/>
                    <a:pt x="91" y="356"/>
                    <a:pt x="91" y="356"/>
                  </a:cubicBezTo>
                  <a:cubicBezTo>
                    <a:pt x="92" y="357"/>
                    <a:pt x="92" y="357"/>
                    <a:pt x="92" y="357"/>
                  </a:cubicBezTo>
                  <a:cubicBezTo>
                    <a:pt x="93" y="358"/>
                    <a:pt x="93" y="358"/>
                    <a:pt x="93" y="358"/>
                  </a:cubicBezTo>
                  <a:cubicBezTo>
                    <a:pt x="93" y="360"/>
                    <a:pt x="93" y="360"/>
                    <a:pt x="93" y="360"/>
                  </a:cubicBezTo>
                  <a:cubicBezTo>
                    <a:pt x="93" y="360"/>
                    <a:pt x="93" y="360"/>
                    <a:pt x="93" y="360"/>
                  </a:cubicBezTo>
                  <a:cubicBezTo>
                    <a:pt x="93" y="361"/>
                    <a:pt x="93" y="361"/>
                    <a:pt x="93" y="361"/>
                  </a:cubicBezTo>
                  <a:cubicBezTo>
                    <a:pt x="94" y="362"/>
                    <a:pt x="94" y="362"/>
                    <a:pt x="94" y="362"/>
                  </a:cubicBezTo>
                  <a:cubicBezTo>
                    <a:pt x="95" y="362"/>
                    <a:pt x="95" y="362"/>
                    <a:pt x="95" y="362"/>
                  </a:cubicBezTo>
                  <a:cubicBezTo>
                    <a:pt x="97" y="362"/>
                    <a:pt x="97" y="362"/>
                    <a:pt x="97" y="362"/>
                  </a:cubicBezTo>
                  <a:cubicBezTo>
                    <a:pt x="98" y="362"/>
                    <a:pt x="98" y="362"/>
                    <a:pt x="98" y="362"/>
                  </a:cubicBezTo>
                  <a:cubicBezTo>
                    <a:pt x="99" y="361"/>
                    <a:pt x="99" y="361"/>
                    <a:pt x="99" y="361"/>
                  </a:cubicBezTo>
                  <a:cubicBezTo>
                    <a:pt x="101" y="361"/>
                    <a:pt x="101" y="361"/>
                    <a:pt x="101" y="361"/>
                  </a:cubicBezTo>
                  <a:cubicBezTo>
                    <a:pt x="102" y="361"/>
                    <a:pt x="102" y="361"/>
                    <a:pt x="102" y="361"/>
                  </a:cubicBezTo>
                  <a:cubicBezTo>
                    <a:pt x="104" y="361"/>
                    <a:pt x="104" y="361"/>
                    <a:pt x="104" y="361"/>
                  </a:cubicBezTo>
                  <a:cubicBezTo>
                    <a:pt x="106" y="361"/>
                    <a:pt x="106" y="361"/>
                    <a:pt x="106" y="361"/>
                  </a:cubicBezTo>
                  <a:cubicBezTo>
                    <a:pt x="108" y="361"/>
                    <a:pt x="108" y="361"/>
                    <a:pt x="108" y="361"/>
                  </a:cubicBezTo>
                  <a:cubicBezTo>
                    <a:pt x="108" y="362"/>
                    <a:pt x="108" y="362"/>
                    <a:pt x="108" y="362"/>
                  </a:cubicBezTo>
                  <a:cubicBezTo>
                    <a:pt x="108" y="363"/>
                    <a:pt x="108" y="363"/>
                    <a:pt x="108" y="363"/>
                  </a:cubicBezTo>
                  <a:cubicBezTo>
                    <a:pt x="107" y="364"/>
                    <a:pt x="107" y="364"/>
                    <a:pt x="107" y="364"/>
                  </a:cubicBezTo>
                  <a:cubicBezTo>
                    <a:pt x="107" y="364"/>
                    <a:pt x="107" y="364"/>
                    <a:pt x="107" y="364"/>
                  </a:cubicBezTo>
                  <a:cubicBezTo>
                    <a:pt x="106" y="366"/>
                    <a:pt x="106" y="366"/>
                    <a:pt x="106" y="366"/>
                  </a:cubicBezTo>
                  <a:cubicBezTo>
                    <a:pt x="106" y="368"/>
                    <a:pt x="106" y="368"/>
                    <a:pt x="106" y="368"/>
                  </a:cubicBezTo>
                  <a:cubicBezTo>
                    <a:pt x="105" y="375"/>
                    <a:pt x="105" y="375"/>
                    <a:pt x="105" y="375"/>
                  </a:cubicBezTo>
                  <a:cubicBezTo>
                    <a:pt x="105" y="377"/>
                    <a:pt x="105" y="377"/>
                    <a:pt x="105" y="377"/>
                  </a:cubicBezTo>
                  <a:cubicBezTo>
                    <a:pt x="105" y="377"/>
                    <a:pt x="105" y="377"/>
                    <a:pt x="105" y="377"/>
                  </a:cubicBezTo>
                  <a:cubicBezTo>
                    <a:pt x="105" y="378"/>
                    <a:pt x="105" y="378"/>
                    <a:pt x="105" y="378"/>
                  </a:cubicBezTo>
                  <a:cubicBezTo>
                    <a:pt x="106" y="379"/>
                    <a:pt x="106" y="379"/>
                    <a:pt x="106" y="379"/>
                  </a:cubicBezTo>
                  <a:cubicBezTo>
                    <a:pt x="106" y="379"/>
                    <a:pt x="106" y="379"/>
                    <a:pt x="106" y="379"/>
                  </a:cubicBezTo>
                  <a:cubicBezTo>
                    <a:pt x="107" y="379"/>
                    <a:pt x="107" y="379"/>
                    <a:pt x="107" y="379"/>
                  </a:cubicBezTo>
                  <a:cubicBezTo>
                    <a:pt x="107" y="379"/>
                    <a:pt x="107" y="379"/>
                    <a:pt x="107" y="379"/>
                  </a:cubicBezTo>
                  <a:cubicBezTo>
                    <a:pt x="108" y="379"/>
                    <a:pt x="108" y="379"/>
                    <a:pt x="108" y="379"/>
                  </a:cubicBezTo>
                  <a:cubicBezTo>
                    <a:pt x="109" y="378"/>
                    <a:pt x="109" y="378"/>
                    <a:pt x="109" y="378"/>
                  </a:cubicBezTo>
                  <a:cubicBezTo>
                    <a:pt x="109" y="379"/>
                    <a:pt x="109" y="379"/>
                    <a:pt x="109" y="379"/>
                  </a:cubicBezTo>
                  <a:cubicBezTo>
                    <a:pt x="109" y="379"/>
                    <a:pt x="109" y="379"/>
                    <a:pt x="109" y="379"/>
                  </a:cubicBezTo>
                  <a:cubicBezTo>
                    <a:pt x="109" y="379"/>
                    <a:pt x="109" y="379"/>
                    <a:pt x="109" y="379"/>
                  </a:cubicBezTo>
                  <a:cubicBezTo>
                    <a:pt x="109" y="380"/>
                    <a:pt x="109" y="380"/>
                    <a:pt x="109" y="380"/>
                  </a:cubicBezTo>
                  <a:cubicBezTo>
                    <a:pt x="110" y="379"/>
                    <a:pt x="110" y="379"/>
                    <a:pt x="110" y="379"/>
                  </a:cubicBezTo>
                  <a:cubicBezTo>
                    <a:pt x="111" y="379"/>
                    <a:pt x="111" y="379"/>
                    <a:pt x="111" y="379"/>
                  </a:cubicBezTo>
                  <a:cubicBezTo>
                    <a:pt x="111" y="379"/>
                    <a:pt x="111" y="379"/>
                    <a:pt x="111" y="379"/>
                  </a:cubicBezTo>
                  <a:cubicBezTo>
                    <a:pt x="111" y="380"/>
                    <a:pt x="111" y="380"/>
                    <a:pt x="111" y="380"/>
                  </a:cubicBezTo>
                  <a:cubicBezTo>
                    <a:pt x="111" y="381"/>
                    <a:pt x="111" y="381"/>
                    <a:pt x="111" y="381"/>
                  </a:cubicBezTo>
                  <a:cubicBezTo>
                    <a:pt x="112" y="381"/>
                    <a:pt x="112" y="381"/>
                    <a:pt x="112" y="381"/>
                  </a:cubicBezTo>
                  <a:cubicBezTo>
                    <a:pt x="113" y="382"/>
                    <a:pt x="113" y="382"/>
                    <a:pt x="113" y="382"/>
                  </a:cubicBezTo>
                  <a:cubicBezTo>
                    <a:pt x="113" y="382"/>
                    <a:pt x="113" y="382"/>
                    <a:pt x="113" y="382"/>
                  </a:cubicBezTo>
                  <a:cubicBezTo>
                    <a:pt x="114" y="382"/>
                    <a:pt x="114" y="382"/>
                    <a:pt x="114" y="382"/>
                  </a:cubicBezTo>
                  <a:cubicBezTo>
                    <a:pt x="115" y="382"/>
                    <a:pt x="115" y="382"/>
                    <a:pt x="115" y="382"/>
                  </a:cubicBezTo>
                  <a:cubicBezTo>
                    <a:pt x="115" y="381"/>
                    <a:pt x="115" y="381"/>
                    <a:pt x="115" y="381"/>
                  </a:cubicBezTo>
                  <a:cubicBezTo>
                    <a:pt x="116" y="381"/>
                    <a:pt x="116" y="381"/>
                    <a:pt x="116" y="381"/>
                  </a:cubicBezTo>
                  <a:cubicBezTo>
                    <a:pt x="117" y="381"/>
                    <a:pt x="117" y="381"/>
                    <a:pt x="117" y="381"/>
                  </a:cubicBezTo>
                  <a:cubicBezTo>
                    <a:pt x="117" y="381"/>
                    <a:pt x="117" y="381"/>
                    <a:pt x="117" y="381"/>
                  </a:cubicBezTo>
                  <a:cubicBezTo>
                    <a:pt x="117" y="381"/>
                    <a:pt x="117" y="381"/>
                    <a:pt x="117" y="381"/>
                  </a:cubicBezTo>
                  <a:cubicBezTo>
                    <a:pt x="117" y="382"/>
                    <a:pt x="117" y="382"/>
                    <a:pt x="117" y="382"/>
                  </a:cubicBezTo>
                  <a:cubicBezTo>
                    <a:pt x="117" y="382"/>
                    <a:pt x="117" y="382"/>
                    <a:pt x="117" y="382"/>
                  </a:cubicBezTo>
                  <a:cubicBezTo>
                    <a:pt x="117" y="383"/>
                    <a:pt x="117" y="383"/>
                    <a:pt x="117" y="383"/>
                  </a:cubicBezTo>
                  <a:cubicBezTo>
                    <a:pt x="116" y="384"/>
                    <a:pt x="116" y="384"/>
                    <a:pt x="116" y="384"/>
                  </a:cubicBezTo>
                  <a:cubicBezTo>
                    <a:pt x="116" y="385"/>
                    <a:pt x="116" y="385"/>
                    <a:pt x="116" y="385"/>
                  </a:cubicBezTo>
                  <a:cubicBezTo>
                    <a:pt x="116" y="385"/>
                    <a:pt x="116" y="385"/>
                    <a:pt x="116" y="385"/>
                  </a:cubicBezTo>
                  <a:cubicBezTo>
                    <a:pt x="116" y="386"/>
                    <a:pt x="116" y="386"/>
                    <a:pt x="116" y="386"/>
                  </a:cubicBezTo>
                  <a:cubicBezTo>
                    <a:pt x="116" y="386"/>
                    <a:pt x="116" y="386"/>
                    <a:pt x="116" y="386"/>
                  </a:cubicBezTo>
                  <a:cubicBezTo>
                    <a:pt x="116" y="387"/>
                    <a:pt x="116" y="387"/>
                    <a:pt x="116" y="387"/>
                  </a:cubicBezTo>
                  <a:cubicBezTo>
                    <a:pt x="117" y="387"/>
                    <a:pt x="117" y="387"/>
                    <a:pt x="117" y="387"/>
                  </a:cubicBezTo>
                  <a:cubicBezTo>
                    <a:pt x="117" y="388"/>
                    <a:pt x="117" y="388"/>
                    <a:pt x="117" y="388"/>
                  </a:cubicBezTo>
                  <a:cubicBezTo>
                    <a:pt x="116" y="389"/>
                    <a:pt x="116" y="389"/>
                    <a:pt x="116" y="389"/>
                  </a:cubicBezTo>
                  <a:cubicBezTo>
                    <a:pt x="115" y="390"/>
                    <a:pt x="115" y="390"/>
                    <a:pt x="115" y="390"/>
                  </a:cubicBezTo>
                  <a:cubicBezTo>
                    <a:pt x="115" y="390"/>
                    <a:pt x="115" y="390"/>
                    <a:pt x="115" y="390"/>
                  </a:cubicBezTo>
                  <a:cubicBezTo>
                    <a:pt x="114" y="392"/>
                    <a:pt x="114" y="392"/>
                    <a:pt x="114" y="392"/>
                  </a:cubicBezTo>
                  <a:cubicBezTo>
                    <a:pt x="114" y="392"/>
                    <a:pt x="114" y="392"/>
                    <a:pt x="114" y="392"/>
                  </a:cubicBezTo>
                  <a:cubicBezTo>
                    <a:pt x="115" y="393"/>
                    <a:pt x="115" y="393"/>
                    <a:pt x="115" y="393"/>
                  </a:cubicBezTo>
                  <a:cubicBezTo>
                    <a:pt x="115" y="394"/>
                    <a:pt x="115" y="394"/>
                    <a:pt x="115" y="394"/>
                  </a:cubicBezTo>
                  <a:cubicBezTo>
                    <a:pt x="114" y="394"/>
                    <a:pt x="114" y="394"/>
                    <a:pt x="114" y="394"/>
                  </a:cubicBezTo>
                  <a:cubicBezTo>
                    <a:pt x="114" y="395"/>
                    <a:pt x="114" y="395"/>
                    <a:pt x="114" y="395"/>
                  </a:cubicBezTo>
                  <a:cubicBezTo>
                    <a:pt x="114" y="396"/>
                    <a:pt x="114" y="396"/>
                    <a:pt x="114" y="396"/>
                  </a:cubicBezTo>
                  <a:cubicBezTo>
                    <a:pt x="113" y="396"/>
                    <a:pt x="113" y="396"/>
                    <a:pt x="113" y="396"/>
                  </a:cubicBezTo>
                  <a:cubicBezTo>
                    <a:pt x="113" y="396"/>
                    <a:pt x="113" y="396"/>
                    <a:pt x="113" y="396"/>
                  </a:cubicBezTo>
                  <a:cubicBezTo>
                    <a:pt x="112" y="396"/>
                    <a:pt x="112" y="396"/>
                    <a:pt x="112" y="396"/>
                  </a:cubicBezTo>
                  <a:cubicBezTo>
                    <a:pt x="111" y="396"/>
                    <a:pt x="111" y="396"/>
                    <a:pt x="111" y="396"/>
                  </a:cubicBezTo>
                  <a:cubicBezTo>
                    <a:pt x="111" y="397"/>
                    <a:pt x="111" y="397"/>
                    <a:pt x="111" y="397"/>
                  </a:cubicBezTo>
                  <a:cubicBezTo>
                    <a:pt x="110" y="397"/>
                    <a:pt x="110" y="397"/>
                    <a:pt x="110" y="397"/>
                  </a:cubicBezTo>
                  <a:cubicBezTo>
                    <a:pt x="110" y="397"/>
                    <a:pt x="110" y="397"/>
                    <a:pt x="110" y="397"/>
                  </a:cubicBezTo>
                  <a:cubicBezTo>
                    <a:pt x="110" y="398"/>
                    <a:pt x="110" y="398"/>
                    <a:pt x="110" y="398"/>
                  </a:cubicBezTo>
                  <a:cubicBezTo>
                    <a:pt x="110" y="398"/>
                    <a:pt x="110" y="398"/>
                    <a:pt x="110" y="398"/>
                  </a:cubicBezTo>
                  <a:cubicBezTo>
                    <a:pt x="110" y="399"/>
                    <a:pt x="110" y="399"/>
                    <a:pt x="110" y="399"/>
                  </a:cubicBezTo>
                  <a:cubicBezTo>
                    <a:pt x="111" y="400"/>
                    <a:pt x="111" y="400"/>
                    <a:pt x="111" y="400"/>
                  </a:cubicBezTo>
                  <a:cubicBezTo>
                    <a:pt x="111" y="401"/>
                    <a:pt x="111" y="401"/>
                    <a:pt x="111" y="401"/>
                  </a:cubicBezTo>
                  <a:cubicBezTo>
                    <a:pt x="110" y="401"/>
                    <a:pt x="110" y="401"/>
                    <a:pt x="110" y="401"/>
                  </a:cubicBezTo>
                  <a:cubicBezTo>
                    <a:pt x="109" y="401"/>
                    <a:pt x="109" y="401"/>
                    <a:pt x="109" y="401"/>
                  </a:cubicBezTo>
                  <a:cubicBezTo>
                    <a:pt x="109" y="401"/>
                    <a:pt x="109" y="401"/>
                    <a:pt x="109" y="401"/>
                  </a:cubicBezTo>
                  <a:cubicBezTo>
                    <a:pt x="108" y="401"/>
                    <a:pt x="108" y="401"/>
                    <a:pt x="108" y="401"/>
                  </a:cubicBezTo>
                  <a:cubicBezTo>
                    <a:pt x="107" y="401"/>
                    <a:pt x="107" y="401"/>
                    <a:pt x="107" y="401"/>
                  </a:cubicBezTo>
                  <a:cubicBezTo>
                    <a:pt x="106" y="401"/>
                    <a:pt x="106" y="401"/>
                    <a:pt x="106" y="401"/>
                  </a:cubicBezTo>
                  <a:cubicBezTo>
                    <a:pt x="106" y="402"/>
                    <a:pt x="106" y="402"/>
                    <a:pt x="106" y="402"/>
                  </a:cubicBezTo>
                  <a:cubicBezTo>
                    <a:pt x="105" y="402"/>
                    <a:pt x="105" y="402"/>
                    <a:pt x="105" y="402"/>
                  </a:cubicBezTo>
                  <a:cubicBezTo>
                    <a:pt x="104" y="403"/>
                    <a:pt x="104" y="403"/>
                    <a:pt x="104" y="403"/>
                  </a:cubicBezTo>
                  <a:cubicBezTo>
                    <a:pt x="102" y="404"/>
                    <a:pt x="102" y="404"/>
                    <a:pt x="102" y="404"/>
                  </a:cubicBezTo>
                  <a:cubicBezTo>
                    <a:pt x="102" y="405"/>
                    <a:pt x="102" y="405"/>
                    <a:pt x="102" y="405"/>
                  </a:cubicBezTo>
                  <a:cubicBezTo>
                    <a:pt x="102" y="405"/>
                    <a:pt x="102" y="405"/>
                    <a:pt x="102" y="405"/>
                  </a:cubicBezTo>
                  <a:cubicBezTo>
                    <a:pt x="101" y="406"/>
                    <a:pt x="101" y="406"/>
                    <a:pt x="101" y="406"/>
                  </a:cubicBezTo>
                  <a:cubicBezTo>
                    <a:pt x="101" y="407"/>
                    <a:pt x="101" y="407"/>
                    <a:pt x="101" y="407"/>
                  </a:cubicBezTo>
                  <a:cubicBezTo>
                    <a:pt x="101" y="408"/>
                    <a:pt x="101" y="408"/>
                    <a:pt x="101" y="408"/>
                  </a:cubicBezTo>
                  <a:cubicBezTo>
                    <a:pt x="101" y="408"/>
                    <a:pt x="101" y="408"/>
                    <a:pt x="101" y="408"/>
                  </a:cubicBezTo>
                  <a:cubicBezTo>
                    <a:pt x="100" y="408"/>
                    <a:pt x="100" y="408"/>
                    <a:pt x="100" y="408"/>
                  </a:cubicBezTo>
                  <a:cubicBezTo>
                    <a:pt x="99" y="408"/>
                    <a:pt x="99" y="408"/>
                    <a:pt x="99" y="408"/>
                  </a:cubicBezTo>
                  <a:cubicBezTo>
                    <a:pt x="98" y="409"/>
                    <a:pt x="98" y="409"/>
                    <a:pt x="98" y="409"/>
                  </a:cubicBezTo>
                  <a:cubicBezTo>
                    <a:pt x="98" y="409"/>
                    <a:pt x="98" y="409"/>
                    <a:pt x="98" y="409"/>
                  </a:cubicBezTo>
                  <a:cubicBezTo>
                    <a:pt x="97" y="409"/>
                    <a:pt x="97" y="409"/>
                    <a:pt x="97" y="409"/>
                  </a:cubicBezTo>
                  <a:cubicBezTo>
                    <a:pt x="97" y="409"/>
                    <a:pt x="97" y="409"/>
                    <a:pt x="97" y="409"/>
                  </a:cubicBezTo>
                  <a:cubicBezTo>
                    <a:pt x="97" y="410"/>
                    <a:pt x="97" y="410"/>
                    <a:pt x="97" y="410"/>
                  </a:cubicBezTo>
                  <a:cubicBezTo>
                    <a:pt x="97" y="410"/>
                    <a:pt x="97" y="410"/>
                    <a:pt x="97" y="410"/>
                  </a:cubicBezTo>
                  <a:cubicBezTo>
                    <a:pt x="97" y="411"/>
                    <a:pt x="97" y="411"/>
                    <a:pt x="97" y="411"/>
                  </a:cubicBezTo>
                  <a:cubicBezTo>
                    <a:pt x="97" y="412"/>
                    <a:pt x="97" y="412"/>
                    <a:pt x="97" y="412"/>
                  </a:cubicBezTo>
                  <a:cubicBezTo>
                    <a:pt x="97" y="413"/>
                    <a:pt x="97" y="413"/>
                    <a:pt x="97" y="413"/>
                  </a:cubicBezTo>
                  <a:cubicBezTo>
                    <a:pt x="97" y="413"/>
                    <a:pt x="97" y="413"/>
                    <a:pt x="97" y="413"/>
                  </a:cubicBezTo>
                  <a:cubicBezTo>
                    <a:pt x="96" y="414"/>
                    <a:pt x="96" y="414"/>
                    <a:pt x="96" y="414"/>
                  </a:cubicBezTo>
                  <a:cubicBezTo>
                    <a:pt x="96" y="415"/>
                    <a:pt x="96" y="415"/>
                    <a:pt x="96" y="415"/>
                  </a:cubicBezTo>
                  <a:cubicBezTo>
                    <a:pt x="96" y="415"/>
                    <a:pt x="96" y="415"/>
                    <a:pt x="96" y="415"/>
                  </a:cubicBezTo>
                  <a:cubicBezTo>
                    <a:pt x="96" y="415"/>
                    <a:pt x="96" y="415"/>
                    <a:pt x="96" y="415"/>
                  </a:cubicBezTo>
                  <a:cubicBezTo>
                    <a:pt x="96" y="416"/>
                    <a:pt x="96" y="416"/>
                    <a:pt x="96" y="416"/>
                  </a:cubicBezTo>
                  <a:cubicBezTo>
                    <a:pt x="96" y="417"/>
                    <a:pt x="96" y="417"/>
                    <a:pt x="96" y="417"/>
                  </a:cubicBezTo>
                  <a:cubicBezTo>
                    <a:pt x="96" y="417"/>
                    <a:pt x="96" y="417"/>
                    <a:pt x="96" y="417"/>
                  </a:cubicBezTo>
                  <a:cubicBezTo>
                    <a:pt x="95" y="417"/>
                    <a:pt x="95" y="417"/>
                    <a:pt x="95" y="417"/>
                  </a:cubicBezTo>
                  <a:cubicBezTo>
                    <a:pt x="94" y="418"/>
                    <a:pt x="94" y="418"/>
                    <a:pt x="94" y="418"/>
                  </a:cubicBezTo>
                  <a:cubicBezTo>
                    <a:pt x="94" y="418"/>
                    <a:pt x="94" y="418"/>
                    <a:pt x="94" y="418"/>
                  </a:cubicBezTo>
                  <a:cubicBezTo>
                    <a:pt x="94" y="419"/>
                    <a:pt x="94" y="419"/>
                    <a:pt x="94" y="419"/>
                  </a:cubicBezTo>
                  <a:cubicBezTo>
                    <a:pt x="94" y="419"/>
                    <a:pt x="94" y="419"/>
                    <a:pt x="94" y="419"/>
                  </a:cubicBezTo>
                  <a:cubicBezTo>
                    <a:pt x="95" y="419"/>
                    <a:pt x="95" y="419"/>
                    <a:pt x="95" y="419"/>
                  </a:cubicBezTo>
                  <a:cubicBezTo>
                    <a:pt x="95" y="419"/>
                    <a:pt x="95" y="419"/>
                    <a:pt x="95" y="419"/>
                  </a:cubicBezTo>
                  <a:cubicBezTo>
                    <a:pt x="96" y="419"/>
                    <a:pt x="96" y="419"/>
                    <a:pt x="96" y="419"/>
                  </a:cubicBezTo>
                  <a:cubicBezTo>
                    <a:pt x="96" y="419"/>
                    <a:pt x="96" y="419"/>
                    <a:pt x="96" y="419"/>
                  </a:cubicBezTo>
                  <a:cubicBezTo>
                    <a:pt x="96" y="419"/>
                    <a:pt x="96" y="419"/>
                    <a:pt x="96" y="419"/>
                  </a:cubicBezTo>
                  <a:cubicBezTo>
                    <a:pt x="97" y="419"/>
                    <a:pt x="97" y="419"/>
                    <a:pt x="97" y="419"/>
                  </a:cubicBezTo>
                  <a:cubicBezTo>
                    <a:pt x="97" y="419"/>
                    <a:pt x="97" y="419"/>
                    <a:pt x="97" y="419"/>
                  </a:cubicBezTo>
                  <a:cubicBezTo>
                    <a:pt x="98" y="418"/>
                    <a:pt x="98" y="418"/>
                    <a:pt x="98" y="418"/>
                  </a:cubicBezTo>
                  <a:cubicBezTo>
                    <a:pt x="98" y="418"/>
                    <a:pt x="98" y="418"/>
                    <a:pt x="98" y="418"/>
                  </a:cubicBezTo>
                  <a:cubicBezTo>
                    <a:pt x="99" y="418"/>
                    <a:pt x="99" y="418"/>
                    <a:pt x="99" y="418"/>
                  </a:cubicBezTo>
                  <a:cubicBezTo>
                    <a:pt x="99" y="419"/>
                    <a:pt x="99" y="419"/>
                    <a:pt x="99" y="419"/>
                  </a:cubicBezTo>
                  <a:cubicBezTo>
                    <a:pt x="99" y="419"/>
                    <a:pt x="99" y="419"/>
                    <a:pt x="99" y="419"/>
                  </a:cubicBezTo>
                  <a:cubicBezTo>
                    <a:pt x="100" y="419"/>
                    <a:pt x="100" y="419"/>
                    <a:pt x="100" y="419"/>
                  </a:cubicBezTo>
                  <a:cubicBezTo>
                    <a:pt x="100" y="420"/>
                    <a:pt x="100" y="420"/>
                    <a:pt x="100" y="420"/>
                  </a:cubicBezTo>
                  <a:cubicBezTo>
                    <a:pt x="100" y="420"/>
                    <a:pt x="100" y="420"/>
                    <a:pt x="100" y="420"/>
                  </a:cubicBezTo>
                  <a:cubicBezTo>
                    <a:pt x="101" y="421"/>
                    <a:pt x="101" y="421"/>
                    <a:pt x="101" y="421"/>
                  </a:cubicBezTo>
                  <a:cubicBezTo>
                    <a:pt x="101" y="422"/>
                    <a:pt x="101" y="422"/>
                    <a:pt x="101" y="422"/>
                  </a:cubicBezTo>
                  <a:cubicBezTo>
                    <a:pt x="102" y="422"/>
                    <a:pt x="102" y="422"/>
                    <a:pt x="102" y="422"/>
                  </a:cubicBezTo>
                  <a:cubicBezTo>
                    <a:pt x="102" y="422"/>
                    <a:pt x="102" y="422"/>
                    <a:pt x="102" y="422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4" y="423"/>
                    <a:pt x="104" y="423"/>
                    <a:pt x="104" y="423"/>
                  </a:cubicBezTo>
                  <a:cubicBezTo>
                    <a:pt x="104" y="423"/>
                    <a:pt x="104" y="423"/>
                    <a:pt x="104" y="423"/>
                  </a:cubicBezTo>
                  <a:cubicBezTo>
                    <a:pt x="105" y="423"/>
                    <a:pt x="105" y="423"/>
                    <a:pt x="105" y="423"/>
                  </a:cubicBezTo>
                  <a:cubicBezTo>
                    <a:pt x="106" y="423"/>
                    <a:pt x="106" y="423"/>
                    <a:pt x="106" y="423"/>
                  </a:cubicBezTo>
                  <a:cubicBezTo>
                    <a:pt x="107" y="423"/>
                    <a:pt x="107" y="423"/>
                    <a:pt x="107" y="423"/>
                  </a:cubicBezTo>
                  <a:cubicBezTo>
                    <a:pt x="108" y="423"/>
                    <a:pt x="108" y="423"/>
                    <a:pt x="108" y="423"/>
                  </a:cubicBezTo>
                  <a:cubicBezTo>
                    <a:pt x="108" y="423"/>
                    <a:pt x="108" y="423"/>
                    <a:pt x="108" y="423"/>
                  </a:cubicBezTo>
                  <a:cubicBezTo>
                    <a:pt x="109" y="422"/>
                    <a:pt x="109" y="422"/>
                    <a:pt x="109" y="422"/>
                  </a:cubicBezTo>
                  <a:cubicBezTo>
                    <a:pt x="110" y="422"/>
                    <a:pt x="110" y="422"/>
                    <a:pt x="110" y="422"/>
                  </a:cubicBezTo>
                  <a:cubicBezTo>
                    <a:pt x="111" y="422"/>
                    <a:pt x="111" y="422"/>
                    <a:pt x="111" y="422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1" y="420"/>
                    <a:pt x="111" y="420"/>
                    <a:pt x="111" y="420"/>
                  </a:cubicBezTo>
                  <a:cubicBezTo>
                    <a:pt x="112" y="419"/>
                    <a:pt x="112" y="419"/>
                    <a:pt x="112" y="419"/>
                  </a:cubicBezTo>
                  <a:cubicBezTo>
                    <a:pt x="112" y="419"/>
                    <a:pt x="112" y="419"/>
                    <a:pt x="112" y="419"/>
                  </a:cubicBezTo>
                  <a:cubicBezTo>
                    <a:pt x="112" y="418"/>
                    <a:pt x="112" y="418"/>
                    <a:pt x="112" y="418"/>
                  </a:cubicBezTo>
                  <a:cubicBezTo>
                    <a:pt x="113" y="418"/>
                    <a:pt x="113" y="418"/>
                    <a:pt x="113" y="418"/>
                  </a:cubicBezTo>
                  <a:cubicBezTo>
                    <a:pt x="113" y="418"/>
                    <a:pt x="113" y="418"/>
                    <a:pt x="113" y="418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5" y="417"/>
                    <a:pt x="115" y="417"/>
                    <a:pt x="115" y="417"/>
                  </a:cubicBezTo>
                  <a:cubicBezTo>
                    <a:pt x="116" y="416"/>
                    <a:pt x="116" y="416"/>
                    <a:pt x="116" y="416"/>
                  </a:cubicBezTo>
                  <a:cubicBezTo>
                    <a:pt x="117" y="415"/>
                    <a:pt x="117" y="415"/>
                    <a:pt x="117" y="415"/>
                  </a:cubicBezTo>
                  <a:cubicBezTo>
                    <a:pt x="118" y="414"/>
                    <a:pt x="118" y="414"/>
                    <a:pt x="118" y="414"/>
                  </a:cubicBezTo>
                  <a:cubicBezTo>
                    <a:pt x="119" y="413"/>
                    <a:pt x="119" y="413"/>
                    <a:pt x="119" y="413"/>
                  </a:cubicBezTo>
                  <a:cubicBezTo>
                    <a:pt x="119" y="412"/>
                    <a:pt x="119" y="412"/>
                    <a:pt x="119" y="412"/>
                  </a:cubicBezTo>
                  <a:cubicBezTo>
                    <a:pt x="119" y="411"/>
                    <a:pt x="119" y="411"/>
                    <a:pt x="119" y="411"/>
                  </a:cubicBezTo>
                  <a:cubicBezTo>
                    <a:pt x="119" y="410"/>
                    <a:pt x="119" y="410"/>
                    <a:pt x="119" y="410"/>
                  </a:cubicBezTo>
                  <a:cubicBezTo>
                    <a:pt x="119" y="409"/>
                    <a:pt x="119" y="409"/>
                    <a:pt x="119" y="409"/>
                  </a:cubicBezTo>
                  <a:cubicBezTo>
                    <a:pt x="119" y="408"/>
                    <a:pt x="119" y="408"/>
                    <a:pt x="119" y="408"/>
                  </a:cubicBezTo>
                  <a:cubicBezTo>
                    <a:pt x="120" y="407"/>
                    <a:pt x="120" y="407"/>
                    <a:pt x="120" y="407"/>
                  </a:cubicBezTo>
                  <a:cubicBezTo>
                    <a:pt x="120" y="407"/>
                    <a:pt x="120" y="407"/>
                    <a:pt x="120" y="407"/>
                  </a:cubicBezTo>
                  <a:cubicBezTo>
                    <a:pt x="120" y="406"/>
                    <a:pt x="120" y="406"/>
                    <a:pt x="120" y="406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21" y="404"/>
                    <a:pt x="121" y="404"/>
                    <a:pt x="121" y="404"/>
                  </a:cubicBezTo>
                  <a:cubicBezTo>
                    <a:pt x="121" y="403"/>
                    <a:pt x="121" y="403"/>
                    <a:pt x="121" y="403"/>
                  </a:cubicBezTo>
                  <a:cubicBezTo>
                    <a:pt x="121" y="402"/>
                    <a:pt x="121" y="402"/>
                    <a:pt x="121" y="402"/>
                  </a:cubicBezTo>
                  <a:cubicBezTo>
                    <a:pt x="121" y="401"/>
                    <a:pt x="121" y="401"/>
                    <a:pt x="121" y="401"/>
                  </a:cubicBezTo>
                  <a:cubicBezTo>
                    <a:pt x="122" y="400"/>
                    <a:pt x="122" y="400"/>
                    <a:pt x="122" y="400"/>
                  </a:cubicBezTo>
                  <a:cubicBezTo>
                    <a:pt x="122" y="400"/>
                    <a:pt x="122" y="400"/>
                    <a:pt x="122" y="400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398"/>
                    <a:pt x="124" y="398"/>
                    <a:pt x="124" y="398"/>
                  </a:cubicBezTo>
                  <a:cubicBezTo>
                    <a:pt x="124" y="398"/>
                    <a:pt x="124" y="398"/>
                    <a:pt x="124" y="398"/>
                  </a:cubicBezTo>
                  <a:cubicBezTo>
                    <a:pt x="125" y="397"/>
                    <a:pt x="125" y="397"/>
                    <a:pt x="125" y="397"/>
                  </a:cubicBezTo>
                  <a:cubicBezTo>
                    <a:pt x="126" y="397"/>
                    <a:pt x="126" y="397"/>
                    <a:pt x="126" y="397"/>
                  </a:cubicBezTo>
                  <a:cubicBezTo>
                    <a:pt x="126" y="396"/>
                    <a:pt x="126" y="396"/>
                    <a:pt x="126" y="396"/>
                  </a:cubicBezTo>
                  <a:cubicBezTo>
                    <a:pt x="126" y="396"/>
                    <a:pt x="126" y="396"/>
                    <a:pt x="126" y="396"/>
                  </a:cubicBezTo>
                  <a:cubicBezTo>
                    <a:pt x="127" y="396"/>
                    <a:pt x="127" y="396"/>
                    <a:pt x="127" y="396"/>
                  </a:cubicBezTo>
                  <a:cubicBezTo>
                    <a:pt x="127" y="395"/>
                    <a:pt x="127" y="395"/>
                    <a:pt x="127" y="395"/>
                  </a:cubicBezTo>
                  <a:cubicBezTo>
                    <a:pt x="128" y="395"/>
                    <a:pt x="128" y="395"/>
                    <a:pt x="128" y="395"/>
                  </a:cubicBezTo>
                  <a:cubicBezTo>
                    <a:pt x="128" y="395"/>
                    <a:pt x="128" y="395"/>
                    <a:pt x="128" y="395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0" y="395"/>
                    <a:pt x="130" y="395"/>
                    <a:pt x="130" y="395"/>
                  </a:cubicBezTo>
                  <a:cubicBezTo>
                    <a:pt x="130" y="395"/>
                    <a:pt x="130" y="395"/>
                    <a:pt x="130" y="395"/>
                  </a:cubicBezTo>
                  <a:cubicBezTo>
                    <a:pt x="132" y="395"/>
                    <a:pt x="132" y="395"/>
                    <a:pt x="132" y="395"/>
                  </a:cubicBezTo>
                  <a:cubicBezTo>
                    <a:pt x="132" y="395"/>
                    <a:pt x="132" y="395"/>
                    <a:pt x="132" y="395"/>
                  </a:cubicBezTo>
                  <a:cubicBezTo>
                    <a:pt x="138" y="393"/>
                    <a:pt x="138" y="393"/>
                    <a:pt x="138" y="393"/>
                  </a:cubicBezTo>
                  <a:cubicBezTo>
                    <a:pt x="139" y="393"/>
                    <a:pt x="139" y="393"/>
                    <a:pt x="139" y="393"/>
                  </a:cubicBezTo>
                  <a:cubicBezTo>
                    <a:pt x="140" y="393"/>
                    <a:pt x="140" y="393"/>
                    <a:pt x="140" y="393"/>
                  </a:cubicBezTo>
                  <a:cubicBezTo>
                    <a:pt x="141" y="393"/>
                    <a:pt x="141" y="393"/>
                    <a:pt x="141" y="393"/>
                  </a:cubicBezTo>
                  <a:cubicBezTo>
                    <a:pt x="141" y="394"/>
                    <a:pt x="141" y="394"/>
                    <a:pt x="141" y="394"/>
                  </a:cubicBezTo>
                  <a:cubicBezTo>
                    <a:pt x="141" y="394"/>
                    <a:pt x="141" y="394"/>
                    <a:pt x="141" y="394"/>
                  </a:cubicBezTo>
                  <a:cubicBezTo>
                    <a:pt x="141" y="395"/>
                    <a:pt x="141" y="395"/>
                    <a:pt x="141" y="395"/>
                  </a:cubicBezTo>
                  <a:cubicBezTo>
                    <a:pt x="141" y="396"/>
                    <a:pt x="141" y="396"/>
                    <a:pt x="141" y="396"/>
                  </a:cubicBezTo>
                  <a:cubicBezTo>
                    <a:pt x="141" y="397"/>
                    <a:pt x="141" y="397"/>
                    <a:pt x="141" y="397"/>
                  </a:cubicBezTo>
                  <a:cubicBezTo>
                    <a:pt x="141" y="397"/>
                    <a:pt x="141" y="397"/>
                    <a:pt x="141" y="397"/>
                  </a:cubicBezTo>
                  <a:cubicBezTo>
                    <a:pt x="141" y="397"/>
                    <a:pt x="141" y="397"/>
                    <a:pt x="141" y="397"/>
                  </a:cubicBezTo>
                  <a:cubicBezTo>
                    <a:pt x="142" y="397"/>
                    <a:pt x="142" y="397"/>
                    <a:pt x="142" y="397"/>
                  </a:cubicBezTo>
                  <a:cubicBezTo>
                    <a:pt x="143" y="397"/>
                    <a:pt x="143" y="397"/>
                    <a:pt x="143" y="397"/>
                  </a:cubicBezTo>
                  <a:cubicBezTo>
                    <a:pt x="143" y="397"/>
                    <a:pt x="143" y="397"/>
                    <a:pt x="143" y="397"/>
                  </a:cubicBezTo>
                  <a:cubicBezTo>
                    <a:pt x="144" y="397"/>
                    <a:pt x="144" y="397"/>
                    <a:pt x="144" y="397"/>
                  </a:cubicBezTo>
                  <a:cubicBezTo>
                    <a:pt x="145" y="398"/>
                    <a:pt x="145" y="398"/>
                    <a:pt x="145" y="398"/>
                  </a:cubicBezTo>
                  <a:cubicBezTo>
                    <a:pt x="146" y="398"/>
                    <a:pt x="146" y="398"/>
                    <a:pt x="146" y="398"/>
                  </a:cubicBezTo>
                  <a:cubicBezTo>
                    <a:pt x="147" y="398"/>
                    <a:pt x="147" y="398"/>
                    <a:pt x="147" y="398"/>
                  </a:cubicBezTo>
                  <a:cubicBezTo>
                    <a:pt x="148" y="398"/>
                    <a:pt x="148" y="398"/>
                    <a:pt x="148" y="398"/>
                  </a:cubicBezTo>
                  <a:cubicBezTo>
                    <a:pt x="149" y="398"/>
                    <a:pt x="149" y="398"/>
                    <a:pt x="149" y="398"/>
                  </a:cubicBezTo>
                  <a:cubicBezTo>
                    <a:pt x="150" y="397"/>
                    <a:pt x="150" y="397"/>
                    <a:pt x="150" y="397"/>
                  </a:cubicBezTo>
                  <a:cubicBezTo>
                    <a:pt x="151" y="397"/>
                    <a:pt x="151" y="397"/>
                    <a:pt x="151" y="397"/>
                  </a:cubicBezTo>
                  <a:cubicBezTo>
                    <a:pt x="152" y="397"/>
                    <a:pt x="152" y="397"/>
                    <a:pt x="152" y="397"/>
                  </a:cubicBezTo>
                  <a:cubicBezTo>
                    <a:pt x="153" y="396"/>
                    <a:pt x="153" y="396"/>
                    <a:pt x="153" y="396"/>
                  </a:cubicBezTo>
                  <a:cubicBezTo>
                    <a:pt x="154" y="395"/>
                    <a:pt x="154" y="395"/>
                    <a:pt x="154" y="395"/>
                  </a:cubicBezTo>
                  <a:cubicBezTo>
                    <a:pt x="154" y="395"/>
                    <a:pt x="154" y="395"/>
                    <a:pt x="154" y="395"/>
                  </a:cubicBezTo>
                  <a:cubicBezTo>
                    <a:pt x="155" y="395"/>
                    <a:pt x="155" y="395"/>
                    <a:pt x="155" y="395"/>
                  </a:cubicBezTo>
                  <a:cubicBezTo>
                    <a:pt x="155" y="395"/>
                    <a:pt x="155" y="395"/>
                    <a:pt x="155" y="395"/>
                  </a:cubicBezTo>
                  <a:cubicBezTo>
                    <a:pt x="155" y="396"/>
                    <a:pt x="155" y="396"/>
                    <a:pt x="155" y="396"/>
                  </a:cubicBezTo>
                  <a:cubicBezTo>
                    <a:pt x="155" y="397"/>
                    <a:pt x="155" y="397"/>
                    <a:pt x="155" y="397"/>
                  </a:cubicBezTo>
                  <a:cubicBezTo>
                    <a:pt x="156" y="398"/>
                    <a:pt x="156" y="398"/>
                    <a:pt x="156" y="398"/>
                  </a:cubicBezTo>
                  <a:cubicBezTo>
                    <a:pt x="156" y="398"/>
                    <a:pt x="156" y="398"/>
                    <a:pt x="156" y="398"/>
                  </a:cubicBezTo>
                  <a:cubicBezTo>
                    <a:pt x="157" y="398"/>
                    <a:pt x="157" y="398"/>
                    <a:pt x="157" y="398"/>
                  </a:cubicBezTo>
                  <a:cubicBezTo>
                    <a:pt x="159" y="398"/>
                    <a:pt x="159" y="398"/>
                    <a:pt x="159" y="398"/>
                  </a:cubicBezTo>
                  <a:cubicBezTo>
                    <a:pt x="160" y="398"/>
                    <a:pt x="160" y="398"/>
                    <a:pt x="160" y="398"/>
                  </a:cubicBezTo>
                  <a:cubicBezTo>
                    <a:pt x="160" y="398"/>
                    <a:pt x="160" y="398"/>
                    <a:pt x="160" y="398"/>
                  </a:cubicBezTo>
                  <a:cubicBezTo>
                    <a:pt x="161" y="398"/>
                    <a:pt x="161" y="398"/>
                    <a:pt x="161" y="398"/>
                  </a:cubicBezTo>
                  <a:cubicBezTo>
                    <a:pt x="162" y="397"/>
                    <a:pt x="162" y="397"/>
                    <a:pt x="162" y="397"/>
                  </a:cubicBezTo>
                  <a:cubicBezTo>
                    <a:pt x="163" y="397"/>
                    <a:pt x="163" y="397"/>
                    <a:pt x="163" y="397"/>
                  </a:cubicBezTo>
                  <a:cubicBezTo>
                    <a:pt x="163" y="397"/>
                    <a:pt x="163" y="397"/>
                    <a:pt x="163" y="397"/>
                  </a:cubicBezTo>
                  <a:cubicBezTo>
                    <a:pt x="163" y="396"/>
                    <a:pt x="163" y="396"/>
                    <a:pt x="163" y="396"/>
                  </a:cubicBezTo>
                  <a:cubicBezTo>
                    <a:pt x="164" y="396"/>
                    <a:pt x="164" y="396"/>
                    <a:pt x="164" y="396"/>
                  </a:cubicBezTo>
                  <a:cubicBezTo>
                    <a:pt x="164" y="395"/>
                    <a:pt x="164" y="395"/>
                    <a:pt x="164" y="395"/>
                  </a:cubicBezTo>
                  <a:cubicBezTo>
                    <a:pt x="164" y="395"/>
                    <a:pt x="164" y="395"/>
                    <a:pt x="164" y="395"/>
                  </a:cubicBezTo>
                  <a:cubicBezTo>
                    <a:pt x="164" y="394"/>
                    <a:pt x="164" y="394"/>
                    <a:pt x="164" y="394"/>
                  </a:cubicBezTo>
                  <a:cubicBezTo>
                    <a:pt x="165" y="392"/>
                    <a:pt x="165" y="392"/>
                    <a:pt x="165" y="392"/>
                  </a:cubicBezTo>
                  <a:cubicBezTo>
                    <a:pt x="165" y="392"/>
                    <a:pt x="165" y="392"/>
                    <a:pt x="165" y="392"/>
                  </a:cubicBezTo>
                  <a:cubicBezTo>
                    <a:pt x="165" y="391"/>
                    <a:pt x="165" y="391"/>
                    <a:pt x="165" y="391"/>
                  </a:cubicBezTo>
                  <a:cubicBezTo>
                    <a:pt x="165" y="390"/>
                    <a:pt x="165" y="390"/>
                    <a:pt x="165" y="390"/>
                  </a:cubicBezTo>
                  <a:cubicBezTo>
                    <a:pt x="165" y="390"/>
                    <a:pt x="165" y="390"/>
                    <a:pt x="165" y="390"/>
                  </a:cubicBezTo>
                  <a:cubicBezTo>
                    <a:pt x="166" y="390"/>
                    <a:pt x="166" y="390"/>
                    <a:pt x="166" y="390"/>
                  </a:cubicBezTo>
                  <a:cubicBezTo>
                    <a:pt x="167" y="390"/>
                    <a:pt x="167" y="390"/>
                    <a:pt x="167" y="390"/>
                  </a:cubicBezTo>
                  <a:cubicBezTo>
                    <a:pt x="167" y="390"/>
                    <a:pt x="167" y="390"/>
                    <a:pt x="167" y="390"/>
                  </a:cubicBezTo>
                  <a:cubicBezTo>
                    <a:pt x="168" y="391"/>
                    <a:pt x="168" y="391"/>
                    <a:pt x="168" y="391"/>
                  </a:cubicBezTo>
                  <a:cubicBezTo>
                    <a:pt x="168" y="391"/>
                    <a:pt x="168" y="391"/>
                    <a:pt x="168" y="391"/>
                  </a:cubicBezTo>
                  <a:cubicBezTo>
                    <a:pt x="169" y="392"/>
                    <a:pt x="169" y="392"/>
                    <a:pt x="169" y="392"/>
                  </a:cubicBezTo>
                  <a:cubicBezTo>
                    <a:pt x="170" y="392"/>
                    <a:pt x="170" y="392"/>
                    <a:pt x="170" y="392"/>
                  </a:cubicBezTo>
                  <a:cubicBezTo>
                    <a:pt x="170" y="392"/>
                    <a:pt x="170" y="392"/>
                    <a:pt x="170" y="392"/>
                  </a:cubicBezTo>
                  <a:cubicBezTo>
                    <a:pt x="171" y="391"/>
                    <a:pt x="171" y="391"/>
                    <a:pt x="171" y="391"/>
                  </a:cubicBezTo>
                  <a:cubicBezTo>
                    <a:pt x="171" y="391"/>
                    <a:pt x="171" y="391"/>
                    <a:pt x="171" y="391"/>
                  </a:cubicBezTo>
                  <a:cubicBezTo>
                    <a:pt x="171" y="390"/>
                    <a:pt x="171" y="390"/>
                    <a:pt x="171" y="390"/>
                  </a:cubicBezTo>
                  <a:cubicBezTo>
                    <a:pt x="171" y="390"/>
                    <a:pt x="171" y="390"/>
                    <a:pt x="171" y="390"/>
                  </a:cubicBezTo>
                  <a:cubicBezTo>
                    <a:pt x="171" y="389"/>
                    <a:pt x="171" y="389"/>
                    <a:pt x="171" y="389"/>
                  </a:cubicBezTo>
                  <a:cubicBezTo>
                    <a:pt x="172" y="389"/>
                    <a:pt x="172" y="389"/>
                    <a:pt x="172" y="389"/>
                  </a:cubicBezTo>
                  <a:cubicBezTo>
                    <a:pt x="172" y="389"/>
                    <a:pt x="172" y="389"/>
                    <a:pt x="172" y="389"/>
                  </a:cubicBezTo>
                  <a:cubicBezTo>
                    <a:pt x="173" y="389"/>
                    <a:pt x="173" y="389"/>
                    <a:pt x="173" y="389"/>
                  </a:cubicBezTo>
                  <a:cubicBezTo>
                    <a:pt x="173" y="389"/>
                    <a:pt x="173" y="389"/>
                    <a:pt x="173" y="389"/>
                  </a:cubicBezTo>
                  <a:cubicBezTo>
                    <a:pt x="173" y="388"/>
                    <a:pt x="173" y="388"/>
                    <a:pt x="173" y="388"/>
                  </a:cubicBezTo>
                  <a:cubicBezTo>
                    <a:pt x="174" y="387"/>
                    <a:pt x="174" y="387"/>
                    <a:pt x="174" y="387"/>
                  </a:cubicBezTo>
                  <a:cubicBezTo>
                    <a:pt x="174" y="387"/>
                    <a:pt x="174" y="387"/>
                    <a:pt x="174" y="387"/>
                  </a:cubicBezTo>
                  <a:cubicBezTo>
                    <a:pt x="175" y="386"/>
                    <a:pt x="175" y="386"/>
                    <a:pt x="175" y="386"/>
                  </a:cubicBezTo>
                  <a:cubicBezTo>
                    <a:pt x="175" y="386"/>
                    <a:pt x="175" y="386"/>
                    <a:pt x="175" y="386"/>
                  </a:cubicBezTo>
                  <a:cubicBezTo>
                    <a:pt x="176" y="386"/>
                    <a:pt x="176" y="386"/>
                    <a:pt x="176" y="386"/>
                  </a:cubicBezTo>
                  <a:cubicBezTo>
                    <a:pt x="176" y="385"/>
                    <a:pt x="176" y="385"/>
                    <a:pt x="176" y="385"/>
                  </a:cubicBezTo>
                  <a:cubicBezTo>
                    <a:pt x="176" y="385"/>
                    <a:pt x="176" y="385"/>
                    <a:pt x="176" y="385"/>
                  </a:cubicBezTo>
                  <a:cubicBezTo>
                    <a:pt x="176" y="385"/>
                    <a:pt x="176" y="385"/>
                    <a:pt x="176" y="385"/>
                  </a:cubicBezTo>
                  <a:cubicBezTo>
                    <a:pt x="176" y="384"/>
                    <a:pt x="176" y="384"/>
                    <a:pt x="176" y="384"/>
                  </a:cubicBezTo>
                  <a:cubicBezTo>
                    <a:pt x="175" y="384"/>
                    <a:pt x="175" y="384"/>
                    <a:pt x="175" y="384"/>
                  </a:cubicBezTo>
                  <a:cubicBezTo>
                    <a:pt x="175" y="383"/>
                    <a:pt x="175" y="383"/>
                    <a:pt x="175" y="383"/>
                  </a:cubicBezTo>
                  <a:cubicBezTo>
                    <a:pt x="175" y="383"/>
                    <a:pt x="175" y="383"/>
                    <a:pt x="175" y="383"/>
                  </a:cubicBezTo>
                  <a:cubicBezTo>
                    <a:pt x="175" y="382"/>
                    <a:pt x="175" y="382"/>
                    <a:pt x="175" y="382"/>
                  </a:cubicBezTo>
                  <a:cubicBezTo>
                    <a:pt x="175" y="381"/>
                    <a:pt x="175" y="381"/>
                    <a:pt x="175" y="381"/>
                  </a:cubicBezTo>
                  <a:cubicBezTo>
                    <a:pt x="175" y="381"/>
                    <a:pt x="175" y="381"/>
                    <a:pt x="175" y="381"/>
                  </a:cubicBezTo>
                  <a:cubicBezTo>
                    <a:pt x="174" y="381"/>
                    <a:pt x="174" y="381"/>
                    <a:pt x="174" y="381"/>
                  </a:cubicBezTo>
                  <a:cubicBezTo>
                    <a:pt x="174" y="381"/>
                    <a:pt x="174" y="381"/>
                    <a:pt x="174" y="381"/>
                  </a:cubicBezTo>
                  <a:cubicBezTo>
                    <a:pt x="173" y="380"/>
                    <a:pt x="173" y="380"/>
                    <a:pt x="173" y="380"/>
                  </a:cubicBezTo>
                  <a:cubicBezTo>
                    <a:pt x="173" y="380"/>
                    <a:pt x="173" y="380"/>
                    <a:pt x="173" y="380"/>
                  </a:cubicBezTo>
                  <a:cubicBezTo>
                    <a:pt x="173" y="379"/>
                    <a:pt x="173" y="379"/>
                    <a:pt x="173" y="379"/>
                  </a:cubicBezTo>
                  <a:cubicBezTo>
                    <a:pt x="173" y="379"/>
                    <a:pt x="173" y="379"/>
                    <a:pt x="173" y="379"/>
                  </a:cubicBezTo>
                  <a:cubicBezTo>
                    <a:pt x="173" y="379"/>
                    <a:pt x="173" y="379"/>
                    <a:pt x="173" y="379"/>
                  </a:cubicBezTo>
                  <a:cubicBezTo>
                    <a:pt x="174" y="378"/>
                    <a:pt x="174" y="378"/>
                    <a:pt x="174" y="378"/>
                  </a:cubicBezTo>
                  <a:cubicBezTo>
                    <a:pt x="175" y="378"/>
                    <a:pt x="175" y="378"/>
                    <a:pt x="175" y="378"/>
                  </a:cubicBezTo>
                  <a:cubicBezTo>
                    <a:pt x="175" y="378"/>
                    <a:pt x="175" y="378"/>
                    <a:pt x="175" y="378"/>
                  </a:cubicBezTo>
                  <a:cubicBezTo>
                    <a:pt x="176" y="378"/>
                    <a:pt x="176" y="378"/>
                    <a:pt x="176" y="378"/>
                  </a:cubicBezTo>
                  <a:cubicBezTo>
                    <a:pt x="177" y="377"/>
                    <a:pt x="177" y="377"/>
                    <a:pt x="177" y="377"/>
                  </a:cubicBezTo>
                  <a:cubicBezTo>
                    <a:pt x="178" y="377"/>
                    <a:pt x="178" y="377"/>
                    <a:pt x="178" y="377"/>
                  </a:cubicBezTo>
                  <a:cubicBezTo>
                    <a:pt x="178" y="377"/>
                    <a:pt x="178" y="377"/>
                    <a:pt x="178" y="377"/>
                  </a:cubicBezTo>
                  <a:cubicBezTo>
                    <a:pt x="179" y="378"/>
                    <a:pt x="179" y="378"/>
                    <a:pt x="179" y="378"/>
                  </a:cubicBezTo>
                  <a:cubicBezTo>
                    <a:pt x="179" y="379"/>
                    <a:pt x="179" y="379"/>
                    <a:pt x="179" y="379"/>
                  </a:cubicBezTo>
                  <a:cubicBezTo>
                    <a:pt x="180" y="379"/>
                    <a:pt x="180" y="379"/>
                    <a:pt x="180" y="379"/>
                  </a:cubicBezTo>
                  <a:cubicBezTo>
                    <a:pt x="180" y="380"/>
                    <a:pt x="180" y="380"/>
                    <a:pt x="180" y="380"/>
                  </a:cubicBezTo>
                  <a:cubicBezTo>
                    <a:pt x="180" y="380"/>
                    <a:pt x="180" y="380"/>
                    <a:pt x="180" y="380"/>
                  </a:cubicBezTo>
                  <a:cubicBezTo>
                    <a:pt x="181" y="381"/>
                    <a:pt x="181" y="381"/>
                    <a:pt x="181" y="381"/>
                  </a:cubicBezTo>
                  <a:cubicBezTo>
                    <a:pt x="181" y="381"/>
                    <a:pt x="181" y="381"/>
                    <a:pt x="181" y="381"/>
                  </a:cubicBezTo>
                  <a:cubicBezTo>
                    <a:pt x="181" y="381"/>
                    <a:pt x="181" y="381"/>
                    <a:pt x="181" y="381"/>
                  </a:cubicBezTo>
                  <a:cubicBezTo>
                    <a:pt x="182" y="382"/>
                    <a:pt x="182" y="382"/>
                    <a:pt x="182" y="382"/>
                  </a:cubicBezTo>
                  <a:cubicBezTo>
                    <a:pt x="182" y="382"/>
                    <a:pt x="182" y="382"/>
                    <a:pt x="182" y="382"/>
                  </a:cubicBezTo>
                  <a:cubicBezTo>
                    <a:pt x="182" y="382"/>
                    <a:pt x="182" y="382"/>
                    <a:pt x="182" y="382"/>
                  </a:cubicBezTo>
                  <a:cubicBezTo>
                    <a:pt x="183" y="383"/>
                    <a:pt x="183" y="383"/>
                    <a:pt x="183" y="383"/>
                  </a:cubicBezTo>
                  <a:cubicBezTo>
                    <a:pt x="183" y="383"/>
                    <a:pt x="183" y="383"/>
                    <a:pt x="183" y="383"/>
                  </a:cubicBezTo>
                  <a:cubicBezTo>
                    <a:pt x="184" y="383"/>
                    <a:pt x="184" y="383"/>
                    <a:pt x="184" y="383"/>
                  </a:cubicBezTo>
                  <a:cubicBezTo>
                    <a:pt x="185" y="383"/>
                    <a:pt x="185" y="383"/>
                    <a:pt x="185" y="383"/>
                  </a:cubicBezTo>
                  <a:cubicBezTo>
                    <a:pt x="185" y="383"/>
                    <a:pt x="185" y="383"/>
                    <a:pt x="185" y="383"/>
                  </a:cubicBezTo>
                  <a:cubicBezTo>
                    <a:pt x="186" y="382"/>
                    <a:pt x="186" y="382"/>
                    <a:pt x="186" y="382"/>
                  </a:cubicBezTo>
                  <a:cubicBezTo>
                    <a:pt x="187" y="382"/>
                    <a:pt x="187" y="382"/>
                    <a:pt x="187" y="382"/>
                  </a:cubicBezTo>
                  <a:cubicBezTo>
                    <a:pt x="188" y="382"/>
                    <a:pt x="188" y="382"/>
                    <a:pt x="188" y="382"/>
                  </a:cubicBezTo>
                  <a:cubicBezTo>
                    <a:pt x="189" y="382"/>
                    <a:pt x="189" y="382"/>
                    <a:pt x="189" y="382"/>
                  </a:cubicBezTo>
                  <a:cubicBezTo>
                    <a:pt x="190" y="382"/>
                    <a:pt x="190" y="382"/>
                    <a:pt x="190" y="382"/>
                  </a:cubicBezTo>
                  <a:cubicBezTo>
                    <a:pt x="190" y="382"/>
                    <a:pt x="190" y="382"/>
                    <a:pt x="190" y="382"/>
                  </a:cubicBezTo>
                  <a:cubicBezTo>
                    <a:pt x="191" y="382"/>
                    <a:pt x="191" y="382"/>
                    <a:pt x="191" y="382"/>
                  </a:cubicBezTo>
                  <a:cubicBezTo>
                    <a:pt x="191" y="382"/>
                    <a:pt x="191" y="382"/>
                    <a:pt x="191" y="382"/>
                  </a:cubicBezTo>
                  <a:cubicBezTo>
                    <a:pt x="192" y="383"/>
                    <a:pt x="192" y="383"/>
                    <a:pt x="192" y="383"/>
                  </a:cubicBezTo>
                  <a:cubicBezTo>
                    <a:pt x="192" y="385"/>
                    <a:pt x="192" y="385"/>
                    <a:pt x="192" y="385"/>
                  </a:cubicBezTo>
                  <a:cubicBezTo>
                    <a:pt x="193" y="385"/>
                    <a:pt x="193" y="385"/>
                    <a:pt x="193" y="385"/>
                  </a:cubicBezTo>
                  <a:cubicBezTo>
                    <a:pt x="193" y="385"/>
                    <a:pt x="193" y="385"/>
                    <a:pt x="193" y="385"/>
                  </a:cubicBezTo>
                  <a:cubicBezTo>
                    <a:pt x="194" y="386"/>
                    <a:pt x="194" y="386"/>
                    <a:pt x="194" y="386"/>
                  </a:cubicBezTo>
                  <a:cubicBezTo>
                    <a:pt x="195" y="387"/>
                    <a:pt x="195" y="387"/>
                    <a:pt x="195" y="387"/>
                  </a:cubicBezTo>
                  <a:cubicBezTo>
                    <a:pt x="196" y="387"/>
                    <a:pt x="196" y="387"/>
                    <a:pt x="196" y="387"/>
                  </a:cubicBezTo>
                  <a:cubicBezTo>
                    <a:pt x="196" y="387"/>
                    <a:pt x="196" y="387"/>
                    <a:pt x="196" y="387"/>
                  </a:cubicBezTo>
                  <a:cubicBezTo>
                    <a:pt x="197" y="387"/>
                    <a:pt x="197" y="387"/>
                    <a:pt x="197" y="387"/>
                  </a:cubicBezTo>
                  <a:cubicBezTo>
                    <a:pt x="198" y="387"/>
                    <a:pt x="198" y="387"/>
                    <a:pt x="198" y="387"/>
                  </a:cubicBezTo>
                  <a:cubicBezTo>
                    <a:pt x="198" y="387"/>
                    <a:pt x="198" y="387"/>
                    <a:pt x="198" y="387"/>
                  </a:cubicBezTo>
                  <a:cubicBezTo>
                    <a:pt x="198" y="386"/>
                    <a:pt x="198" y="386"/>
                    <a:pt x="198" y="386"/>
                  </a:cubicBezTo>
                  <a:cubicBezTo>
                    <a:pt x="198" y="386"/>
                    <a:pt x="198" y="386"/>
                    <a:pt x="198" y="386"/>
                  </a:cubicBezTo>
                  <a:cubicBezTo>
                    <a:pt x="198" y="385"/>
                    <a:pt x="198" y="385"/>
                    <a:pt x="198" y="385"/>
                  </a:cubicBezTo>
                  <a:cubicBezTo>
                    <a:pt x="198" y="385"/>
                    <a:pt x="198" y="385"/>
                    <a:pt x="198" y="385"/>
                  </a:cubicBezTo>
                  <a:cubicBezTo>
                    <a:pt x="198" y="384"/>
                    <a:pt x="198" y="384"/>
                    <a:pt x="198" y="384"/>
                  </a:cubicBezTo>
                  <a:cubicBezTo>
                    <a:pt x="197" y="383"/>
                    <a:pt x="197" y="383"/>
                    <a:pt x="197" y="383"/>
                  </a:cubicBezTo>
                  <a:cubicBezTo>
                    <a:pt x="196" y="382"/>
                    <a:pt x="196" y="382"/>
                    <a:pt x="196" y="382"/>
                  </a:cubicBezTo>
                  <a:cubicBezTo>
                    <a:pt x="195" y="382"/>
                    <a:pt x="195" y="382"/>
                    <a:pt x="195" y="382"/>
                  </a:cubicBezTo>
                  <a:cubicBezTo>
                    <a:pt x="195" y="381"/>
                    <a:pt x="195" y="381"/>
                    <a:pt x="195" y="381"/>
                  </a:cubicBezTo>
                  <a:cubicBezTo>
                    <a:pt x="195" y="381"/>
                    <a:pt x="195" y="381"/>
                    <a:pt x="195" y="381"/>
                  </a:cubicBezTo>
                  <a:cubicBezTo>
                    <a:pt x="195" y="381"/>
                    <a:pt x="195" y="381"/>
                    <a:pt x="195" y="381"/>
                  </a:cubicBezTo>
                  <a:cubicBezTo>
                    <a:pt x="196" y="380"/>
                    <a:pt x="196" y="380"/>
                    <a:pt x="196" y="380"/>
                  </a:cubicBezTo>
                  <a:cubicBezTo>
                    <a:pt x="196" y="380"/>
                    <a:pt x="196" y="380"/>
                    <a:pt x="196" y="380"/>
                  </a:cubicBezTo>
                  <a:cubicBezTo>
                    <a:pt x="196" y="380"/>
                    <a:pt x="196" y="380"/>
                    <a:pt x="196" y="380"/>
                  </a:cubicBezTo>
                  <a:cubicBezTo>
                    <a:pt x="198" y="380"/>
                    <a:pt x="198" y="380"/>
                    <a:pt x="198" y="380"/>
                  </a:cubicBezTo>
                  <a:cubicBezTo>
                    <a:pt x="198" y="380"/>
                    <a:pt x="198" y="380"/>
                    <a:pt x="198" y="380"/>
                  </a:cubicBezTo>
                  <a:cubicBezTo>
                    <a:pt x="199" y="380"/>
                    <a:pt x="199" y="380"/>
                    <a:pt x="199" y="380"/>
                  </a:cubicBezTo>
                  <a:cubicBezTo>
                    <a:pt x="199" y="380"/>
                    <a:pt x="199" y="380"/>
                    <a:pt x="199" y="380"/>
                  </a:cubicBezTo>
                  <a:cubicBezTo>
                    <a:pt x="200" y="380"/>
                    <a:pt x="200" y="380"/>
                    <a:pt x="200" y="380"/>
                  </a:cubicBezTo>
                  <a:cubicBezTo>
                    <a:pt x="201" y="380"/>
                    <a:pt x="201" y="380"/>
                    <a:pt x="201" y="380"/>
                  </a:cubicBezTo>
                  <a:cubicBezTo>
                    <a:pt x="202" y="380"/>
                    <a:pt x="202" y="380"/>
                    <a:pt x="202" y="380"/>
                  </a:cubicBezTo>
                  <a:cubicBezTo>
                    <a:pt x="203" y="379"/>
                    <a:pt x="203" y="379"/>
                    <a:pt x="203" y="379"/>
                  </a:cubicBezTo>
                  <a:cubicBezTo>
                    <a:pt x="205" y="378"/>
                    <a:pt x="205" y="378"/>
                    <a:pt x="205" y="378"/>
                  </a:cubicBezTo>
                  <a:cubicBezTo>
                    <a:pt x="206" y="377"/>
                    <a:pt x="206" y="377"/>
                    <a:pt x="206" y="377"/>
                  </a:cubicBezTo>
                  <a:cubicBezTo>
                    <a:pt x="206" y="376"/>
                    <a:pt x="206" y="376"/>
                    <a:pt x="206" y="376"/>
                  </a:cubicBezTo>
                  <a:cubicBezTo>
                    <a:pt x="207" y="375"/>
                    <a:pt x="207" y="375"/>
                    <a:pt x="207" y="375"/>
                  </a:cubicBezTo>
                  <a:cubicBezTo>
                    <a:pt x="207" y="375"/>
                    <a:pt x="207" y="375"/>
                    <a:pt x="207" y="375"/>
                  </a:cubicBezTo>
                  <a:cubicBezTo>
                    <a:pt x="207" y="374"/>
                    <a:pt x="207" y="374"/>
                    <a:pt x="207" y="374"/>
                  </a:cubicBezTo>
                  <a:cubicBezTo>
                    <a:pt x="207" y="373"/>
                    <a:pt x="207" y="373"/>
                    <a:pt x="207" y="373"/>
                  </a:cubicBezTo>
                  <a:cubicBezTo>
                    <a:pt x="207" y="373"/>
                    <a:pt x="207" y="373"/>
                    <a:pt x="207" y="373"/>
                  </a:cubicBezTo>
                  <a:cubicBezTo>
                    <a:pt x="207" y="372"/>
                    <a:pt x="207" y="372"/>
                    <a:pt x="207" y="372"/>
                  </a:cubicBezTo>
                  <a:cubicBezTo>
                    <a:pt x="208" y="372"/>
                    <a:pt x="208" y="372"/>
                    <a:pt x="208" y="372"/>
                  </a:cubicBezTo>
                  <a:cubicBezTo>
                    <a:pt x="208" y="373"/>
                    <a:pt x="208" y="373"/>
                    <a:pt x="208" y="373"/>
                  </a:cubicBezTo>
                  <a:cubicBezTo>
                    <a:pt x="209" y="373"/>
                    <a:pt x="209" y="373"/>
                    <a:pt x="209" y="373"/>
                  </a:cubicBezTo>
                  <a:cubicBezTo>
                    <a:pt x="211" y="371"/>
                    <a:pt x="211" y="371"/>
                    <a:pt x="211" y="371"/>
                  </a:cubicBezTo>
                  <a:cubicBezTo>
                    <a:pt x="211" y="371"/>
                    <a:pt x="211" y="371"/>
                    <a:pt x="211" y="371"/>
                  </a:cubicBezTo>
                  <a:cubicBezTo>
                    <a:pt x="211" y="370"/>
                    <a:pt x="211" y="370"/>
                    <a:pt x="211" y="370"/>
                  </a:cubicBezTo>
                  <a:cubicBezTo>
                    <a:pt x="211" y="370"/>
                    <a:pt x="211" y="370"/>
                    <a:pt x="211" y="370"/>
                  </a:cubicBezTo>
                  <a:cubicBezTo>
                    <a:pt x="211" y="369"/>
                    <a:pt x="211" y="369"/>
                    <a:pt x="211" y="369"/>
                  </a:cubicBezTo>
                  <a:cubicBezTo>
                    <a:pt x="212" y="368"/>
                    <a:pt x="212" y="368"/>
                    <a:pt x="212" y="368"/>
                  </a:cubicBezTo>
                  <a:cubicBezTo>
                    <a:pt x="212" y="368"/>
                    <a:pt x="212" y="368"/>
                    <a:pt x="212" y="368"/>
                  </a:cubicBezTo>
                  <a:cubicBezTo>
                    <a:pt x="212" y="368"/>
                    <a:pt x="212" y="368"/>
                    <a:pt x="212" y="368"/>
                  </a:cubicBezTo>
                  <a:cubicBezTo>
                    <a:pt x="212" y="366"/>
                    <a:pt x="212" y="366"/>
                    <a:pt x="212" y="366"/>
                  </a:cubicBezTo>
                  <a:cubicBezTo>
                    <a:pt x="212" y="366"/>
                    <a:pt x="212" y="366"/>
                    <a:pt x="212" y="366"/>
                  </a:cubicBezTo>
                  <a:cubicBezTo>
                    <a:pt x="213" y="365"/>
                    <a:pt x="213" y="365"/>
                    <a:pt x="213" y="365"/>
                  </a:cubicBezTo>
                  <a:cubicBezTo>
                    <a:pt x="213" y="365"/>
                    <a:pt x="213" y="365"/>
                    <a:pt x="213" y="365"/>
                  </a:cubicBezTo>
                  <a:cubicBezTo>
                    <a:pt x="213" y="364"/>
                    <a:pt x="213" y="364"/>
                    <a:pt x="213" y="364"/>
                  </a:cubicBezTo>
                  <a:cubicBezTo>
                    <a:pt x="214" y="364"/>
                    <a:pt x="214" y="364"/>
                    <a:pt x="214" y="364"/>
                  </a:cubicBezTo>
                  <a:cubicBezTo>
                    <a:pt x="215" y="364"/>
                    <a:pt x="215" y="364"/>
                    <a:pt x="215" y="364"/>
                  </a:cubicBezTo>
                  <a:cubicBezTo>
                    <a:pt x="215" y="364"/>
                    <a:pt x="215" y="364"/>
                    <a:pt x="215" y="364"/>
                  </a:cubicBezTo>
                  <a:cubicBezTo>
                    <a:pt x="215" y="364"/>
                    <a:pt x="215" y="364"/>
                    <a:pt x="215" y="364"/>
                  </a:cubicBezTo>
                  <a:cubicBezTo>
                    <a:pt x="216" y="364"/>
                    <a:pt x="216" y="364"/>
                    <a:pt x="216" y="364"/>
                  </a:cubicBezTo>
                  <a:cubicBezTo>
                    <a:pt x="216" y="365"/>
                    <a:pt x="216" y="365"/>
                    <a:pt x="216" y="365"/>
                  </a:cubicBezTo>
                  <a:cubicBezTo>
                    <a:pt x="217" y="365"/>
                    <a:pt x="217" y="365"/>
                    <a:pt x="217" y="365"/>
                  </a:cubicBezTo>
                  <a:cubicBezTo>
                    <a:pt x="217" y="366"/>
                    <a:pt x="217" y="366"/>
                    <a:pt x="217" y="366"/>
                  </a:cubicBezTo>
                  <a:cubicBezTo>
                    <a:pt x="218" y="366"/>
                    <a:pt x="218" y="366"/>
                    <a:pt x="218" y="366"/>
                  </a:cubicBezTo>
                  <a:cubicBezTo>
                    <a:pt x="218" y="366"/>
                    <a:pt x="218" y="366"/>
                    <a:pt x="218" y="366"/>
                  </a:cubicBezTo>
                  <a:cubicBezTo>
                    <a:pt x="219" y="366"/>
                    <a:pt x="219" y="366"/>
                    <a:pt x="219" y="366"/>
                  </a:cubicBezTo>
                  <a:cubicBezTo>
                    <a:pt x="219" y="367"/>
                    <a:pt x="219" y="367"/>
                    <a:pt x="219" y="367"/>
                  </a:cubicBezTo>
                  <a:cubicBezTo>
                    <a:pt x="220" y="367"/>
                    <a:pt x="220" y="367"/>
                    <a:pt x="220" y="367"/>
                  </a:cubicBezTo>
                  <a:cubicBezTo>
                    <a:pt x="220" y="367"/>
                    <a:pt x="220" y="367"/>
                    <a:pt x="220" y="367"/>
                  </a:cubicBezTo>
                  <a:cubicBezTo>
                    <a:pt x="220" y="368"/>
                    <a:pt x="220" y="368"/>
                    <a:pt x="220" y="368"/>
                  </a:cubicBezTo>
                  <a:cubicBezTo>
                    <a:pt x="221" y="368"/>
                    <a:pt x="221" y="368"/>
                    <a:pt x="221" y="368"/>
                  </a:cubicBezTo>
                  <a:cubicBezTo>
                    <a:pt x="221" y="368"/>
                    <a:pt x="221" y="368"/>
                    <a:pt x="221" y="368"/>
                  </a:cubicBezTo>
                  <a:cubicBezTo>
                    <a:pt x="222" y="368"/>
                    <a:pt x="222" y="368"/>
                    <a:pt x="222" y="368"/>
                  </a:cubicBezTo>
                  <a:cubicBezTo>
                    <a:pt x="222" y="368"/>
                    <a:pt x="222" y="368"/>
                    <a:pt x="222" y="368"/>
                  </a:cubicBezTo>
                  <a:cubicBezTo>
                    <a:pt x="223" y="368"/>
                    <a:pt x="223" y="368"/>
                    <a:pt x="223" y="368"/>
                  </a:cubicBezTo>
                  <a:cubicBezTo>
                    <a:pt x="224" y="368"/>
                    <a:pt x="224" y="368"/>
                    <a:pt x="224" y="368"/>
                  </a:cubicBezTo>
                  <a:cubicBezTo>
                    <a:pt x="224" y="368"/>
                    <a:pt x="224" y="368"/>
                    <a:pt x="224" y="368"/>
                  </a:cubicBezTo>
                  <a:cubicBezTo>
                    <a:pt x="224" y="368"/>
                    <a:pt x="224" y="368"/>
                    <a:pt x="224" y="368"/>
                  </a:cubicBezTo>
                  <a:cubicBezTo>
                    <a:pt x="225" y="368"/>
                    <a:pt x="225" y="368"/>
                    <a:pt x="225" y="368"/>
                  </a:cubicBezTo>
                  <a:cubicBezTo>
                    <a:pt x="225" y="369"/>
                    <a:pt x="225" y="369"/>
                    <a:pt x="225" y="369"/>
                  </a:cubicBezTo>
                  <a:cubicBezTo>
                    <a:pt x="226" y="369"/>
                    <a:pt x="226" y="369"/>
                    <a:pt x="226" y="369"/>
                  </a:cubicBezTo>
                  <a:cubicBezTo>
                    <a:pt x="227" y="369"/>
                    <a:pt x="227" y="369"/>
                    <a:pt x="227" y="369"/>
                  </a:cubicBezTo>
                  <a:cubicBezTo>
                    <a:pt x="227" y="369"/>
                    <a:pt x="227" y="369"/>
                    <a:pt x="227" y="369"/>
                  </a:cubicBezTo>
                  <a:cubicBezTo>
                    <a:pt x="228" y="368"/>
                    <a:pt x="228" y="368"/>
                    <a:pt x="228" y="368"/>
                  </a:cubicBezTo>
                  <a:cubicBezTo>
                    <a:pt x="227" y="368"/>
                    <a:pt x="227" y="368"/>
                    <a:pt x="227" y="368"/>
                  </a:cubicBezTo>
                  <a:cubicBezTo>
                    <a:pt x="225" y="368"/>
                    <a:pt x="225" y="368"/>
                    <a:pt x="225" y="368"/>
                  </a:cubicBezTo>
                  <a:cubicBezTo>
                    <a:pt x="224" y="368"/>
                    <a:pt x="224" y="368"/>
                    <a:pt x="224" y="368"/>
                  </a:cubicBezTo>
                  <a:cubicBezTo>
                    <a:pt x="223" y="368"/>
                    <a:pt x="223" y="368"/>
                    <a:pt x="223" y="368"/>
                  </a:cubicBezTo>
                  <a:cubicBezTo>
                    <a:pt x="222" y="367"/>
                    <a:pt x="222" y="367"/>
                    <a:pt x="222" y="367"/>
                  </a:cubicBezTo>
                  <a:cubicBezTo>
                    <a:pt x="222" y="367"/>
                    <a:pt x="222" y="367"/>
                    <a:pt x="222" y="367"/>
                  </a:cubicBezTo>
                  <a:cubicBezTo>
                    <a:pt x="221" y="366"/>
                    <a:pt x="221" y="366"/>
                    <a:pt x="221" y="366"/>
                  </a:cubicBezTo>
                  <a:cubicBezTo>
                    <a:pt x="221" y="366"/>
                    <a:pt x="221" y="366"/>
                    <a:pt x="221" y="366"/>
                  </a:cubicBezTo>
                  <a:cubicBezTo>
                    <a:pt x="220" y="366"/>
                    <a:pt x="220" y="366"/>
                    <a:pt x="220" y="366"/>
                  </a:cubicBezTo>
                  <a:cubicBezTo>
                    <a:pt x="218" y="366"/>
                    <a:pt x="218" y="366"/>
                    <a:pt x="218" y="366"/>
                  </a:cubicBezTo>
                  <a:cubicBezTo>
                    <a:pt x="218" y="366"/>
                    <a:pt x="218" y="366"/>
                    <a:pt x="218" y="366"/>
                  </a:cubicBezTo>
                  <a:cubicBezTo>
                    <a:pt x="217" y="365"/>
                    <a:pt x="217" y="365"/>
                    <a:pt x="217" y="365"/>
                  </a:cubicBezTo>
                  <a:cubicBezTo>
                    <a:pt x="217" y="364"/>
                    <a:pt x="217" y="364"/>
                    <a:pt x="217" y="364"/>
                  </a:cubicBezTo>
                  <a:cubicBezTo>
                    <a:pt x="216" y="364"/>
                    <a:pt x="216" y="364"/>
                    <a:pt x="216" y="364"/>
                  </a:cubicBezTo>
                  <a:cubicBezTo>
                    <a:pt x="216" y="362"/>
                    <a:pt x="216" y="362"/>
                    <a:pt x="216" y="362"/>
                  </a:cubicBezTo>
                  <a:cubicBezTo>
                    <a:pt x="215" y="361"/>
                    <a:pt x="215" y="361"/>
                    <a:pt x="215" y="361"/>
                  </a:cubicBezTo>
                  <a:cubicBezTo>
                    <a:pt x="216" y="360"/>
                    <a:pt x="216" y="360"/>
                    <a:pt x="216" y="360"/>
                  </a:cubicBezTo>
                  <a:cubicBezTo>
                    <a:pt x="216" y="360"/>
                    <a:pt x="216" y="360"/>
                    <a:pt x="216" y="360"/>
                  </a:cubicBezTo>
                  <a:cubicBezTo>
                    <a:pt x="216" y="359"/>
                    <a:pt x="216" y="359"/>
                    <a:pt x="216" y="359"/>
                  </a:cubicBezTo>
                  <a:cubicBezTo>
                    <a:pt x="216" y="359"/>
                    <a:pt x="216" y="359"/>
                    <a:pt x="216" y="359"/>
                  </a:cubicBezTo>
                  <a:cubicBezTo>
                    <a:pt x="217" y="358"/>
                    <a:pt x="217" y="358"/>
                    <a:pt x="217" y="358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8" y="357"/>
                    <a:pt x="218" y="357"/>
                    <a:pt x="218" y="357"/>
                  </a:cubicBezTo>
                  <a:cubicBezTo>
                    <a:pt x="218" y="356"/>
                    <a:pt x="218" y="356"/>
                    <a:pt x="218" y="356"/>
                  </a:cubicBezTo>
                  <a:cubicBezTo>
                    <a:pt x="218" y="356"/>
                    <a:pt x="218" y="356"/>
                    <a:pt x="218" y="356"/>
                  </a:cubicBezTo>
                  <a:cubicBezTo>
                    <a:pt x="219" y="356"/>
                    <a:pt x="219" y="356"/>
                    <a:pt x="219" y="356"/>
                  </a:cubicBezTo>
                  <a:cubicBezTo>
                    <a:pt x="219" y="356"/>
                    <a:pt x="219" y="356"/>
                    <a:pt x="219" y="356"/>
                  </a:cubicBezTo>
                  <a:cubicBezTo>
                    <a:pt x="220" y="356"/>
                    <a:pt x="220" y="356"/>
                    <a:pt x="220" y="356"/>
                  </a:cubicBezTo>
                  <a:cubicBezTo>
                    <a:pt x="220" y="357"/>
                    <a:pt x="220" y="357"/>
                    <a:pt x="220" y="357"/>
                  </a:cubicBezTo>
                  <a:cubicBezTo>
                    <a:pt x="220" y="358"/>
                    <a:pt x="220" y="358"/>
                    <a:pt x="220" y="358"/>
                  </a:cubicBezTo>
                  <a:cubicBezTo>
                    <a:pt x="220" y="358"/>
                    <a:pt x="220" y="358"/>
                    <a:pt x="220" y="358"/>
                  </a:cubicBezTo>
                  <a:cubicBezTo>
                    <a:pt x="221" y="358"/>
                    <a:pt x="221" y="358"/>
                    <a:pt x="221" y="358"/>
                  </a:cubicBezTo>
                  <a:cubicBezTo>
                    <a:pt x="222" y="358"/>
                    <a:pt x="222" y="358"/>
                    <a:pt x="222" y="358"/>
                  </a:cubicBezTo>
                  <a:cubicBezTo>
                    <a:pt x="222" y="357"/>
                    <a:pt x="222" y="357"/>
                    <a:pt x="222" y="357"/>
                  </a:cubicBezTo>
                  <a:cubicBezTo>
                    <a:pt x="222" y="356"/>
                    <a:pt x="222" y="356"/>
                    <a:pt x="222" y="356"/>
                  </a:cubicBezTo>
                  <a:cubicBezTo>
                    <a:pt x="222" y="355"/>
                    <a:pt x="222" y="355"/>
                    <a:pt x="222" y="355"/>
                  </a:cubicBezTo>
                  <a:cubicBezTo>
                    <a:pt x="222" y="355"/>
                    <a:pt x="222" y="355"/>
                    <a:pt x="222" y="355"/>
                  </a:cubicBezTo>
                  <a:cubicBezTo>
                    <a:pt x="223" y="355"/>
                    <a:pt x="223" y="355"/>
                    <a:pt x="223" y="355"/>
                  </a:cubicBezTo>
                  <a:cubicBezTo>
                    <a:pt x="223" y="356"/>
                    <a:pt x="223" y="356"/>
                    <a:pt x="223" y="356"/>
                  </a:cubicBezTo>
                  <a:cubicBezTo>
                    <a:pt x="223" y="356"/>
                    <a:pt x="223" y="356"/>
                    <a:pt x="223" y="356"/>
                  </a:cubicBezTo>
                  <a:cubicBezTo>
                    <a:pt x="224" y="357"/>
                    <a:pt x="224" y="357"/>
                    <a:pt x="224" y="357"/>
                  </a:cubicBezTo>
                  <a:cubicBezTo>
                    <a:pt x="223" y="358"/>
                    <a:pt x="223" y="358"/>
                    <a:pt x="223" y="358"/>
                  </a:cubicBezTo>
                  <a:cubicBezTo>
                    <a:pt x="223" y="358"/>
                    <a:pt x="223" y="358"/>
                    <a:pt x="223" y="358"/>
                  </a:cubicBezTo>
                  <a:cubicBezTo>
                    <a:pt x="224" y="359"/>
                    <a:pt x="224" y="359"/>
                    <a:pt x="224" y="359"/>
                  </a:cubicBezTo>
                  <a:cubicBezTo>
                    <a:pt x="224" y="358"/>
                    <a:pt x="224" y="358"/>
                    <a:pt x="224" y="358"/>
                  </a:cubicBezTo>
                  <a:cubicBezTo>
                    <a:pt x="225" y="358"/>
                    <a:pt x="225" y="358"/>
                    <a:pt x="225" y="358"/>
                  </a:cubicBezTo>
                  <a:cubicBezTo>
                    <a:pt x="225" y="359"/>
                    <a:pt x="225" y="359"/>
                    <a:pt x="225" y="359"/>
                  </a:cubicBezTo>
                  <a:cubicBezTo>
                    <a:pt x="226" y="360"/>
                    <a:pt x="226" y="360"/>
                    <a:pt x="226" y="360"/>
                  </a:cubicBezTo>
                  <a:cubicBezTo>
                    <a:pt x="226" y="360"/>
                    <a:pt x="226" y="360"/>
                    <a:pt x="226" y="360"/>
                  </a:cubicBezTo>
                  <a:cubicBezTo>
                    <a:pt x="227" y="361"/>
                    <a:pt x="227" y="361"/>
                    <a:pt x="227" y="361"/>
                  </a:cubicBezTo>
                  <a:cubicBezTo>
                    <a:pt x="228" y="364"/>
                    <a:pt x="228" y="364"/>
                    <a:pt x="228" y="364"/>
                  </a:cubicBezTo>
                  <a:cubicBezTo>
                    <a:pt x="229" y="362"/>
                    <a:pt x="229" y="362"/>
                    <a:pt x="229" y="362"/>
                  </a:cubicBezTo>
                  <a:cubicBezTo>
                    <a:pt x="229" y="360"/>
                    <a:pt x="229" y="360"/>
                    <a:pt x="229" y="360"/>
                  </a:cubicBezTo>
                  <a:cubicBezTo>
                    <a:pt x="228" y="359"/>
                    <a:pt x="228" y="359"/>
                    <a:pt x="228" y="359"/>
                  </a:cubicBezTo>
                  <a:cubicBezTo>
                    <a:pt x="228" y="358"/>
                    <a:pt x="228" y="358"/>
                    <a:pt x="228" y="358"/>
                  </a:cubicBezTo>
                  <a:cubicBezTo>
                    <a:pt x="227" y="356"/>
                    <a:pt x="227" y="356"/>
                    <a:pt x="227" y="356"/>
                  </a:cubicBezTo>
                  <a:cubicBezTo>
                    <a:pt x="227" y="355"/>
                    <a:pt x="227" y="355"/>
                    <a:pt x="227" y="355"/>
                  </a:cubicBezTo>
                  <a:cubicBezTo>
                    <a:pt x="227" y="352"/>
                    <a:pt x="227" y="352"/>
                    <a:pt x="227" y="352"/>
                  </a:cubicBezTo>
                  <a:cubicBezTo>
                    <a:pt x="228" y="350"/>
                    <a:pt x="228" y="350"/>
                    <a:pt x="228" y="350"/>
                  </a:cubicBezTo>
                  <a:cubicBezTo>
                    <a:pt x="228" y="349"/>
                    <a:pt x="228" y="349"/>
                    <a:pt x="228" y="349"/>
                  </a:cubicBezTo>
                  <a:cubicBezTo>
                    <a:pt x="228" y="348"/>
                    <a:pt x="228" y="348"/>
                    <a:pt x="228" y="348"/>
                  </a:cubicBezTo>
                  <a:cubicBezTo>
                    <a:pt x="228" y="346"/>
                    <a:pt x="228" y="346"/>
                    <a:pt x="228" y="346"/>
                  </a:cubicBezTo>
                  <a:cubicBezTo>
                    <a:pt x="227" y="344"/>
                    <a:pt x="227" y="344"/>
                    <a:pt x="227" y="344"/>
                  </a:cubicBezTo>
                  <a:cubicBezTo>
                    <a:pt x="225" y="341"/>
                    <a:pt x="225" y="341"/>
                    <a:pt x="225" y="34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21" y="331"/>
                    <a:pt x="221" y="331"/>
                    <a:pt x="221" y="331"/>
                  </a:cubicBezTo>
                  <a:cubicBezTo>
                    <a:pt x="220" y="327"/>
                    <a:pt x="220" y="327"/>
                    <a:pt x="220" y="327"/>
                  </a:cubicBezTo>
                  <a:cubicBezTo>
                    <a:pt x="220" y="325"/>
                    <a:pt x="220" y="325"/>
                    <a:pt x="220" y="325"/>
                  </a:cubicBezTo>
                  <a:cubicBezTo>
                    <a:pt x="220" y="323"/>
                    <a:pt x="220" y="323"/>
                    <a:pt x="220" y="323"/>
                  </a:cubicBezTo>
                  <a:cubicBezTo>
                    <a:pt x="221" y="322"/>
                    <a:pt x="221" y="322"/>
                    <a:pt x="221" y="322"/>
                  </a:cubicBezTo>
                  <a:cubicBezTo>
                    <a:pt x="220" y="318"/>
                    <a:pt x="220" y="318"/>
                    <a:pt x="220" y="318"/>
                  </a:cubicBezTo>
                  <a:cubicBezTo>
                    <a:pt x="221" y="317"/>
                    <a:pt x="221" y="317"/>
                    <a:pt x="221" y="317"/>
                  </a:cubicBezTo>
                  <a:cubicBezTo>
                    <a:pt x="221" y="315"/>
                    <a:pt x="221" y="315"/>
                    <a:pt x="221" y="315"/>
                  </a:cubicBezTo>
                  <a:cubicBezTo>
                    <a:pt x="222" y="315"/>
                    <a:pt x="222" y="315"/>
                    <a:pt x="222" y="315"/>
                  </a:cubicBezTo>
                  <a:cubicBezTo>
                    <a:pt x="222" y="313"/>
                    <a:pt x="222" y="313"/>
                    <a:pt x="222" y="313"/>
                  </a:cubicBezTo>
                  <a:cubicBezTo>
                    <a:pt x="223" y="311"/>
                    <a:pt x="223" y="311"/>
                    <a:pt x="223" y="311"/>
                  </a:cubicBezTo>
                  <a:cubicBezTo>
                    <a:pt x="223" y="310"/>
                    <a:pt x="223" y="310"/>
                    <a:pt x="223" y="310"/>
                  </a:cubicBezTo>
                  <a:cubicBezTo>
                    <a:pt x="223" y="308"/>
                    <a:pt x="223" y="308"/>
                    <a:pt x="223" y="308"/>
                  </a:cubicBezTo>
                  <a:cubicBezTo>
                    <a:pt x="224" y="306"/>
                    <a:pt x="224" y="306"/>
                    <a:pt x="224" y="306"/>
                  </a:cubicBezTo>
                  <a:cubicBezTo>
                    <a:pt x="224" y="305"/>
                    <a:pt x="224" y="305"/>
                    <a:pt x="224" y="305"/>
                  </a:cubicBezTo>
                  <a:cubicBezTo>
                    <a:pt x="224" y="303"/>
                    <a:pt x="224" y="303"/>
                    <a:pt x="224" y="303"/>
                  </a:cubicBezTo>
                  <a:cubicBezTo>
                    <a:pt x="223" y="302"/>
                    <a:pt x="223" y="302"/>
                    <a:pt x="223" y="302"/>
                  </a:cubicBezTo>
                  <a:cubicBezTo>
                    <a:pt x="224" y="301"/>
                    <a:pt x="224" y="301"/>
                    <a:pt x="224" y="301"/>
                  </a:cubicBezTo>
                  <a:cubicBezTo>
                    <a:pt x="224" y="300"/>
                    <a:pt x="224" y="300"/>
                    <a:pt x="224" y="300"/>
                  </a:cubicBezTo>
                  <a:cubicBezTo>
                    <a:pt x="224" y="299"/>
                    <a:pt x="224" y="299"/>
                    <a:pt x="224" y="299"/>
                  </a:cubicBezTo>
                  <a:cubicBezTo>
                    <a:pt x="224" y="296"/>
                    <a:pt x="224" y="296"/>
                    <a:pt x="224" y="296"/>
                  </a:cubicBezTo>
                  <a:cubicBezTo>
                    <a:pt x="224" y="296"/>
                    <a:pt x="224" y="296"/>
                    <a:pt x="224" y="296"/>
                  </a:cubicBezTo>
                  <a:cubicBezTo>
                    <a:pt x="222" y="294"/>
                    <a:pt x="222" y="294"/>
                    <a:pt x="222" y="294"/>
                  </a:cubicBezTo>
                  <a:cubicBezTo>
                    <a:pt x="222" y="294"/>
                    <a:pt x="222" y="294"/>
                    <a:pt x="222" y="294"/>
                  </a:cubicBezTo>
                  <a:cubicBezTo>
                    <a:pt x="222" y="292"/>
                    <a:pt x="222" y="292"/>
                    <a:pt x="222" y="292"/>
                  </a:cubicBezTo>
                  <a:cubicBezTo>
                    <a:pt x="222" y="291"/>
                    <a:pt x="222" y="291"/>
                    <a:pt x="222" y="291"/>
                  </a:cubicBezTo>
                  <a:cubicBezTo>
                    <a:pt x="221" y="290"/>
                    <a:pt x="221" y="290"/>
                    <a:pt x="221" y="290"/>
                  </a:cubicBezTo>
                  <a:cubicBezTo>
                    <a:pt x="220" y="288"/>
                    <a:pt x="220" y="288"/>
                    <a:pt x="220" y="288"/>
                  </a:cubicBezTo>
                  <a:cubicBezTo>
                    <a:pt x="219" y="285"/>
                    <a:pt x="219" y="285"/>
                    <a:pt x="219" y="285"/>
                  </a:cubicBezTo>
                  <a:cubicBezTo>
                    <a:pt x="218" y="282"/>
                    <a:pt x="218" y="282"/>
                    <a:pt x="218" y="282"/>
                  </a:cubicBezTo>
                  <a:cubicBezTo>
                    <a:pt x="218" y="279"/>
                    <a:pt x="218" y="279"/>
                    <a:pt x="218" y="279"/>
                  </a:cubicBezTo>
                  <a:cubicBezTo>
                    <a:pt x="217" y="276"/>
                    <a:pt x="217" y="276"/>
                    <a:pt x="217" y="276"/>
                  </a:cubicBezTo>
                  <a:cubicBezTo>
                    <a:pt x="215" y="270"/>
                    <a:pt x="215" y="270"/>
                    <a:pt x="215" y="270"/>
                  </a:cubicBezTo>
                  <a:cubicBezTo>
                    <a:pt x="214" y="268"/>
                    <a:pt x="214" y="268"/>
                    <a:pt x="214" y="268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15" y="264"/>
                    <a:pt x="215" y="264"/>
                    <a:pt x="215" y="264"/>
                  </a:cubicBezTo>
                  <a:cubicBezTo>
                    <a:pt x="215" y="262"/>
                    <a:pt x="215" y="262"/>
                    <a:pt x="215" y="262"/>
                  </a:cubicBezTo>
                  <a:cubicBezTo>
                    <a:pt x="215" y="260"/>
                    <a:pt x="215" y="260"/>
                    <a:pt x="215" y="260"/>
                  </a:cubicBezTo>
                  <a:cubicBezTo>
                    <a:pt x="216" y="259"/>
                    <a:pt x="216" y="259"/>
                    <a:pt x="216" y="259"/>
                  </a:cubicBezTo>
                  <a:cubicBezTo>
                    <a:pt x="216" y="258"/>
                    <a:pt x="216" y="258"/>
                    <a:pt x="216" y="258"/>
                  </a:cubicBezTo>
                  <a:cubicBezTo>
                    <a:pt x="215" y="257"/>
                    <a:pt x="215" y="257"/>
                    <a:pt x="215" y="257"/>
                  </a:cubicBezTo>
                  <a:cubicBezTo>
                    <a:pt x="214" y="256"/>
                    <a:pt x="214" y="256"/>
                    <a:pt x="214" y="256"/>
                  </a:cubicBezTo>
                  <a:cubicBezTo>
                    <a:pt x="215" y="256"/>
                    <a:pt x="215" y="256"/>
                    <a:pt x="215" y="256"/>
                  </a:cubicBezTo>
                  <a:cubicBezTo>
                    <a:pt x="216" y="256"/>
                    <a:pt x="216" y="256"/>
                    <a:pt x="216" y="256"/>
                  </a:cubicBezTo>
                  <a:cubicBezTo>
                    <a:pt x="217" y="257"/>
                    <a:pt x="217" y="257"/>
                    <a:pt x="217" y="257"/>
                  </a:cubicBezTo>
                  <a:cubicBezTo>
                    <a:pt x="217" y="256"/>
                    <a:pt x="217" y="256"/>
                    <a:pt x="217" y="256"/>
                  </a:cubicBezTo>
                  <a:cubicBezTo>
                    <a:pt x="217" y="255"/>
                    <a:pt x="217" y="255"/>
                    <a:pt x="217" y="255"/>
                  </a:cubicBezTo>
                  <a:cubicBezTo>
                    <a:pt x="217" y="254"/>
                    <a:pt x="217" y="254"/>
                    <a:pt x="217" y="254"/>
                  </a:cubicBezTo>
                  <a:cubicBezTo>
                    <a:pt x="217" y="253"/>
                    <a:pt x="217" y="253"/>
                    <a:pt x="217" y="253"/>
                  </a:cubicBezTo>
                  <a:cubicBezTo>
                    <a:pt x="217" y="252"/>
                    <a:pt x="217" y="252"/>
                    <a:pt x="217" y="252"/>
                  </a:cubicBezTo>
                  <a:cubicBezTo>
                    <a:pt x="217" y="250"/>
                    <a:pt x="217" y="250"/>
                    <a:pt x="217" y="250"/>
                  </a:cubicBezTo>
                  <a:cubicBezTo>
                    <a:pt x="217" y="249"/>
                    <a:pt x="217" y="249"/>
                    <a:pt x="217" y="249"/>
                  </a:cubicBezTo>
                  <a:cubicBezTo>
                    <a:pt x="218" y="247"/>
                    <a:pt x="218" y="247"/>
                    <a:pt x="218" y="247"/>
                  </a:cubicBezTo>
                  <a:cubicBezTo>
                    <a:pt x="219" y="246"/>
                    <a:pt x="219" y="246"/>
                    <a:pt x="219" y="246"/>
                  </a:cubicBezTo>
                  <a:cubicBezTo>
                    <a:pt x="221" y="244"/>
                    <a:pt x="221" y="244"/>
                    <a:pt x="221" y="244"/>
                  </a:cubicBezTo>
                  <a:cubicBezTo>
                    <a:pt x="221" y="243"/>
                    <a:pt x="221" y="243"/>
                    <a:pt x="221" y="243"/>
                  </a:cubicBezTo>
                  <a:cubicBezTo>
                    <a:pt x="223" y="242"/>
                    <a:pt x="223" y="242"/>
                    <a:pt x="223" y="242"/>
                  </a:cubicBezTo>
                  <a:cubicBezTo>
                    <a:pt x="224" y="241"/>
                    <a:pt x="224" y="241"/>
                    <a:pt x="224" y="241"/>
                  </a:cubicBezTo>
                  <a:cubicBezTo>
                    <a:pt x="225" y="240"/>
                    <a:pt x="225" y="240"/>
                    <a:pt x="225" y="240"/>
                  </a:cubicBezTo>
                  <a:cubicBezTo>
                    <a:pt x="225" y="239"/>
                    <a:pt x="225" y="239"/>
                    <a:pt x="225" y="239"/>
                  </a:cubicBezTo>
                  <a:cubicBezTo>
                    <a:pt x="225" y="238"/>
                    <a:pt x="225" y="238"/>
                    <a:pt x="225" y="238"/>
                  </a:cubicBezTo>
                  <a:cubicBezTo>
                    <a:pt x="224" y="238"/>
                    <a:pt x="224" y="238"/>
                    <a:pt x="224" y="238"/>
                  </a:cubicBezTo>
                  <a:cubicBezTo>
                    <a:pt x="224" y="237"/>
                    <a:pt x="224" y="237"/>
                    <a:pt x="224" y="237"/>
                  </a:cubicBezTo>
                  <a:cubicBezTo>
                    <a:pt x="225" y="236"/>
                    <a:pt x="225" y="236"/>
                    <a:pt x="225" y="236"/>
                  </a:cubicBezTo>
                  <a:cubicBezTo>
                    <a:pt x="226" y="235"/>
                    <a:pt x="226" y="235"/>
                    <a:pt x="226" y="235"/>
                  </a:cubicBezTo>
                  <a:cubicBezTo>
                    <a:pt x="226" y="234"/>
                    <a:pt x="226" y="234"/>
                    <a:pt x="226" y="234"/>
                  </a:cubicBezTo>
                  <a:cubicBezTo>
                    <a:pt x="227" y="232"/>
                    <a:pt x="227" y="232"/>
                    <a:pt x="227" y="232"/>
                  </a:cubicBezTo>
                  <a:cubicBezTo>
                    <a:pt x="227" y="230"/>
                    <a:pt x="227" y="230"/>
                    <a:pt x="227" y="230"/>
                  </a:cubicBezTo>
                  <a:cubicBezTo>
                    <a:pt x="228" y="227"/>
                    <a:pt x="228" y="227"/>
                    <a:pt x="228" y="227"/>
                  </a:cubicBezTo>
                  <a:cubicBezTo>
                    <a:pt x="231" y="224"/>
                    <a:pt x="231" y="224"/>
                    <a:pt x="231" y="224"/>
                  </a:cubicBezTo>
                  <a:cubicBezTo>
                    <a:pt x="232" y="224"/>
                    <a:pt x="232" y="224"/>
                    <a:pt x="232" y="224"/>
                  </a:cubicBezTo>
                  <a:cubicBezTo>
                    <a:pt x="232" y="223"/>
                    <a:pt x="232" y="223"/>
                    <a:pt x="232" y="223"/>
                  </a:cubicBezTo>
                  <a:cubicBezTo>
                    <a:pt x="233" y="221"/>
                    <a:pt x="233" y="221"/>
                    <a:pt x="233" y="221"/>
                  </a:cubicBezTo>
                  <a:cubicBezTo>
                    <a:pt x="234" y="221"/>
                    <a:pt x="234" y="221"/>
                    <a:pt x="234" y="221"/>
                  </a:cubicBezTo>
                  <a:cubicBezTo>
                    <a:pt x="235" y="219"/>
                    <a:pt x="235" y="219"/>
                    <a:pt x="235" y="219"/>
                  </a:cubicBezTo>
                  <a:cubicBezTo>
                    <a:pt x="237" y="218"/>
                    <a:pt x="237" y="218"/>
                    <a:pt x="237" y="218"/>
                  </a:cubicBezTo>
                  <a:cubicBezTo>
                    <a:pt x="238" y="217"/>
                    <a:pt x="238" y="217"/>
                    <a:pt x="238" y="217"/>
                  </a:cubicBezTo>
                  <a:cubicBezTo>
                    <a:pt x="240" y="217"/>
                    <a:pt x="240" y="217"/>
                    <a:pt x="240" y="217"/>
                  </a:cubicBezTo>
                  <a:cubicBezTo>
                    <a:pt x="242" y="216"/>
                    <a:pt x="242" y="216"/>
                    <a:pt x="242" y="216"/>
                  </a:cubicBezTo>
                  <a:cubicBezTo>
                    <a:pt x="243" y="216"/>
                    <a:pt x="243" y="216"/>
                    <a:pt x="243" y="216"/>
                  </a:cubicBezTo>
                  <a:cubicBezTo>
                    <a:pt x="244" y="215"/>
                    <a:pt x="244" y="215"/>
                    <a:pt x="244" y="215"/>
                  </a:cubicBezTo>
                  <a:cubicBezTo>
                    <a:pt x="244" y="214"/>
                    <a:pt x="244" y="214"/>
                    <a:pt x="244" y="214"/>
                  </a:cubicBezTo>
                  <a:cubicBezTo>
                    <a:pt x="244" y="213"/>
                    <a:pt x="244" y="213"/>
                    <a:pt x="244" y="213"/>
                  </a:cubicBezTo>
                  <a:cubicBezTo>
                    <a:pt x="246" y="213"/>
                    <a:pt x="246" y="213"/>
                    <a:pt x="246" y="213"/>
                  </a:cubicBezTo>
                  <a:cubicBezTo>
                    <a:pt x="247" y="213"/>
                    <a:pt x="247" y="213"/>
                    <a:pt x="247" y="213"/>
                  </a:cubicBezTo>
                  <a:cubicBezTo>
                    <a:pt x="248" y="213"/>
                    <a:pt x="248" y="213"/>
                    <a:pt x="248" y="213"/>
                  </a:cubicBezTo>
                  <a:cubicBezTo>
                    <a:pt x="248" y="212"/>
                    <a:pt x="248" y="212"/>
                    <a:pt x="248" y="212"/>
                  </a:cubicBezTo>
                  <a:cubicBezTo>
                    <a:pt x="249" y="212"/>
                    <a:pt x="249" y="212"/>
                    <a:pt x="249" y="212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250" y="212"/>
                    <a:pt x="250" y="212"/>
                    <a:pt x="250" y="212"/>
                  </a:cubicBezTo>
                  <a:cubicBezTo>
                    <a:pt x="250" y="213"/>
                    <a:pt x="250" y="213"/>
                    <a:pt x="250" y="213"/>
                  </a:cubicBezTo>
                  <a:cubicBezTo>
                    <a:pt x="251" y="213"/>
                    <a:pt x="251" y="213"/>
                    <a:pt x="251" y="213"/>
                  </a:cubicBezTo>
                  <a:cubicBezTo>
                    <a:pt x="252" y="213"/>
                    <a:pt x="252" y="213"/>
                    <a:pt x="252" y="213"/>
                  </a:cubicBezTo>
                  <a:cubicBezTo>
                    <a:pt x="253" y="212"/>
                    <a:pt x="253" y="212"/>
                    <a:pt x="253" y="212"/>
                  </a:cubicBezTo>
                  <a:cubicBezTo>
                    <a:pt x="254" y="212"/>
                    <a:pt x="254" y="212"/>
                    <a:pt x="254" y="212"/>
                  </a:cubicBezTo>
                  <a:cubicBezTo>
                    <a:pt x="254" y="212"/>
                    <a:pt x="254" y="212"/>
                    <a:pt x="254" y="212"/>
                  </a:cubicBezTo>
                  <a:cubicBezTo>
                    <a:pt x="255" y="212"/>
                    <a:pt x="255" y="212"/>
                    <a:pt x="255" y="212"/>
                  </a:cubicBezTo>
                  <a:cubicBezTo>
                    <a:pt x="256" y="212"/>
                    <a:pt x="256" y="212"/>
                    <a:pt x="256" y="212"/>
                  </a:cubicBezTo>
                  <a:cubicBezTo>
                    <a:pt x="256" y="212"/>
                    <a:pt x="256" y="212"/>
                    <a:pt x="256" y="212"/>
                  </a:cubicBezTo>
                  <a:cubicBezTo>
                    <a:pt x="257" y="211"/>
                    <a:pt x="257" y="211"/>
                    <a:pt x="257" y="211"/>
                  </a:cubicBezTo>
                  <a:cubicBezTo>
                    <a:pt x="258" y="211"/>
                    <a:pt x="258" y="211"/>
                    <a:pt x="258" y="211"/>
                  </a:cubicBezTo>
                  <a:cubicBezTo>
                    <a:pt x="258" y="211"/>
                    <a:pt x="258" y="211"/>
                    <a:pt x="258" y="211"/>
                  </a:cubicBezTo>
                  <a:cubicBezTo>
                    <a:pt x="259" y="212"/>
                    <a:pt x="259" y="212"/>
                    <a:pt x="259" y="212"/>
                  </a:cubicBezTo>
                  <a:cubicBezTo>
                    <a:pt x="260" y="212"/>
                    <a:pt x="260" y="212"/>
                    <a:pt x="260" y="212"/>
                  </a:cubicBezTo>
                  <a:cubicBezTo>
                    <a:pt x="262" y="212"/>
                    <a:pt x="262" y="212"/>
                    <a:pt x="262" y="212"/>
                  </a:cubicBezTo>
                  <a:cubicBezTo>
                    <a:pt x="262" y="213"/>
                    <a:pt x="262" y="213"/>
                    <a:pt x="262" y="213"/>
                  </a:cubicBezTo>
                  <a:cubicBezTo>
                    <a:pt x="263" y="215"/>
                    <a:pt x="263" y="215"/>
                    <a:pt x="263" y="215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64" y="217"/>
                    <a:pt x="264" y="217"/>
                    <a:pt x="264" y="217"/>
                  </a:cubicBezTo>
                  <a:cubicBezTo>
                    <a:pt x="264" y="218"/>
                    <a:pt x="264" y="218"/>
                    <a:pt x="264" y="218"/>
                  </a:cubicBezTo>
                  <a:cubicBezTo>
                    <a:pt x="263" y="218"/>
                    <a:pt x="263" y="218"/>
                    <a:pt x="263" y="218"/>
                  </a:cubicBezTo>
                  <a:cubicBezTo>
                    <a:pt x="262" y="218"/>
                    <a:pt x="262" y="218"/>
                    <a:pt x="262" y="218"/>
                  </a:cubicBezTo>
                  <a:cubicBezTo>
                    <a:pt x="262" y="219"/>
                    <a:pt x="262" y="219"/>
                    <a:pt x="262" y="219"/>
                  </a:cubicBezTo>
                  <a:cubicBezTo>
                    <a:pt x="263" y="220"/>
                    <a:pt x="263" y="220"/>
                    <a:pt x="263" y="220"/>
                  </a:cubicBezTo>
                  <a:cubicBezTo>
                    <a:pt x="264" y="221"/>
                    <a:pt x="264" y="221"/>
                    <a:pt x="264" y="221"/>
                  </a:cubicBezTo>
                  <a:cubicBezTo>
                    <a:pt x="264" y="222"/>
                    <a:pt x="264" y="222"/>
                    <a:pt x="264" y="222"/>
                  </a:cubicBezTo>
                  <a:cubicBezTo>
                    <a:pt x="265" y="223"/>
                    <a:pt x="265" y="223"/>
                    <a:pt x="265" y="223"/>
                  </a:cubicBezTo>
                  <a:cubicBezTo>
                    <a:pt x="265" y="223"/>
                    <a:pt x="265" y="223"/>
                    <a:pt x="265" y="223"/>
                  </a:cubicBezTo>
                  <a:cubicBezTo>
                    <a:pt x="265" y="222"/>
                    <a:pt x="265" y="222"/>
                    <a:pt x="265" y="222"/>
                  </a:cubicBezTo>
                  <a:cubicBezTo>
                    <a:pt x="265" y="221"/>
                    <a:pt x="265" y="221"/>
                    <a:pt x="265" y="221"/>
                  </a:cubicBezTo>
                  <a:cubicBezTo>
                    <a:pt x="266" y="221"/>
                    <a:pt x="266" y="221"/>
                    <a:pt x="266" y="221"/>
                  </a:cubicBezTo>
                  <a:cubicBezTo>
                    <a:pt x="266" y="220"/>
                    <a:pt x="266" y="220"/>
                    <a:pt x="266" y="220"/>
                  </a:cubicBezTo>
                  <a:cubicBezTo>
                    <a:pt x="266" y="219"/>
                    <a:pt x="266" y="219"/>
                    <a:pt x="266" y="219"/>
                  </a:cubicBezTo>
                  <a:cubicBezTo>
                    <a:pt x="266" y="217"/>
                    <a:pt x="266" y="217"/>
                    <a:pt x="266" y="217"/>
                  </a:cubicBezTo>
                  <a:cubicBezTo>
                    <a:pt x="267" y="216"/>
                    <a:pt x="267" y="216"/>
                    <a:pt x="267" y="216"/>
                  </a:cubicBezTo>
                  <a:cubicBezTo>
                    <a:pt x="267" y="216"/>
                    <a:pt x="267" y="216"/>
                    <a:pt x="267" y="216"/>
                  </a:cubicBezTo>
                  <a:cubicBezTo>
                    <a:pt x="267" y="215"/>
                    <a:pt x="267" y="215"/>
                    <a:pt x="267" y="215"/>
                  </a:cubicBezTo>
                  <a:cubicBezTo>
                    <a:pt x="268" y="214"/>
                    <a:pt x="268" y="214"/>
                    <a:pt x="268" y="214"/>
                  </a:cubicBezTo>
                  <a:cubicBezTo>
                    <a:pt x="268" y="213"/>
                    <a:pt x="268" y="213"/>
                    <a:pt x="268" y="213"/>
                  </a:cubicBezTo>
                  <a:cubicBezTo>
                    <a:pt x="269" y="212"/>
                    <a:pt x="269" y="212"/>
                    <a:pt x="269" y="212"/>
                  </a:cubicBezTo>
                  <a:cubicBezTo>
                    <a:pt x="270" y="212"/>
                    <a:pt x="270" y="212"/>
                    <a:pt x="270" y="212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70" y="214"/>
                    <a:pt x="270" y="214"/>
                    <a:pt x="270" y="214"/>
                  </a:cubicBezTo>
                  <a:cubicBezTo>
                    <a:pt x="270" y="214"/>
                    <a:pt x="270" y="214"/>
                    <a:pt x="270" y="214"/>
                  </a:cubicBezTo>
                  <a:cubicBezTo>
                    <a:pt x="271" y="215"/>
                    <a:pt x="271" y="215"/>
                    <a:pt x="271" y="215"/>
                  </a:cubicBezTo>
                  <a:cubicBezTo>
                    <a:pt x="271" y="215"/>
                    <a:pt x="271" y="215"/>
                    <a:pt x="271" y="215"/>
                  </a:cubicBezTo>
                  <a:cubicBezTo>
                    <a:pt x="271" y="215"/>
                    <a:pt x="271" y="215"/>
                    <a:pt x="271" y="215"/>
                  </a:cubicBezTo>
                  <a:cubicBezTo>
                    <a:pt x="272" y="215"/>
                    <a:pt x="272" y="215"/>
                    <a:pt x="272" y="215"/>
                  </a:cubicBezTo>
                  <a:cubicBezTo>
                    <a:pt x="272" y="215"/>
                    <a:pt x="272" y="215"/>
                    <a:pt x="272" y="215"/>
                  </a:cubicBezTo>
                  <a:cubicBezTo>
                    <a:pt x="272" y="215"/>
                    <a:pt x="272" y="215"/>
                    <a:pt x="272" y="215"/>
                  </a:cubicBezTo>
                  <a:cubicBezTo>
                    <a:pt x="273" y="215"/>
                    <a:pt x="273" y="215"/>
                    <a:pt x="273" y="215"/>
                  </a:cubicBezTo>
                  <a:cubicBezTo>
                    <a:pt x="273" y="216"/>
                    <a:pt x="273" y="216"/>
                    <a:pt x="273" y="216"/>
                  </a:cubicBezTo>
                  <a:cubicBezTo>
                    <a:pt x="273" y="216"/>
                    <a:pt x="273" y="216"/>
                    <a:pt x="273" y="216"/>
                  </a:cubicBezTo>
                  <a:cubicBezTo>
                    <a:pt x="273" y="216"/>
                    <a:pt x="273" y="216"/>
                    <a:pt x="273" y="216"/>
                  </a:cubicBezTo>
                  <a:cubicBezTo>
                    <a:pt x="274" y="216"/>
                    <a:pt x="274" y="216"/>
                    <a:pt x="274" y="216"/>
                  </a:cubicBezTo>
                  <a:cubicBezTo>
                    <a:pt x="274" y="217"/>
                    <a:pt x="274" y="217"/>
                    <a:pt x="274" y="217"/>
                  </a:cubicBezTo>
                  <a:cubicBezTo>
                    <a:pt x="274" y="217"/>
                    <a:pt x="274" y="217"/>
                    <a:pt x="274" y="217"/>
                  </a:cubicBezTo>
                  <a:cubicBezTo>
                    <a:pt x="275" y="217"/>
                    <a:pt x="275" y="217"/>
                    <a:pt x="275" y="217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9"/>
                    <a:pt x="276" y="219"/>
                    <a:pt x="276" y="219"/>
                  </a:cubicBezTo>
                  <a:cubicBezTo>
                    <a:pt x="276" y="219"/>
                    <a:pt x="276" y="219"/>
                    <a:pt x="276" y="219"/>
                  </a:cubicBezTo>
                  <a:cubicBezTo>
                    <a:pt x="276" y="219"/>
                    <a:pt x="276" y="219"/>
                    <a:pt x="276" y="219"/>
                  </a:cubicBezTo>
                  <a:cubicBezTo>
                    <a:pt x="277" y="219"/>
                    <a:pt x="277" y="219"/>
                    <a:pt x="277" y="219"/>
                  </a:cubicBezTo>
                  <a:cubicBezTo>
                    <a:pt x="277" y="219"/>
                    <a:pt x="277" y="219"/>
                    <a:pt x="277" y="219"/>
                  </a:cubicBezTo>
                  <a:cubicBezTo>
                    <a:pt x="277" y="218"/>
                    <a:pt x="277" y="218"/>
                    <a:pt x="277" y="218"/>
                  </a:cubicBezTo>
                  <a:cubicBezTo>
                    <a:pt x="277" y="217"/>
                    <a:pt x="277" y="217"/>
                    <a:pt x="277" y="217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4"/>
                    <a:pt x="277" y="214"/>
                    <a:pt x="277" y="214"/>
                  </a:cubicBezTo>
                  <a:cubicBezTo>
                    <a:pt x="277" y="213"/>
                    <a:pt x="277" y="213"/>
                    <a:pt x="277" y="213"/>
                  </a:cubicBezTo>
                  <a:cubicBezTo>
                    <a:pt x="278" y="212"/>
                    <a:pt x="278" y="212"/>
                    <a:pt x="278" y="212"/>
                  </a:cubicBezTo>
                  <a:cubicBezTo>
                    <a:pt x="280" y="210"/>
                    <a:pt x="280" y="210"/>
                    <a:pt x="280" y="210"/>
                  </a:cubicBezTo>
                  <a:cubicBezTo>
                    <a:pt x="283" y="208"/>
                    <a:pt x="283" y="208"/>
                    <a:pt x="283" y="208"/>
                  </a:cubicBezTo>
                  <a:cubicBezTo>
                    <a:pt x="285" y="207"/>
                    <a:pt x="285" y="207"/>
                    <a:pt x="285" y="207"/>
                  </a:cubicBezTo>
                  <a:cubicBezTo>
                    <a:pt x="285" y="206"/>
                    <a:pt x="285" y="206"/>
                    <a:pt x="285" y="206"/>
                  </a:cubicBezTo>
                  <a:cubicBezTo>
                    <a:pt x="285" y="206"/>
                    <a:pt x="285" y="206"/>
                    <a:pt x="285" y="206"/>
                  </a:cubicBezTo>
                  <a:cubicBezTo>
                    <a:pt x="284" y="204"/>
                    <a:pt x="284" y="204"/>
                    <a:pt x="284" y="204"/>
                  </a:cubicBezTo>
                  <a:cubicBezTo>
                    <a:pt x="285" y="204"/>
                    <a:pt x="285" y="204"/>
                    <a:pt x="285" y="204"/>
                  </a:cubicBezTo>
                  <a:cubicBezTo>
                    <a:pt x="286" y="205"/>
                    <a:pt x="286" y="205"/>
                    <a:pt x="286" y="205"/>
                  </a:cubicBezTo>
                  <a:cubicBezTo>
                    <a:pt x="286" y="205"/>
                    <a:pt x="286" y="205"/>
                    <a:pt x="286" y="205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87" y="205"/>
                    <a:pt x="287" y="205"/>
                    <a:pt x="287" y="205"/>
                  </a:cubicBezTo>
                  <a:cubicBezTo>
                    <a:pt x="287" y="204"/>
                    <a:pt x="287" y="204"/>
                    <a:pt x="287" y="204"/>
                  </a:cubicBezTo>
                  <a:cubicBezTo>
                    <a:pt x="287" y="204"/>
                    <a:pt x="287" y="204"/>
                    <a:pt x="287" y="204"/>
                  </a:cubicBezTo>
                  <a:cubicBezTo>
                    <a:pt x="287" y="202"/>
                    <a:pt x="287" y="202"/>
                    <a:pt x="287" y="202"/>
                  </a:cubicBezTo>
                  <a:cubicBezTo>
                    <a:pt x="287" y="201"/>
                    <a:pt x="287" y="201"/>
                    <a:pt x="287" y="201"/>
                  </a:cubicBezTo>
                  <a:cubicBezTo>
                    <a:pt x="287" y="200"/>
                    <a:pt x="287" y="200"/>
                    <a:pt x="287" y="200"/>
                  </a:cubicBezTo>
                  <a:cubicBezTo>
                    <a:pt x="288" y="199"/>
                    <a:pt x="288" y="199"/>
                    <a:pt x="288" y="199"/>
                  </a:cubicBezTo>
                  <a:cubicBezTo>
                    <a:pt x="288" y="199"/>
                    <a:pt x="288" y="199"/>
                    <a:pt x="288" y="199"/>
                  </a:cubicBezTo>
                  <a:cubicBezTo>
                    <a:pt x="289" y="197"/>
                    <a:pt x="289" y="197"/>
                    <a:pt x="289" y="197"/>
                  </a:cubicBezTo>
                  <a:cubicBezTo>
                    <a:pt x="290" y="196"/>
                    <a:pt x="290" y="196"/>
                    <a:pt x="290" y="196"/>
                  </a:cubicBezTo>
                  <a:cubicBezTo>
                    <a:pt x="291" y="194"/>
                    <a:pt x="291" y="194"/>
                    <a:pt x="291" y="194"/>
                  </a:cubicBezTo>
                  <a:cubicBezTo>
                    <a:pt x="292" y="190"/>
                    <a:pt x="292" y="190"/>
                    <a:pt x="292" y="190"/>
                  </a:cubicBezTo>
                  <a:cubicBezTo>
                    <a:pt x="292" y="189"/>
                    <a:pt x="292" y="189"/>
                    <a:pt x="292" y="189"/>
                  </a:cubicBezTo>
                  <a:cubicBezTo>
                    <a:pt x="293" y="188"/>
                    <a:pt x="293" y="188"/>
                    <a:pt x="293" y="188"/>
                  </a:cubicBezTo>
                  <a:cubicBezTo>
                    <a:pt x="294" y="187"/>
                    <a:pt x="294" y="187"/>
                    <a:pt x="294" y="187"/>
                  </a:cubicBezTo>
                  <a:cubicBezTo>
                    <a:pt x="294" y="187"/>
                    <a:pt x="294" y="187"/>
                    <a:pt x="294" y="187"/>
                  </a:cubicBezTo>
                  <a:cubicBezTo>
                    <a:pt x="295" y="186"/>
                    <a:pt x="295" y="186"/>
                    <a:pt x="295" y="186"/>
                  </a:cubicBezTo>
                  <a:cubicBezTo>
                    <a:pt x="295" y="185"/>
                    <a:pt x="295" y="185"/>
                    <a:pt x="295" y="185"/>
                  </a:cubicBezTo>
                  <a:cubicBezTo>
                    <a:pt x="294" y="185"/>
                    <a:pt x="294" y="185"/>
                    <a:pt x="294" y="185"/>
                  </a:cubicBezTo>
                  <a:cubicBezTo>
                    <a:pt x="294" y="185"/>
                    <a:pt x="294" y="185"/>
                    <a:pt x="294" y="185"/>
                  </a:cubicBezTo>
                  <a:cubicBezTo>
                    <a:pt x="293" y="184"/>
                    <a:pt x="293" y="184"/>
                    <a:pt x="293" y="184"/>
                  </a:cubicBezTo>
                  <a:cubicBezTo>
                    <a:pt x="293" y="184"/>
                    <a:pt x="293" y="184"/>
                    <a:pt x="293" y="184"/>
                  </a:cubicBezTo>
                  <a:cubicBezTo>
                    <a:pt x="294" y="183"/>
                    <a:pt x="294" y="183"/>
                    <a:pt x="294" y="183"/>
                  </a:cubicBezTo>
                  <a:cubicBezTo>
                    <a:pt x="294" y="183"/>
                    <a:pt x="294" y="183"/>
                    <a:pt x="294" y="183"/>
                  </a:cubicBezTo>
                  <a:cubicBezTo>
                    <a:pt x="295" y="183"/>
                    <a:pt x="295" y="183"/>
                    <a:pt x="295" y="183"/>
                  </a:cubicBezTo>
                  <a:cubicBezTo>
                    <a:pt x="295" y="183"/>
                    <a:pt x="295" y="183"/>
                    <a:pt x="295" y="183"/>
                  </a:cubicBezTo>
                  <a:cubicBezTo>
                    <a:pt x="296" y="182"/>
                    <a:pt x="296" y="182"/>
                    <a:pt x="296" y="182"/>
                  </a:cubicBezTo>
                  <a:cubicBezTo>
                    <a:pt x="297" y="182"/>
                    <a:pt x="297" y="182"/>
                    <a:pt x="297" y="182"/>
                  </a:cubicBezTo>
                  <a:cubicBezTo>
                    <a:pt x="297" y="182"/>
                    <a:pt x="297" y="182"/>
                    <a:pt x="297" y="182"/>
                  </a:cubicBezTo>
                  <a:cubicBezTo>
                    <a:pt x="298" y="182"/>
                    <a:pt x="298" y="182"/>
                    <a:pt x="298" y="182"/>
                  </a:cubicBezTo>
                  <a:cubicBezTo>
                    <a:pt x="298" y="182"/>
                    <a:pt x="298" y="182"/>
                    <a:pt x="298" y="18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9" y="181"/>
                    <a:pt x="299" y="181"/>
                    <a:pt x="299" y="181"/>
                  </a:cubicBezTo>
                  <a:cubicBezTo>
                    <a:pt x="299" y="181"/>
                    <a:pt x="299" y="181"/>
                    <a:pt x="299" y="181"/>
                  </a:cubicBezTo>
                  <a:cubicBezTo>
                    <a:pt x="301" y="180"/>
                    <a:pt x="301" y="180"/>
                    <a:pt x="301" y="180"/>
                  </a:cubicBezTo>
                  <a:cubicBezTo>
                    <a:pt x="302" y="180"/>
                    <a:pt x="302" y="180"/>
                    <a:pt x="302" y="180"/>
                  </a:cubicBezTo>
                  <a:cubicBezTo>
                    <a:pt x="302" y="180"/>
                    <a:pt x="302" y="180"/>
                    <a:pt x="302" y="180"/>
                  </a:cubicBezTo>
                  <a:cubicBezTo>
                    <a:pt x="303" y="180"/>
                    <a:pt x="303" y="180"/>
                    <a:pt x="303" y="180"/>
                  </a:cubicBezTo>
                  <a:cubicBezTo>
                    <a:pt x="303" y="179"/>
                    <a:pt x="303" y="179"/>
                    <a:pt x="303" y="179"/>
                  </a:cubicBezTo>
                  <a:cubicBezTo>
                    <a:pt x="304" y="179"/>
                    <a:pt x="304" y="179"/>
                    <a:pt x="304" y="179"/>
                  </a:cubicBezTo>
                  <a:cubicBezTo>
                    <a:pt x="304" y="180"/>
                    <a:pt x="304" y="180"/>
                    <a:pt x="304" y="180"/>
                  </a:cubicBezTo>
                  <a:cubicBezTo>
                    <a:pt x="304" y="181"/>
                    <a:pt x="304" y="181"/>
                    <a:pt x="304" y="181"/>
                  </a:cubicBezTo>
                  <a:cubicBezTo>
                    <a:pt x="305" y="181"/>
                    <a:pt x="305" y="181"/>
                    <a:pt x="305" y="181"/>
                  </a:cubicBezTo>
                  <a:cubicBezTo>
                    <a:pt x="306" y="181"/>
                    <a:pt x="306" y="181"/>
                    <a:pt x="306" y="181"/>
                  </a:cubicBezTo>
                  <a:cubicBezTo>
                    <a:pt x="307" y="182"/>
                    <a:pt x="307" y="182"/>
                    <a:pt x="307" y="182"/>
                  </a:cubicBezTo>
                  <a:cubicBezTo>
                    <a:pt x="308" y="182"/>
                    <a:pt x="308" y="182"/>
                    <a:pt x="308" y="182"/>
                  </a:cubicBezTo>
                  <a:cubicBezTo>
                    <a:pt x="308" y="182"/>
                    <a:pt x="308" y="182"/>
                    <a:pt x="308" y="182"/>
                  </a:cubicBezTo>
                  <a:cubicBezTo>
                    <a:pt x="309" y="182"/>
                    <a:pt x="309" y="182"/>
                    <a:pt x="309" y="182"/>
                  </a:cubicBezTo>
                  <a:cubicBezTo>
                    <a:pt x="311" y="181"/>
                    <a:pt x="311" y="181"/>
                    <a:pt x="311" y="181"/>
                  </a:cubicBezTo>
                  <a:cubicBezTo>
                    <a:pt x="311" y="181"/>
                    <a:pt x="311" y="181"/>
                    <a:pt x="311" y="181"/>
                  </a:cubicBezTo>
                  <a:cubicBezTo>
                    <a:pt x="311" y="181"/>
                    <a:pt x="311" y="181"/>
                    <a:pt x="311" y="181"/>
                  </a:cubicBezTo>
                  <a:cubicBezTo>
                    <a:pt x="312" y="181"/>
                    <a:pt x="312" y="181"/>
                    <a:pt x="312" y="181"/>
                  </a:cubicBezTo>
                  <a:cubicBezTo>
                    <a:pt x="312" y="181"/>
                    <a:pt x="312" y="181"/>
                    <a:pt x="312" y="181"/>
                  </a:cubicBezTo>
                  <a:cubicBezTo>
                    <a:pt x="312" y="182"/>
                    <a:pt x="312" y="182"/>
                    <a:pt x="312" y="182"/>
                  </a:cubicBezTo>
                  <a:cubicBezTo>
                    <a:pt x="312" y="182"/>
                    <a:pt x="312" y="182"/>
                    <a:pt x="312" y="182"/>
                  </a:cubicBezTo>
                  <a:cubicBezTo>
                    <a:pt x="312" y="182"/>
                    <a:pt x="312" y="182"/>
                    <a:pt x="312" y="182"/>
                  </a:cubicBezTo>
                  <a:cubicBezTo>
                    <a:pt x="313" y="182"/>
                    <a:pt x="313" y="182"/>
                    <a:pt x="313" y="182"/>
                  </a:cubicBezTo>
                  <a:cubicBezTo>
                    <a:pt x="313" y="183"/>
                    <a:pt x="313" y="183"/>
                    <a:pt x="313" y="183"/>
                  </a:cubicBezTo>
                  <a:cubicBezTo>
                    <a:pt x="314" y="183"/>
                    <a:pt x="314" y="183"/>
                    <a:pt x="314" y="183"/>
                  </a:cubicBezTo>
                  <a:cubicBezTo>
                    <a:pt x="314" y="183"/>
                    <a:pt x="314" y="183"/>
                    <a:pt x="314" y="183"/>
                  </a:cubicBezTo>
                  <a:cubicBezTo>
                    <a:pt x="314" y="183"/>
                    <a:pt x="314" y="183"/>
                    <a:pt x="314" y="183"/>
                  </a:cubicBezTo>
                  <a:cubicBezTo>
                    <a:pt x="314" y="183"/>
                    <a:pt x="314" y="183"/>
                    <a:pt x="314" y="183"/>
                  </a:cubicBezTo>
                  <a:cubicBezTo>
                    <a:pt x="315" y="183"/>
                    <a:pt x="315" y="183"/>
                    <a:pt x="315" y="183"/>
                  </a:cubicBezTo>
                  <a:cubicBezTo>
                    <a:pt x="316" y="183"/>
                    <a:pt x="316" y="183"/>
                    <a:pt x="316" y="183"/>
                  </a:cubicBezTo>
                  <a:cubicBezTo>
                    <a:pt x="316" y="183"/>
                    <a:pt x="316" y="183"/>
                    <a:pt x="316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8" y="183"/>
                    <a:pt x="318" y="183"/>
                    <a:pt x="318" y="183"/>
                  </a:cubicBezTo>
                  <a:cubicBezTo>
                    <a:pt x="318" y="183"/>
                    <a:pt x="318" y="183"/>
                    <a:pt x="318" y="183"/>
                  </a:cubicBezTo>
                  <a:cubicBezTo>
                    <a:pt x="318" y="183"/>
                    <a:pt x="318" y="183"/>
                    <a:pt x="318" y="183"/>
                  </a:cubicBezTo>
                  <a:cubicBezTo>
                    <a:pt x="319" y="183"/>
                    <a:pt x="319" y="183"/>
                    <a:pt x="319" y="183"/>
                  </a:cubicBezTo>
                  <a:cubicBezTo>
                    <a:pt x="319" y="183"/>
                    <a:pt x="319" y="183"/>
                    <a:pt x="319" y="183"/>
                  </a:cubicBezTo>
                  <a:cubicBezTo>
                    <a:pt x="319" y="183"/>
                    <a:pt x="319" y="183"/>
                    <a:pt x="319" y="183"/>
                  </a:cubicBezTo>
                  <a:cubicBezTo>
                    <a:pt x="320" y="184"/>
                    <a:pt x="320" y="184"/>
                    <a:pt x="320" y="184"/>
                  </a:cubicBezTo>
                  <a:cubicBezTo>
                    <a:pt x="320" y="184"/>
                    <a:pt x="320" y="184"/>
                    <a:pt x="320" y="184"/>
                  </a:cubicBezTo>
                  <a:cubicBezTo>
                    <a:pt x="320" y="184"/>
                    <a:pt x="320" y="184"/>
                    <a:pt x="320" y="184"/>
                  </a:cubicBezTo>
                  <a:cubicBezTo>
                    <a:pt x="321" y="184"/>
                    <a:pt x="321" y="184"/>
                    <a:pt x="321" y="184"/>
                  </a:cubicBezTo>
                  <a:cubicBezTo>
                    <a:pt x="321" y="184"/>
                    <a:pt x="321" y="184"/>
                    <a:pt x="321" y="184"/>
                  </a:cubicBezTo>
                  <a:cubicBezTo>
                    <a:pt x="322" y="184"/>
                    <a:pt x="322" y="184"/>
                    <a:pt x="322" y="184"/>
                  </a:cubicBezTo>
                  <a:cubicBezTo>
                    <a:pt x="322" y="183"/>
                    <a:pt x="322" y="183"/>
                    <a:pt x="322" y="183"/>
                  </a:cubicBezTo>
                  <a:cubicBezTo>
                    <a:pt x="322" y="183"/>
                    <a:pt x="322" y="183"/>
                    <a:pt x="322" y="183"/>
                  </a:cubicBezTo>
                  <a:cubicBezTo>
                    <a:pt x="322" y="183"/>
                    <a:pt x="322" y="183"/>
                    <a:pt x="322" y="183"/>
                  </a:cubicBezTo>
                  <a:cubicBezTo>
                    <a:pt x="322" y="183"/>
                    <a:pt x="322" y="183"/>
                    <a:pt x="322" y="183"/>
                  </a:cubicBezTo>
                  <a:cubicBezTo>
                    <a:pt x="322" y="182"/>
                    <a:pt x="322" y="182"/>
                    <a:pt x="322" y="182"/>
                  </a:cubicBezTo>
                  <a:cubicBezTo>
                    <a:pt x="322" y="182"/>
                    <a:pt x="322" y="182"/>
                    <a:pt x="322" y="182"/>
                  </a:cubicBezTo>
                  <a:cubicBezTo>
                    <a:pt x="322" y="181"/>
                    <a:pt x="322" y="181"/>
                    <a:pt x="322" y="181"/>
                  </a:cubicBezTo>
                  <a:cubicBezTo>
                    <a:pt x="322" y="181"/>
                    <a:pt x="322" y="181"/>
                    <a:pt x="322" y="181"/>
                  </a:cubicBezTo>
                  <a:cubicBezTo>
                    <a:pt x="322" y="181"/>
                    <a:pt x="322" y="181"/>
                    <a:pt x="322" y="181"/>
                  </a:cubicBezTo>
                  <a:cubicBezTo>
                    <a:pt x="322" y="180"/>
                    <a:pt x="322" y="180"/>
                    <a:pt x="322" y="180"/>
                  </a:cubicBezTo>
                  <a:cubicBezTo>
                    <a:pt x="322" y="180"/>
                    <a:pt x="322" y="180"/>
                    <a:pt x="322" y="180"/>
                  </a:cubicBezTo>
                  <a:cubicBezTo>
                    <a:pt x="322" y="179"/>
                    <a:pt x="322" y="179"/>
                    <a:pt x="322" y="179"/>
                  </a:cubicBezTo>
                  <a:cubicBezTo>
                    <a:pt x="321" y="179"/>
                    <a:pt x="321" y="179"/>
                    <a:pt x="321" y="179"/>
                  </a:cubicBezTo>
                  <a:cubicBezTo>
                    <a:pt x="321" y="179"/>
                    <a:pt x="321" y="179"/>
                    <a:pt x="321" y="179"/>
                  </a:cubicBezTo>
                  <a:cubicBezTo>
                    <a:pt x="321" y="178"/>
                    <a:pt x="321" y="178"/>
                    <a:pt x="321" y="178"/>
                  </a:cubicBezTo>
                  <a:cubicBezTo>
                    <a:pt x="322" y="178"/>
                    <a:pt x="322" y="178"/>
                    <a:pt x="322" y="178"/>
                  </a:cubicBezTo>
                  <a:cubicBezTo>
                    <a:pt x="322" y="177"/>
                    <a:pt x="322" y="177"/>
                    <a:pt x="322" y="177"/>
                  </a:cubicBezTo>
                  <a:cubicBezTo>
                    <a:pt x="322" y="177"/>
                    <a:pt x="322" y="177"/>
                    <a:pt x="322" y="177"/>
                  </a:cubicBezTo>
                  <a:cubicBezTo>
                    <a:pt x="322" y="177"/>
                    <a:pt x="322" y="177"/>
                    <a:pt x="322" y="177"/>
                  </a:cubicBezTo>
                  <a:cubicBezTo>
                    <a:pt x="323" y="177"/>
                    <a:pt x="323" y="177"/>
                    <a:pt x="323" y="177"/>
                  </a:cubicBezTo>
                  <a:cubicBezTo>
                    <a:pt x="323" y="177"/>
                    <a:pt x="323" y="177"/>
                    <a:pt x="323" y="177"/>
                  </a:cubicBezTo>
                  <a:cubicBezTo>
                    <a:pt x="324" y="177"/>
                    <a:pt x="324" y="177"/>
                    <a:pt x="324" y="177"/>
                  </a:cubicBezTo>
                  <a:cubicBezTo>
                    <a:pt x="324" y="178"/>
                    <a:pt x="324" y="178"/>
                    <a:pt x="324" y="178"/>
                  </a:cubicBezTo>
                  <a:cubicBezTo>
                    <a:pt x="324" y="178"/>
                    <a:pt x="324" y="178"/>
                    <a:pt x="324" y="178"/>
                  </a:cubicBezTo>
                  <a:cubicBezTo>
                    <a:pt x="323" y="178"/>
                    <a:pt x="323" y="178"/>
                    <a:pt x="323" y="178"/>
                  </a:cubicBezTo>
                  <a:cubicBezTo>
                    <a:pt x="323" y="179"/>
                    <a:pt x="323" y="179"/>
                    <a:pt x="323" y="179"/>
                  </a:cubicBezTo>
                  <a:cubicBezTo>
                    <a:pt x="322" y="179"/>
                    <a:pt x="322" y="179"/>
                    <a:pt x="322" y="179"/>
                  </a:cubicBezTo>
                  <a:cubicBezTo>
                    <a:pt x="322" y="179"/>
                    <a:pt x="322" y="179"/>
                    <a:pt x="322" y="179"/>
                  </a:cubicBezTo>
                  <a:cubicBezTo>
                    <a:pt x="322" y="179"/>
                    <a:pt x="322" y="179"/>
                    <a:pt x="322" y="179"/>
                  </a:cubicBezTo>
                  <a:cubicBezTo>
                    <a:pt x="322" y="180"/>
                    <a:pt x="322" y="180"/>
                    <a:pt x="322" y="180"/>
                  </a:cubicBezTo>
                  <a:cubicBezTo>
                    <a:pt x="322" y="180"/>
                    <a:pt x="322" y="180"/>
                    <a:pt x="322" y="180"/>
                  </a:cubicBezTo>
                  <a:cubicBezTo>
                    <a:pt x="322" y="181"/>
                    <a:pt x="322" y="181"/>
                    <a:pt x="322" y="181"/>
                  </a:cubicBezTo>
                  <a:cubicBezTo>
                    <a:pt x="323" y="181"/>
                    <a:pt x="323" y="181"/>
                    <a:pt x="323" y="181"/>
                  </a:cubicBezTo>
                  <a:cubicBezTo>
                    <a:pt x="322" y="182"/>
                    <a:pt x="322" y="182"/>
                    <a:pt x="322" y="182"/>
                  </a:cubicBezTo>
                  <a:cubicBezTo>
                    <a:pt x="322" y="182"/>
                    <a:pt x="322" y="182"/>
                    <a:pt x="322" y="182"/>
                  </a:cubicBezTo>
                  <a:cubicBezTo>
                    <a:pt x="322" y="183"/>
                    <a:pt x="322" y="183"/>
                    <a:pt x="322" y="183"/>
                  </a:cubicBezTo>
                  <a:cubicBezTo>
                    <a:pt x="322" y="183"/>
                    <a:pt x="322" y="183"/>
                    <a:pt x="322" y="183"/>
                  </a:cubicBezTo>
                  <a:cubicBezTo>
                    <a:pt x="323" y="183"/>
                    <a:pt x="323" y="183"/>
                    <a:pt x="323" y="183"/>
                  </a:cubicBezTo>
                  <a:cubicBezTo>
                    <a:pt x="323" y="184"/>
                    <a:pt x="323" y="184"/>
                    <a:pt x="323" y="184"/>
                  </a:cubicBezTo>
                  <a:cubicBezTo>
                    <a:pt x="324" y="184"/>
                    <a:pt x="324" y="184"/>
                    <a:pt x="324" y="184"/>
                  </a:cubicBezTo>
                  <a:cubicBezTo>
                    <a:pt x="324" y="183"/>
                    <a:pt x="324" y="183"/>
                    <a:pt x="324" y="183"/>
                  </a:cubicBezTo>
                  <a:cubicBezTo>
                    <a:pt x="325" y="183"/>
                    <a:pt x="325" y="183"/>
                    <a:pt x="325" y="183"/>
                  </a:cubicBezTo>
                  <a:cubicBezTo>
                    <a:pt x="328" y="182"/>
                    <a:pt x="328" y="182"/>
                    <a:pt x="328" y="182"/>
                  </a:cubicBezTo>
                  <a:cubicBezTo>
                    <a:pt x="328" y="182"/>
                    <a:pt x="328" y="182"/>
                    <a:pt x="328" y="182"/>
                  </a:cubicBezTo>
                  <a:cubicBezTo>
                    <a:pt x="329" y="181"/>
                    <a:pt x="329" y="181"/>
                    <a:pt x="329" y="181"/>
                  </a:cubicBezTo>
                  <a:cubicBezTo>
                    <a:pt x="330" y="181"/>
                    <a:pt x="330" y="181"/>
                    <a:pt x="330" y="181"/>
                  </a:cubicBezTo>
                  <a:cubicBezTo>
                    <a:pt x="331" y="180"/>
                    <a:pt x="331" y="180"/>
                    <a:pt x="331" y="180"/>
                  </a:cubicBezTo>
                  <a:cubicBezTo>
                    <a:pt x="331" y="180"/>
                    <a:pt x="331" y="180"/>
                    <a:pt x="331" y="180"/>
                  </a:cubicBezTo>
                  <a:cubicBezTo>
                    <a:pt x="332" y="180"/>
                    <a:pt x="332" y="180"/>
                    <a:pt x="332" y="180"/>
                  </a:cubicBezTo>
                  <a:cubicBezTo>
                    <a:pt x="333" y="179"/>
                    <a:pt x="333" y="179"/>
                    <a:pt x="333" y="179"/>
                  </a:cubicBezTo>
                  <a:cubicBezTo>
                    <a:pt x="334" y="179"/>
                    <a:pt x="334" y="179"/>
                    <a:pt x="334" y="179"/>
                  </a:cubicBezTo>
                  <a:cubicBezTo>
                    <a:pt x="336" y="179"/>
                    <a:pt x="336" y="179"/>
                    <a:pt x="336" y="179"/>
                  </a:cubicBezTo>
                  <a:cubicBezTo>
                    <a:pt x="336" y="179"/>
                    <a:pt x="336" y="179"/>
                    <a:pt x="336" y="179"/>
                  </a:cubicBezTo>
                  <a:cubicBezTo>
                    <a:pt x="337" y="178"/>
                    <a:pt x="337" y="178"/>
                    <a:pt x="337" y="178"/>
                  </a:cubicBezTo>
                  <a:cubicBezTo>
                    <a:pt x="337" y="178"/>
                    <a:pt x="337" y="178"/>
                    <a:pt x="337" y="178"/>
                  </a:cubicBezTo>
                  <a:cubicBezTo>
                    <a:pt x="337" y="178"/>
                    <a:pt x="337" y="178"/>
                    <a:pt x="337" y="178"/>
                  </a:cubicBezTo>
                  <a:cubicBezTo>
                    <a:pt x="337" y="177"/>
                    <a:pt x="337" y="177"/>
                    <a:pt x="337" y="177"/>
                  </a:cubicBezTo>
                  <a:cubicBezTo>
                    <a:pt x="338" y="177"/>
                    <a:pt x="338" y="177"/>
                    <a:pt x="338" y="177"/>
                  </a:cubicBezTo>
                  <a:cubicBezTo>
                    <a:pt x="338" y="177"/>
                    <a:pt x="338" y="177"/>
                    <a:pt x="338" y="177"/>
                  </a:cubicBezTo>
                  <a:cubicBezTo>
                    <a:pt x="338" y="178"/>
                    <a:pt x="338" y="178"/>
                    <a:pt x="338" y="178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39" y="177"/>
                    <a:pt x="339" y="177"/>
                    <a:pt x="339" y="177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43" y="176"/>
                    <a:pt x="343" y="176"/>
                    <a:pt x="343" y="176"/>
                  </a:cubicBezTo>
                  <a:cubicBezTo>
                    <a:pt x="346" y="175"/>
                    <a:pt x="346" y="175"/>
                    <a:pt x="346" y="175"/>
                  </a:cubicBezTo>
                  <a:cubicBezTo>
                    <a:pt x="346" y="174"/>
                    <a:pt x="346" y="174"/>
                    <a:pt x="346" y="174"/>
                  </a:cubicBezTo>
                  <a:cubicBezTo>
                    <a:pt x="347" y="174"/>
                    <a:pt x="347" y="174"/>
                    <a:pt x="347" y="174"/>
                  </a:cubicBezTo>
                  <a:cubicBezTo>
                    <a:pt x="347" y="174"/>
                    <a:pt x="347" y="174"/>
                    <a:pt x="347" y="174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9" y="173"/>
                    <a:pt x="349" y="173"/>
                    <a:pt x="349" y="173"/>
                  </a:cubicBezTo>
                  <a:cubicBezTo>
                    <a:pt x="349" y="172"/>
                    <a:pt x="349" y="172"/>
                    <a:pt x="349" y="172"/>
                  </a:cubicBezTo>
                  <a:cubicBezTo>
                    <a:pt x="350" y="172"/>
                    <a:pt x="350" y="172"/>
                    <a:pt x="350" y="172"/>
                  </a:cubicBezTo>
                  <a:cubicBezTo>
                    <a:pt x="352" y="171"/>
                    <a:pt x="352" y="171"/>
                    <a:pt x="352" y="171"/>
                  </a:cubicBezTo>
                  <a:cubicBezTo>
                    <a:pt x="352" y="171"/>
                    <a:pt x="352" y="171"/>
                    <a:pt x="352" y="171"/>
                  </a:cubicBezTo>
                  <a:cubicBezTo>
                    <a:pt x="353" y="171"/>
                    <a:pt x="353" y="171"/>
                    <a:pt x="353" y="171"/>
                  </a:cubicBezTo>
                  <a:cubicBezTo>
                    <a:pt x="354" y="171"/>
                    <a:pt x="354" y="171"/>
                    <a:pt x="354" y="171"/>
                  </a:cubicBezTo>
                  <a:cubicBezTo>
                    <a:pt x="354" y="170"/>
                    <a:pt x="354" y="170"/>
                    <a:pt x="354" y="170"/>
                  </a:cubicBezTo>
                  <a:cubicBezTo>
                    <a:pt x="355" y="170"/>
                    <a:pt x="355" y="170"/>
                    <a:pt x="355" y="170"/>
                  </a:cubicBezTo>
                  <a:cubicBezTo>
                    <a:pt x="355" y="170"/>
                    <a:pt x="355" y="170"/>
                    <a:pt x="355" y="170"/>
                  </a:cubicBezTo>
                  <a:cubicBezTo>
                    <a:pt x="356" y="170"/>
                    <a:pt x="356" y="170"/>
                    <a:pt x="356" y="170"/>
                  </a:cubicBezTo>
                  <a:cubicBezTo>
                    <a:pt x="356" y="169"/>
                    <a:pt x="356" y="169"/>
                    <a:pt x="356" y="169"/>
                  </a:cubicBezTo>
                  <a:cubicBezTo>
                    <a:pt x="356" y="169"/>
                    <a:pt x="356" y="169"/>
                    <a:pt x="356" y="169"/>
                  </a:cubicBezTo>
                  <a:cubicBezTo>
                    <a:pt x="357" y="169"/>
                    <a:pt x="357" y="169"/>
                    <a:pt x="357" y="169"/>
                  </a:cubicBezTo>
                  <a:cubicBezTo>
                    <a:pt x="357" y="169"/>
                    <a:pt x="357" y="169"/>
                    <a:pt x="357" y="169"/>
                  </a:cubicBezTo>
                  <a:cubicBezTo>
                    <a:pt x="358" y="169"/>
                    <a:pt x="358" y="169"/>
                    <a:pt x="358" y="169"/>
                  </a:cubicBezTo>
                  <a:cubicBezTo>
                    <a:pt x="359" y="169"/>
                    <a:pt x="359" y="169"/>
                    <a:pt x="359" y="169"/>
                  </a:cubicBezTo>
                  <a:cubicBezTo>
                    <a:pt x="359" y="169"/>
                    <a:pt x="359" y="169"/>
                    <a:pt x="359" y="169"/>
                  </a:cubicBezTo>
                  <a:cubicBezTo>
                    <a:pt x="359" y="169"/>
                    <a:pt x="359" y="169"/>
                    <a:pt x="359" y="169"/>
                  </a:cubicBezTo>
                  <a:cubicBezTo>
                    <a:pt x="360" y="169"/>
                    <a:pt x="360" y="169"/>
                    <a:pt x="360" y="169"/>
                  </a:cubicBezTo>
                  <a:cubicBezTo>
                    <a:pt x="360" y="169"/>
                    <a:pt x="360" y="169"/>
                    <a:pt x="360" y="169"/>
                  </a:cubicBezTo>
                  <a:cubicBezTo>
                    <a:pt x="360" y="168"/>
                    <a:pt x="360" y="168"/>
                    <a:pt x="360" y="168"/>
                  </a:cubicBezTo>
                  <a:cubicBezTo>
                    <a:pt x="360" y="168"/>
                    <a:pt x="360" y="168"/>
                    <a:pt x="360" y="168"/>
                  </a:cubicBezTo>
                  <a:cubicBezTo>
                    <a:pt x="360" y="168"/>
                    <a:pt x="360" y="168"/>
                    <a:pt x="360" y="168"/>
                  </a:cubicBezTo>
                  <a:cubicBezTo>
                    <a:pt x="359" y="168"/>
                    <a:pt x="359" y="168"/>
                    <a:pt x="359" y="168"/>
                  </a:cubicBezTo>
                  <a:cubicBezTo>
                    <a:pt x="359" y="168"/>
                    <a:pt x="359" y="168"/>
                    <a:pt x="359" y="168"/>
                  </a:cubicBezTo>
                  <a:cubicBezTo>
                    <a:pt x="359" y="168"/>
                    <a:pt x="359" y="168"/>
                    <a:pt x="359" y="168"/>
                  </a:cubicBezTo>
                  <a:cubicBezTo>
                    <a:pt x="358" y="168"/>
                    <a:pt x="358" y="168"/>
                    <a:pt x="358" y="168"/>
                  </a:cubicBezTo>
                  <a:cubicBezTo>
                    <a:pt x="358" y="168"/>
                    <a:pt x="358" y="168"/>
                    <a:pt x="358" y="168"/>
                  </a:cubicBezTo>
                  <a:cubicBezTo>
                    <a:pt x="358" y="167"/>
                    <a:pt x="358" y="167"/>
                    <a:pt x="358" y="167"/>
                  </a:cubicBezTo>
                  <a:cubicBezTo>
                    <a:pt x="359" y="167"/>
                    <a:pt x="359" y="167"/>
                    <a:pt x="359" y="167"/>
                  </a:cubicBezTo>
                  <a:cubicBezTo>
                    <a:pt x="359" y="167"/>
                    <a:pt x="359" y="167"/>
                    <a:pt x="359" y="167"/>
                  </a:cubicBezTo>
                  <a:cubicBezTo>
                    <a:pt x="359" y="167"/>
                    <a:pt x="359" y="167"/>
                    <a:pt x="359" y="167"/>
                  </a:cubicBezTo>
                  <a:cubicBezTo>
                    <a:pt x="360" y="166"/>
                    <a:pt x="360" y="166"/>
                    <a:pt x="360" y="166"/>
                  </a:cubicBezTo>
                  <a:cubicBezTo>
                    <a:pt x="360" y="166"/>
                    <a:pt x="360" y="166"/>
                    <a:pt x="360" y="166"/>
                  </a:cubicBezTo>
                  <a:cubicBezTo>
                    <a:pt x="360" y="166"/>
                    <a:pt x="360" y="166"/>
                    <a:pt x="360" y="166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0" y="164"/>
                    <a:pt x="360" y="164"/>
                    <a:pt x="360" y="164"/>
                  </a:cubicBezTo>
                  <a:cubicBezTo>
                    <a:pt x="360" y="164"/>
                    <a:pt x="360" y="164"/>
                    <a:pt x="360" y="164"/>
                  </a:cubicBezTo>
                  <a:cubicBezTo>
                    <a:pt x="361" y="164"/>
                    <a:pt x="361" y="164"/>
                    <a:pt x="361" y="164"/>
                  </a:cubicBezTo>
                  <a:cubicBezTo>
                    <a:pt x="361" y="164"/>
                    <a:pt x="361" y="164"/>
                    <a:pt x="361" y="164"/>
                  </a:cubicBezTo>
                  <a:cubicBezTo>
                    <a:pt x="361" y="165"/>
                    <a:pt x="361" y="165"/>
                    <a:pt x="361" y="165"/>
                  </a:cubicBezTo>
                  <a:cubicBezTo>
                    <a:pt x="361" y="165"/>
                    <a:pt x="361" y="165"/>
                    <a:pt x="361" y="165"/>
                  </a:cubicBezTo>
                  <a:cubicBezTo>
                    <a:pt x="361" y="166"/>
                    <a:pt x="361" y="166"/>
                    <a:pt x="361" y="166"/>
                  </a:cubicBezTo>
                  <a:cubicBezTo>
                    <a:pt x="361" y="166"/>
                    <a:pt x="361" y="166"/>
                    <a:pt x="361" y="166"/>
                  </a:cubicBezTo>
                  <a:cubicBezTo>
                    <a:pt x="361" y="166"/>
                    <a:pt x="361" y="166"/>
                    <a:pt x="361" y="166"/>
                  </a:cubicBezTo>
                  <a:cubicBezTo>
                    <a:pt x="361" y="167"/>
                    <a:pt x="361" y="167"/>
                    <a:pt x="361" y="167"/>
                  </a:cubicBezTo>
                  <a:cubicBezTo>
                    <a:pt x="361" y="167"/>
                    <a:pt x="361" y="167"/>
                    <a:pt x="361" y="167"/>
                  </a:cubicBezTo>
                  <a:cubicBezTo>
                    <a:pt x="362" y="167"/>
                    <a:pt x="362" y="167"/>
                    <a:pt x="362" y="167"/>
                  </a:cubicBezTo>
                  <a:cubicBezTo>
                    <a:pt x="363" y="166"/>
                    <a:pt x="363" y="166"/>
                    <a:pt x="363" y="166"/>
                  </a:cubicBezTo>
                  <a:cubicBezTo>
                    <a:pt x="363" y="166"/>
                    <a:pt x="363" y="166"/>
                    <a:pt x="363" y="166"/>
                  </a:cubicBezTo>
                  <a:cubicBezTo>
                    <a:pt x="363" y="166"/>
                    <a:pt x="363" y="166"/>
                    <a:pt x="363" y="166"/>
                  </a:cubicBezTo>
                  <a:cubicBezTo>
                    <a:pt x="363" y="165"/>
                    <a:pt x="363" y="165"/>
                    <a:pt x="363" y="165"/>
                  </a:cubicBezTo>
                  <a:cubicBezTo>
                    <a:pt x="363" y="164"/>
                    <a:pt x="363" y="164"/>
                    <a:pt x="363" y="164"/>
                  </a:cubicBezTo>
                  <a:cubicBezTo>
                    <a:pt x="363" y="164"/>
                    <a:pt x="363" y="164"/>
                    <a:pt x="363" y="164"/>
                  </a:cubicBezTo>
                  <a:cubicBezTo>
                    <a:pt x="362" y="163"/>
                    <a:pt x="362" y="163"/>
                    <a:pt x="362" y="163"/>
                  </a:cubicBezTo>
                  <a:cubicBezTo>
                    <a:pt x="362" y="163"/>
                    <a:pt x="362" y="163"/>
                    <a:pt x="362" y="163"/>
                  </a:cubicBezTo>
                  <a:cubicBezTo>
                    <a:pt x="362" y="162"/>
                    <a:pt x="362" y="162"/>
                    <a:pt x="362" y="162"/>
                  </a:cubicBezTo>
                  <a:cubicBezTo>
                    <a:pt x="361" y="162"/>
                    <a:pt x="361" y="162"/>
                    <a:pt x="361" y="162"/>
                  </a:cubicBezTo>
                  <a:cubicBezTo>
                    <a:pt x="361" y="161"/>
                    <a:pt x="361" y="161"/>
                    <a:pt x="361" y="161"/>
                  </a:cubicBezTo>
                  <a:cubicBezTo>
                    <a:pt x="362" y="160"/>
                    <a:pt x="362" y="160"/>
                    <a:pt x="362" y="160"/>
                  </a:cubicBezTo>
                  <a:cubicBezTo>
                    <a:pt x="362" y="160"/>
                    <a:pt x="362" y="160"/>
                    <a:pt x="362" y="160"/>
                  </a:cubicBezTo>
                  <a:cubicBezTo>
                    <a:pt x="362" y="160"/>
                    <a:pt x="362" y="160"/>
                    <a:pt x="362" y="160"/>
                  </a:cubicBezTo>
                  <a:cubicBezTo>
                    <a:pt x="362" y="159"/>
                    <a:pt x="362" y="159"/>
                    <a:pt x="362" y="159"/>
                  </a:cubicBezTo>
                  <a:cubicBezTo>
                    <a:pt x="363" y="159"/>
                    <a:pt x="363" y="159"/>
                    <a:pt x="363" y="159"/>
                  </a:cubicBezTo>
                  <a:cubicBezTo>
                    <a:pt x="363" y="158"/>
                    <a:pt x="363" y="158"/>
                    <a:pt x="363" y="158"/>
                  </a:cubicBezTo>
                  <a:cubicBezTo>
                    <a:pt x="363" y="158"/>
                    <a:pt x="363" y="158"/>
                    <a:pt x="363" y="158"/>
                  </a:cubicBezTo>
                  <a:cubicBezTo>
                    <a:pt x="362" y="158"/>
                    <a:pt x="362" y="158"/>
                    <a:pt x="362" y="158"/>
                  </a:cubicBezTo>
                  <a:cubicBezTo>
                    <a:pt x="362" y="157"/>
                    <a:pt x="362" y="157"/>
                    <a:pt x="362" y="157"/>
                  </a:cubicBezTo>
                  <a:cubicBezTo>
                    <a:pt x="362" y="157"/>
                    <a:pt x="362" y="157"/>
                    <a:pt x="362" y="157"/>
                  </a:cubicBezTo>
                  <a:cubicBezTo>
                    <a:pt x="362" y="157"/>
                    <a:pt x="362" y="157"/>
                    <a:pt x="362" y="157"/>
                  </a:cubicBezTo>
                  <a:cubicBezTo>
                    <a:pt x="363" y="157"/>
                    <a:pt x="363" y="157"/>
                    <a:pt x="363" y="157"/>
                  </a:cubicBezTo>
                  <a:cubicBezTo>
                    <a:pt x="363" y="157"/>
                    <a:pt x="363" y="157"/>
                    <a:pt x="363" y="157"/>
                  </a:cubicBezTo>
                  <a:cubicBezTo>
                    <a:pt x="363" y="156"/>
                    <a:pt x="363" y="156"/>
                    <a:pt x="363" y="156"/>
                  </a:cubicBezTo>
                  <a:cubicBezTo>
                    <a:pt x="363" y="156"/>
                    <a:pt x="363" y="156"/>
                    <a:pt x="363" y="156"/>
                  </a:cubicBezTo>
                  <a:cubicBezTo>
                    <a:pt x="363" y="155"/>
                    <a:pt x="363" y="155"/>
                    <a:pt x="363" y="155"/>
                  </a:cubicBezTo>
                  <a:cubicBezTo>
                    <a:pt x="363" y="155"/>
                    <a:pt x="363" y="155"/>
                    <a:pt x="363" y="155"/>
                  </a:cubicBezTo>
                  <a:cubicBezTo>
                    <a:pt x="363" y="154"/>
                    <a:pt x="363" y="154"/>
                    <a:pt x="363" y="154"/>
                  </a:cubicBezTo>
                  <a:cubicBezTo>
                    <a:pt x="363" y="154"/>
                    <a:pt x="363" y="154"/>
                    <a:pt x="363" y="154"/>
                  </a:cubicBezTo>
                  <a:cubicBezTo>
                    <a:pt x="363" y="153"/>
                    <a:pt x="363" y="153"/>
                    <a:pt x="363" y="153"/>
                  </a:cubicBezTo>
                  <a:cubicBezTo>
                    <a:pt x="364" y="153"/>
                    <a:pt x="364" y="153"/>
                    <a:pt x="364" y="153"/>
                  </a:cubicBezTo>
                  <a:cubicBezTo>
                    <a:pt x="364" y="151"/>
                    <a:pt x="364" y="151"/>
                    <a:pt x="364" y="151"/>
                  </a:cubicBezTo>
                  <a:cubicBezTo>
                    <a:pt x="364" y="150"/>
                    <a:pt x="364" y="150"/>
                    <a:pt x="364" y="150"/>
                  </a:cubicBezTo>
                  <a:cubicBezTo>
                    <a:pt x="365" y="150"/>
                    <a:pt x="365" y="150"/>
                    <a:pt x="365" y="150"/>
                  </a:cubicBezTo>
                  <a:cubicBezTo>
                    <a:pt x="365" y="150"/>
                    <a:pt x="365" y="150"/>
                    <a:pt x="365" y="150"/>
                  </a:cubicBezTo>
                  <a:cubicBezTo>
                    <a:pt x="365" y="149"/>
                    <a:pt x="365" y="149"/>
                    <a:pt x="365" y="149"/>
                  </a:cubicBezTo>
                  <a:cubicBezTo>
                    <a:pt x="365" y="149"/>
                    <a:pt x="365" y="149"/>
                    <a:pt x="365" y="149"/>
                  </a:cubicBezTo>
                  <a:cubicBezTo>
                    <a:pt x="365" y="148"/>
                    <a:pt x="365" y="148"/>
                    <a:pt x="365" y="148"/>
                  </a:cubicBezTo>
                  <a:cubicBezTo>
                    <a:pt x="365" y="147"/>
                    <a:pt x="365" y="147"/>
                    <a:pt x="365" y="147"/>
                  </a:cubicBezTo>
                  <a:cubicBezTo>
                    <a:pt x="365" y="147"/>
                    <a:pt x="365" y="147"/>
                    <a:pt x="365" y="147"/>
                  </a:cubicBezTo>
                  <a:cubicBezTo>
                    <a:pt x="365" y="146"/>
                    <a:pt x="365" y="146"/>
                    <a:pt x="365" y="146"/>
                  </a:cubicBezTo>
                  <a:cubicBezTo>
                    <a:pt x="365" y="146"/>
                    <a:pt x="365" y="146"/>
                    <a:pt x="365" y="146"/>
                  </a:cubicBezTo>
                  <a:cubicBezTo>
                    <a:pt x="365" y="146"/>
                    <a:pt x="365" y="146"/>
                    <a:pt x="365" y="146"/>
                  </a:cubicBezTo>
                  <a:cubicBezTo>
                    <a:pt x="364" y="145"/>
                    <a:pt x="364" y="145"/>
                    <a:pt x="364" y="145"/>
                  </a:cubicBezTo>
                  <a:cubicBezTo>
                    <a:pt x="364" y="144"/>
                    <a:pt x="364" y="144"/>
                    <a:pt x="364" y="144"/>
                  </a:cubicBezTo>
                  <a:cubicBezTo>
                    <a:pt x="363" y="144"/>
                    <a:pt x="363" y="144"/>
                    <a:pt x="363" y="144"/>
                  </a:cubicBezTo>
                  <a:cubicBezTo>
                    <a:pt x="363" y="143"/>
                    <a:pt x="363" y="143"/>
                    <a:pt x="363" y="143"/>
                  </a:cubicBezTo>
                  <a:cubicBezTo>
                    <a:pt x="363" y="143"/>
                    <a:pt x="363" y="143"/>
                    <a:pt x="363" y="143"/>
                  </a:cubicBezTo>
                  <a:cubicBezTo>
                    <a:pt x="362" y="143"/>
                    <a:pt x="362" y="143"/>
                    <a:pt x="362" y="143"/>
                  </a:cubicBezTo>
                  <a:cubicBezTo>
                    <a:pt x="362" y="143"/>
                    <a:pt x="362" y="143"/>
                    <a:pt x="362" y="143"/>
                  </a:cubicBezTo>
                  <a:cubicBezTo>
                    <a:pt x="362" y="143"/>
                    <a:pt x="362" y="143"/>
                    <a:pt x="362" y="143"/>
                  </a:cubicBezTo>
                  <a:cubicBezTo>
                    <a:pt x="362" y="143"/>
                    <a:pt x="362" y="143"/>
                    <a:pt x="362" y="143"/>
                  </a:cubicBezTo>
                  <a:cubicBezTo>
                    <a:pt x="362" y="144"/>
                    <a:pt x="362" y="144"/>
                    <a:pt x="362" y="144"/>
                  </a:cubicBezTo>
                  <a:cubicBezTo>
                    <a:pt x="362" y="144"/>
                    <a:pt x="362" y="144"/>
                    <a:pt x="362" y="144"/>
                  </a:cubicBezTo>
                  <a:cubicBezTo>
                    <a:pt x="362" y="145"/>
                    <a:pt x="362" y="145"/>
                    <a:pt x="362" y="145"/>
                  </a:cubicBezTo>
                  <a:cubicBezTo>
                    <a:pt x="362" y="145"/>
                    <a:pt x="362" y="145"/>
                    <a:pt x="362" y="145"/>
                  </a:cubicBezTo>
                  <a:cubicBezTo>
                    <a:pt x="363" y="145"/>
                    <a:pt x="363" y="145"/>
                    <a:pt x="363" y="145"/>
                  </a:cubicBezTo>
                  <a:cubicBezTo>
                    <a:pt x="363" y="146"/>
                    <a:pt x="363" y="146"/>
                    <a:pt x="363" y="146"/>
                  </a:cubicBezTo>
                  <a:cubicBezTo>
                    <a:pt x="363" y="146"/>
                    <a:pt x="363" y="146"/>
                    <a:pt x="363" y="146"/>
                  </a:cubicBezTo>
                  <a:cubicBezTo>
                    <a:pt x="363" y="147"/>
                    <a:pt x="363" y="147"/>
                    <a:pt x="363" y="147"/>
                  </a:cubicBezTo>
                  <a:cubicBezTo>
                    <a:pt x="363" y="147"/>
                    <a:pt x="363" y="147"/>
                    <a:pt x="363" y="147"/>
                  </a:cubicBezTo>
                  <a:cubicBezTo>
                    <a:pt x="363" y="148"/>
                    <a:pt x="363" y="148"/>
                    <a:pt x="363" y="148"/>
                  </a:cubicBezTo>
                  <a:cubicBezTo>
                    <a:pt x="363" y="148"/>
                    <a:pt x="363" y="148"/>
                    <a:pt x="363" y="148"/>
                  </a:cubicBezTo>
                  <a:cubicBezTo>
                    <a:pt x="363" y="149"/>
                    <a:pt x="363" y="149"/>
                    <a:pt x="363" y="149"/>
                  </a:cubicBezTo>
                  <a:cubicBezTo>
                    <a:pt x="363" y="149"/>
                    <a:pt x="363" y="149"/>
                    <a:pt x="363" y="149"/>
                  </a:cubicBezTo>
                  <a:cubicBezTo>
                    <a:pt x="363" y="149"/>
                    <a:pt x="363" y="149"/>
                    <a:pt x="363" y="149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1" y="150"/>
                    <a:pt x="361" y="150"/>
                    <a:pt x="361" y="150"/>
                  </a:cubicBezTo>
                  <a:cubicBezTo>
                    <a:pt x="361" y="150"/>
                    <a:pt x="361" y="150"/>
                    <a:pt x="361" y="150"/>
                  </a:cubicBezTo>
                  <a:cubicBezTo>
                    <a:pt x="360" y="150"/>
                    <a:pt x="360" y="150"/>
                    <a:pt x="360" y="150"/>
                  </a:cubicBezTo>
                  <a:cubicBezTo>
                    <a:pt x="359" y="150"/>
                    <a:pt x="359" y="150"/>
                    <a:pt x="359" y="150"/>
                  </a:cubicBezTo>
                  <a:cubicBezTo>
                    <a:pt x="359" y="149"/>
                    <a:pt x="359" y="149"/>
                    <a:pt x="359" y="149"/>
                  </a:cubicBezTo>
                  <a:cubicBezTo>
                    <a:pt x="358" y="149"/>
                    <a:pt x="358" y="149"/>
                    <a:pt x="358" y="149"/>
                  </a:cubicBezTo>
                  <a:cubicBezTo>
                    <a:pt x="358" y="148"/>
                    <a:pt x="358" y="148"/>
                    <a:pt x="358" y="148"/>
                  </a:cubicBezTo>
                  <a:cubicBezTo>
                    <a:pt x="358" y="148"/>
                    <a:pt x="358" y="148"/>
                    <a:pt x="358" y="148"/>
                  </a:cubicBezTo>
                  <a:cubicBezTo>
                    <a:pt x="357" y="147"/>
                    <a:pt x="357" y="147"/>
                    <a:pt x="357" y="147"/>
                  </a:cubicBezTo>
                  <a:cubicBezTo>
                    <a:pt x="357" y="147"/>
                    <a:pt x="357" y="147"/>
                    <a:pt x="357" y="147"/>
                  </a:cubicBezTo>
                  <a:cubicBezTo>
                    <a:pt x="357" y="146"/>
                    <a:pt x="357" y="146"/>
                    <a:pt x="357" y="146"/>
                  </a:cubicBezTo>
                  <a:cubicBezTo>
                    <a:pt x="357" y="145"/>
                    <a:pt x="357" y="145"/>
                    <a:pt x="357" y="145"/>
                  </a:cubicBezTo>
                  <a:cubicBezTo>
                    <a:pt x="358" y="144"/>
                    <a:pt x="358" y="144"/>
                    <a:pt x="358" y="144"/>
                  </a:cubicBezTo>
                  <a:cubicBezTo>
                    <a:pt x="358" y="143"/>
                    <a:pt x="358" y="143"/>
                    <a:pt x="358" y="143"/>
                  </a:cubicBezTo>
                  <a:cubicBezTo>
                    <a:pt x="358" y="142"/>
                    <a:pt x="358" y="142"/>
                    <a:pt x="358" y="142"/>
                  </a:cubicBezTo>
                  <a:cubicBezTo>
                    <a:pt x="359" y="141"/>
                    <a:pt x="359" y="141"/>
                    <a:pt x="359" y="141"/>
                  </a:cubicBezTo>
                  <a:cubicBezTo>
                    <a:pt x="359" y="140"/>
                    <a:pt x="359" y="140"/>
                    <a:pt x="359" y="140"/>
                  </a:cubicBezTo>
                  <a:cubicBezTo>
                    <a:pt x="359" y="139"/>
                    <a:pt x="359" y="139"/>
                    <a:pt x="359" y="139"/>
                  </a:cubicBezTo>
                  <a:cubicBezTo>
                    <a:pt x="360" y="138"/>
                    <a:pt x="360" y="138"/>
                    <a:pt x="360" y="138"/>
                  </a:cubicBezTo>
                  <a:cubicBezTo>
                    <a:pt x="360" y="138"/>
                    <a:pt x="360" y="138"/>
                    <a:pt x="360" y="138"/>
                  </a:cubicBezTo>
                  <a:cubicBezTo>
                    <a:pt x="361" y="137"/>
                    <a:pt x="361" y="137"/>
                    <a:pt x="361" y="137"/>
                  </a:cubicBezTo>
                  <a:cubicBezTo>
                    <a:pt x="363" y="135"/>
                    <a:pt x="363" y="135"/>
                    <a:pt x="363" y="135"/>
                  </a:cubicBezTo>
                  <a:cubicBezTo>
                    <a:pt x="363" y="135"/>
                    <a:pt x="363" y="135"/>
                    <a:pt x="363" y="135"/>
                  </a:cubicBezTo>
                  <a:cubicBezTo>
                    <a:pt x="364" y="134"/>
                    <a:pt x="364" y="134"/>
                    <a:pt x="364" y="134"/>
                  </a:cubicBezTo>
                  <a:cubicBezTo>
                    <a:pt x="364" y="134"/>
                    <a:pt x="364" y="134"/>
                    <a:pt x="364" y="134"/>
                  </a:cubicBezTo>
                  <a:cubicBezTo>
                    <a:pt x="366" y="132"/>
                    <a:pt x="366" y="132"/>
                    <a:pt x="366" y="132"/>
                  </a:cubicBezTo>
                  <a:cubicBezTo>
                    <a:pt x="367" y="132"/>
                    <a:pt x="367" y="132"/>
                    <a:pt x="367" y="132"/>
                  </a:cubicBezTo>
                  <a:cubicBezTo>
                    <a:pt x="369" y="130"/>
                    <a:pt x="369" y="130"/>
                    <a:pt x="369" y="130"/>
                  </a:cubicBezTo>
                  <a:cubicBezTo>
                    <a:pt x="371" y="128"/>
                    <a:pt x="371" y="128"/>
                    <a:pt x="371" y="128"/>
                  </a:cubicBezTo>
                  <a:cubicBezTo>
                    <a:pt x="372" y="127"/>
                    <a:pt x="372" y="127"/>
                    <a:pt x="372" y="127"/>
                  </a:cubicBezTo>
                  <a:cubicBezTo>
                    <a:pt x="374" y="125"/>
                    <a:pt x="374" y="125"/>
                    <a:pt x="374" y="125"/>
                  </a:cubicBezTo>
                  <a:cubicBezTo>
                    <a:pt x="376" y="124"/>
                    <a:pt x="376" y="124"/>
                    <a:pt x="376" y="124"/>
                  </a:cubicBezTo>
                  <a:cubicBezTo>
                    <a:pt x="376" y="123"/>
                    <a:pt x="376" y="123"/>
                    <a:pt x="376" y="123"/>
                  </a:cubicBezTo>
                  <a:cubicBezTo>
                    <a:pt x="377" y="123"/>
                    <a:pt x="377" y="123"/>
                    <a:pt x="377" y="123"/>
                  </a:cubicBezTo>
                  <a:cubicBezTo>
                    <a:pt x="378" y="123"/>
                    <a:pt x="378" y="123"/>
                    <a:pt x="378" y="123"/>
                  </a:cubicBezTo>
                  <a:cubicBezTo>
                    <a:pt x="380" y="122"/>
                    <a:pt x="380" y="122"/>
                    <a:pt x="380" y="122"/>
                  </a:cubicBezTo>
                  <a:cubicBezTo>
                    <a:pt x="382" y="121"/>
                    <a:pt x="382" y="121"/>
                    <a:pt x="382" y="121"/>
                  </a:cubicBezTo>
                  <a:cubicBezTo>
                    <a:pt x="385" y="119"/>
                    <a:pt x="385" y="119"/>
                    <a:pt x="385" y="119"/>
                  </a:cubicBezTo>
                  <a:cubicBezTo>
                    <a:pt x="388" y="118"/>
                    <a:pt x="388" y="118"/>
                    <a:pt x="388" y="118"/>
                  </a:cubicBezTo>
                  <a:cubicBezTo>
                    <a:pt x="390" y="117"/>
                    <a:pt x="390" y="117"/>
                    <a:pt x="390" y="117"/>
                  </a:cubicBezTo>
                  <a:cubicBezTo>
                    <a:pt x="393" y="116"/>
                    <a:pt x="393" y="116"/>
                    <a:pt x="393" y="116"/>
                  </a:cubicBezTo>
                  <a:cubicBezTo>
                    <a:pt x="395" y="114"/>
                    <a:pt x="395" y="114"/>
                    <a:pt x="395" y="114"/>
                  </a:cubicBezTo>
                  <a:cubicBezTo>
                    <a:pt x="398" y="113"/>
                    <a:pt x="398" y="113"/>
                    <a:pt x="398" y="113"/>
                  </a:cubicBezTo>
                  <a:cubicBezTo>
                    <a:pt x="400" y="112"/>
                    <a:pt x="400" y="112"/>
                    <a:pt x="400" y="112"/>
                  </a:cubicBezTo>
                  <a:cubicBezTo>
                    <a:pt x="402" y="111"/>
                    <a:pt x="402" y="111"/>
                    <a:pt x="402" y="111"/>
                  </a:cubicBezTo>
                  <a:cubicBezTo>
                    <a:pt x="405" y="109"/>
                    <a:pt x="405" y="109"/>
                    <a:pt x="405" y="109"/>
                  </a:cubicBezTo>
                  <a:cubicBezTo>
                    <a:pt x="408" y="108"/>
                    <a:pt x="408" y="108"/>
                    <a:pt x="408" y="108"/>
                  </a:cubicBezTo>
                  <a:cubicBezTo>
                    <a:pt x="410" y="106"/>
                    <a:pt x="410" y="106"/>
                    <a:pt x="410" y="106"/>
                  </a:cubicBezTo>
                  <a:cubicBezTo>
                    <a:pt x="411" y="105"/>
                    <a:pt x="411" y="105"/>
                    <a:pt x="411" y="105"/>
                  </a:cubicBezTo>
                  <a:cubicBezTo>
                    <a:pt x="412" y="105"/>
                    <a:pt x="412" y="105"/>
                    <a:pt x="412" y="105"/>
                  </a:cubicBezTo>
                  <a:cubicBezTo>
                    <a:pt x="414" y="104"/>
                    <a:pt x="414" y="104"/>
                    <a:pt x="414" y="104"/>
                  </a:cubicBezTo>
                  <a:cubicBezTo>
                    <a:pt x="417" y="103"/>
                    <a:pt x="417" y="103"/>
                    <a:pt x="417" y="103"/>
                  </a:cubicBezTo>
                  <a:cubicBezTo>
                    <a:pt x="419" y="101"/>
                    <a:pt x="419" y="101"/>
                    <a:pt x="419" y="101"/>
                  </a:cubicBezTo>
                  <a:cubicBezTo>
                    <a:pt x="420" y="101"/>
                    <a:pt x="420" y="101"/>
                    <a:pt x="420" y="101"/>
                  </a:cubicBezTo>
                  <a:cubicBezTo>
                    <a:pt x="420" y="100"/>
                    <a:pt x="420" y="100"/>
                    <a:pt x="420" y="100"/>
                  </a:cubicBezTo>
                  <a:cubicBezTo>
                    <a:pt x="421" y="100"/>
                    <a:pt x="421" y="100"/>
                    <a:pt x="421" y="100"/>
                  </a:cubicBezTo>
                  <a:cubicBezTo>
                    <a:pt x="421" y="100"/>
                    <a:pt x="421" y="100"/>
                    <a:pt x="421" y="100"/>
                  </a:cubicBezTo>
                  <a:cubicBezTo>
                    <a:pt x="421" y="100"/>
                    <a:pt x="421" y="100"/>
                    <a:pt x="421" y="100"/>
                  </a:cubicBezTo>
                  <a:cubicBezTo>
                    <a:pt x="421" y="100"/>
                    <a:pt x="421" y="100"/>
                    <a:pt x="421" y="100"/>
                  </a:cubicBezTo>
                  <a:cubicBezTo>
                    <a:pt x="421" y="99"/>
                    <a:pt x="421" y="99"/>
                    <a:pt x="421" y="99"/>
                  </a:cubicBezTo>
                  <a:cubicBezTo>
                    <a:pt x="421" y="99"/>
                    <a:pt x="421" y="99"/>
                    <a:pt x="421" y="99"/>
                  </a:cubicBezTo>
                  <a:cubicBezTo>
                    <a:pt x="421" y="99"/>
                    <a:pt x="421" y="99"/>
                    <a:pt x="421" y="99"/>
                  </a:cubicBezTo>
                  <a:cubicBezTo>
                    <a:pt x="420" y="99"/>
                    <a:pt x="420" y="99"/>
                    <a:pt x="420" y="99"/>
                  </a:cubicBezTo>
                  <a:cubicBezTo>
                    <a:pt x="420" y="98"/>
                    <a:pt x="420" y="98"/>
                    <a:pt x="420" y="98"/>
                  </a:cubicBezTo>
                  <a:cubicBezTo>
                    <a:pt x="419" y="98"/>
                    <a:pt x="419" y="98"/>
                    <a:pt x="419" y="98"/>
                  </a:cubicBezTo>
                  <a:cubicBezTo>
                    <a:pt x="419" y="98"/>
                    <a:pt x="419" y="98"/>
                    <a:pt x="419" y="98"/>
                  </a:cubicBezTo>
                  <a:cubicBezTo>
                    <a:pt x="420" y="98"/>
                    <a:pt x="420" y="98"/>
                    <a:pt x="420" y="98"/>
                  </a:cubicBezTo>
                  <a:cubicBezTo>
                    <a:pt x="420" y="98"/>
                    <a:pt x="420" y="98"/>
                    <a:pt x="420" y="98"/>
                  </a:cubicBezTo>
                  <a:cubicBezTo>
                    <a:pt x="420" y="98"/>
                    <a:pt x="420" y="98"/>
                    <a:pt x="420" y="98"/>
                  </a:cubicBezTo>
                  <a:cubicBezTo>
                    <a:pt x="421" y="98"/>
                    <a:pt x="421" y="98"/>
                    <a:pt x="421" y="98"/>
                  </a:cubicBezTo>
                  <a:cubicBezTo>
                    <a:pt x="421" y="98"/>
                    <a:pt x="421" y="98"/>
                    <a:pt x="421" y="98"/>
                  </a:cubicBezTo>
                  <a:cubicBezTo>
                    <a:pt x="421" y="98"/>
                    <a:pt x="421" y="98"/>
                    <a:pt x="421" y="98"/>
                  </a:cubicBezTo>
                  <a:cubicBezTo>
                    <a:pt x="422" y="98"/>
                    <a:pt x="422" y="98"/>
                    <a:pt x="422" y="98"/>
                  </a:cubicBezTo>
                  <a:cubicBezTo>
                    <a:pt x="423" y="98"/>
                    <a:pt x="423" y="98"/>
                    <a:pt x="423" y="98"/>
                  </a:cubicBezTo>
                  <a:cubicBezTo>
                    <a:pt x="423" y="98"/>
                    <a:pt x="423" y="98"/>
                    <a:pt x="423" y="98"/>
                  </a:cubicBezTo>
                  <a:cubicBezTo>
                    <a:pt x="423" y="98"/>
                    <a:pt x="423" y="98"/>
                    <a:pt x="423" y="98"/>
                  </a:cubicBezTo>
                  <a:cubicBezTo>
                    <a:pt x="424" y="97"/>
                    <a:pt x="424" y="97"/>
                    <a:pt x="424" y="97"/>
                  </a:cubicBezTo>
                  <a:cubicBezTo>
                    <a:pt x="425" y="97"/>
                    <a:pt x="425" y="97"/>
                    <a:pt x="425" y="97"/>
                  </a:cubicBezTo>
                  <a:cubicBezTo>
                    <a:pt x="427" y="94"/>
                    <a:pt x="427" y="94"/>
                    <a:pt x="427" y="94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2"/>
                    <a:pt x="429" y="92"/>
                    <a:pt x="429" y="92"/>
                  </a:cubicBezTo>
                  <a:cubicBezTo>
                    <a:pt x="430" y="91"/>
                    <a:pt x="430" y="91"/>
                    <a:pt x="430" y="91"/>
                  </a:cubicBezTo>
                  <a:cubicBezTo>
                    <a:pt x="430" y="91"/>
                    <a:pt x="430" y="91"/>
                    <a:pt x="430" y="91"/>
                  </a:cubicBezTo>
                  <a:cubicBezTo>
                    <a:pt x="431" y="89"/>
                    <a:pt x="431" y="89"/>
                    <a:pt x="431" y="89"/>
                  </a:cubicBezTo>
                  <a:cubicBezTo>
                    <a:pt x="431" y="88"/>
                    <a:pt x="431" y="88"/>
                    <a:pt x="431" y="88"/>
                  </a:cubicBezTo>
                  <a:cubicBezTo>
                    <a:pt x="432" y="87"/>
                    <a:pt x="432" y="87"/>
                    <a:pt x="432" y="87"/>
                  </a:cubicBezTo>
                  <a:cubicBezTo>
                    <a:pt x="432" y="87"/>
                    <a:pt x="432" y="87"/>
                    <a:pt x="432" y="87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3" y="85"/>
                    <a:pt x="433" y="85"/>
                    <a:pt x="433" y="85"/>
                  </a:cubicBezTo>
                  <a:cubicBezTo>
                    <a:pt x="433" y="84"/>
                    <a:pt x="433" y="84"/>
                    <a:pt x="433" y="84"/>
                  </a:cubicBezTo>
                  <a:cubicBezTo>
                    <a:pt x="434" y="84"/>
                    <a:pt x="434" y="84"/>
                    <a:pt x="434" y="84"/>
                  </a:cubicBezTo>
                  <a:cubicBezTo>
                    <a:pt x="434" y="83"/>
                    <a:pt x="434" y="83"/>
                    <a:pt x="434" y="83"/>
                  </a:cubicBezTo>
                  <a:cubicBezTo>
                    <a:pt x="436" y="81"/>
                    <a:pt x="436" y="81"/>
                    <a:pt x="436" y="81"/>
                  </a:cubicBezTo>
                  <a:cubicBezTo>
                    <a:pt x="437" y="81"/>
                    <a:pt x="437" y="81"/>
                    <a:pt x="437" y="81"/>
                  </a:cubicBezTo>
                  <a:cubicBezTo>
                    <a:pt x="439" y="80"/>
                    <a:pt x="439" y="80"/>
                    <a:pt x="439" y="80"/>
                  </a:cubicBezTo>
                  <a:cubicBezTo>
                    <a:pt x="439" y="79"/>
                    <a:pt x="439" y="79"/>
                    <a:pt x="439" y="79"/>
                  </a:cubicBezTo>
                  <a:cubicBezTo>
                    <a:pt x="440" y="79"/>
                    <a:pt x="440" y="79"/>
                    <a:pt x="440" y="79"/>
                  </a:cubicBezTo>
                  <a:cubicBezTo>
                    <a:pt x="440" y="78"/>
                    <a:pt x="440" y="78"/>
                    <a:pt x="440" y="78"/>
                  </a:cubicBezTo>
                  <a:cubicBezTo>
                    <a:pt x="442" y="76"/>
                    <a:pt x="442" y="76"/>
                    <a:pt x="442" y="76"/>
                  </a:cubicBezTo>
                  <a:cubicBezTo>
                    <a:pt x="442" y="75"/>
                    <a:pt x="442" y="75"/>
                    <a:pt x="442" y="75"/>
                  </a:cubicBezTo>
                  <a:cubicBezTo>
                    <a:pt x="443" y="74"/>
                    <a:pt x="443" y="74"/>
                    <a:pt x="443" y="74"/>
                  </a:cubicBezTo>
                  <a:cubicBezTo>
                    <a:pt x="444" y="73"/>
                    <a:pt x="444" y="73"/>
                    <a:pt x="444" y="73"/>
                  </a:cubicBezTo>
                  <a:cubicBezTo>
                    <a:pt x="444" y="73"/>
                    <a:pt x="444" y="73"/>
                    <a:pt x="444" y="73"/>
                  </a:cubicBezTo>
                  <a:cubicBezTo>
                    <a:pt x="445" y="72"/>
                    <a:pt x="445" y="72"/>
                    <a:pt x="445" y="72"/>
                  </a:cubicBezTo>
                  <a:cubicBezTo>
                    <a:pt x="446" y="72"/>
                    <a:pt x="446" y="72"/>
                    <a:pt x="446" y="72"/>
                  </a:cubicBezTo>
                  <a:cubicBezTo>
                    <a:pt x="448" y="71"/>
                    <a:pt x="448" y="71"/>
                    <a:pt x="448" y="71"/>
                  </a:cubicBezTo>
                  <a:cubicBezTo>
                    <a:pt x="448" y="70"/>
                    <a:pt x="448" y="70"/>
                    <a:pt x="448" y="70"/>
                  </a:cubicBezTo>
                  <a:cubicBezTo>
                    <a:pt x="449" y="70"/>
                    <a:pt x="449" y="70"/>
                    <a:pt x="449" y="70"/>
                  </a:cubicBezTo>
                  <a:cubicBezTo>
                    <a:pt x="451" y="68"/>
                    <a:pt x="451" y="68"/>
                    <a:pt x="451" y="68"/>
                  </a:cubicBezTo>
                  <a:cubicBezTo>
                    <a:pt x="452" y="68"/>
                    <a:pt x="452" y="68"/>
                    <a:pt x="452" y="68"/>
                  </a:cubicBezTo>
                  <a:cubicBezTo>
                    <a:pt x="453" y="68"/>
                    <a:pt x="453" y="68"/>
                    <a:pt x="453" y="68"/>
                  </a:cubicBezTo>
                  <a:cubicBezTo>
                    <a:pt x="454" y="67"/>
                    <a:pt x="454" y="67"/>
                    <a:pt x="454" y="67"/>
                  </a:cubicBezTo>
                  <a:cubicBezTo>
                    <a:pt x="455" y="66"/>
                    <a:pt x="455" y="66"/>
                    <a:pt x="455" y="66"/>
                  </a:cubicBezTo>
                  <a:cubicBezTo>
                    <a:pt x="457" y="66"/>
                    <a:pt x="457" y="66"/>
                    <a:pt x="457" y="66"/>
                  </a:cubicBezTo>
                  <a:cubicBezTo>
                    <a:pt x="458" y="65"/>
                    <a:pt x="458" y="65"/>
                    <a:pt x="458" y="65"/>
                  </a:cubicBezTo>
                  <a:cubicBezTo>
                    <a:pt x="462" y="63"/>
                    <a:pt x="462" y="63"/>
                    <a:pt x="462" y="63"/>
                  </a:cubicBezTo>
                  <a:cubicBezTo>
                    <a:pt x="465" y="61"/>
                    <a:pt x="465" y="61"/>
                    <a:pt x="465" y="61"/>
                  </a:cubicBezTo>
                  <a:cubicBezTo>
                    <a:pt x="466" y="60"/>
                    <a:pt x="466" y="60"/>
                    <a:pt x="466" y="60"/>
                  </a:cubicBezTo>
                  <a:cubicBezTo>
                    <a:pt x="467" y="60"/>
                    <a:pt x="467" y="60"/>
                    <a:pt x="467" y="60"/>
                  </a:cubicBezTo>
                  <a:cubicBezTo>
                    <a:pt x="468" y="59"/>
                    <a:pt x="468" y="59"/>
                    <a:pt x="468" y="59"/>
                  </a:cubicBezTo>
                  <a:cubicBezTo>
                    <a:pt x="469" y="59"/>
                    <a:pt x="469" y="59"/>
                    <a:pt x="469" y="59"/>
                  </a:cubicBezTo>
                  <a:cubicBezTo>
                    <a:pt x="470" y="59"/>
                    <a:pt x="470" y="59"/>
                    <a:pt x="470" y="59"/>
                  </a:cubicBezTo>
                  <a:cubicBezTo>
                    <a:pt x="470" y="59"/>
                    <a:pt x="470" y="59"/>
                    <a:pt x="470" y="59"/>
                  </a:cubicBezTo>
                  <a:cubicBezTo>
                    <a:pt x="471" y="59"/>
                    <a:pt x="471" y="59"/>
                    <a:pt x="471" y="59"/>
                  </a:cubicBezTo>
                  <a:cubicBezTo>
                    <a:pt x="472" y="58"/>
                    <a:pt x="472" y="58"/>
                    <a:pt x="472" y="58"/>
                  </a:cubicBezTo>
                  <a:cubicBezTo>
                    <a:pt x="472" y="58"/>
                    <a:pt x="472" y="58"/>
                    <a:pt x="472" y="58"/>
                  </a:cubicBezTo>
                  <a:cubicBezTo>
                    <a:pt x="473" y="57"/>
                    <a:pt x="473" y="57"/>
                    <a:pt x="473" y="57"/>
                  </a:cubicBezTo>
                  <a:cubicBezTo>
                    <a:pt x="476" y="56"/>
                    <a:pt x="476" y="56"/>
                    <a:pt x="476" y="56"/>
                  </a:cubicBezTo>
                  <a:cubicBezTo>
                    <a:pt x="477" y="55"/>
                    <a:pt x="477" y="55"/>
                    <a:pt x="477" y="55"/>
                  </a:cubicBezTo>
                  <a:cubicBezTo>
                    <a:pt x="477" y="55"/>
                    <a:pt x="477" y="55"/>
                    <a:pt x="477" y="55"/>
                  </a:cubicBezTo>
                  <a:cubicBezTo>
                    <a:pt x="478" y="55"/>
                    <a:pt x="478" y="55"/>
                    <a:pt x="478" y="55"/>
                  </a:cubicBezTo>
                  <a:cubicBezTo>
                    <a:pt x="478" y="54"/>
                    <a:pt x="478" y="54"/>
                    <a:pt x="478" y="54"/>
                  </a:cubicBezTo>
                  <a:cubicBezTo>
                    <a:pt x="478" y="54"/>
                    <a:pt x="478" y="54"/>
                    <a:pt x="478" y="54"/>
                  </a:cubicBezTo>
                  <a:cubicBezTo>
                    <a:pt x="479" y="52"/>
                    <a:pt x="479" y="52"/>
                    <a:pt x="479" y="52"/>
                  </a:cubicBezTo>
                  <a:cubicBezTo>
                    <a:pt x="479" y="51"/>
                    <a:pt x="479" y="51"/>
                    <a:pt x="479" y="51"/>
                  </a:cubicBezTo>
                  <a:cubicBezTo>
                    <a:pt x="480" y="51"/>
                    <a:pt x="480" y="51"/>
                    <a:pt x="480" y="51"/>
                  </a:cubicBezTo>
                  <a:cubicBezTo>
                    <a:pt x="480" y="50"/>
                    <a:pt x="480" y="50"/>
                    <a:pt x="480" y="50"/>
                  </a:cubicBezTo>
                  <a:cubicBezTo>
                    <a:pt x="480" y="49"/>
                    <a:pt x="480" y="49"/>
                    <a:pt x="480" y="49"/>
                  </a:cubicBezTo>
                  <a:cubicBezTo>
                    <a:pt x="480" y="49"/>
                    <a:pt x="480" y="49"/>
                    <a:pt x="480" y="49"/>
                  </a:cubicBezTo>
                  <a:cubicBezTo>
                    <a:pt x="483" y="47"/>
                    <a:pt x="483" y="47"/>
                    <a:pt x="483" y="47"/>
                  </a:cubicBezTo>
                  <a:cubicBezTo>
                    <a:pt x="486" y="45"/>
                    <a:pt x="486" y="45"/>
                    <a:pt x="486" y="45"/>
                  </a:cubicBezTo>
                  <a:cubicBezTo>
                    <a:pt x="489" y="41"/>
                    <a:pt x="489" y="41"/>
                    <a:pt x="489" y="41"/>
                  </a:cubicBezTo>
                  <a:cubicBezTo>
                    <a:pt x="491" y="40"/>
                    <a:pt x="491" y="40"/>
                    <a:pt x="491" y="40"/>
                  </a:cubicBezTo>
                  <a:cubicBezTo>
                    <a:pt x="495" y="35"/>
                    <a:pt x="495" y="35"/>
                    <a:pt x="495" y="35"/>
                  </a:cubicBezTo>
                  <a:cubicBezTo>
                    <a:pt x="498" y="32"/>
                    <a:pt x="498" y="32"/>
                    <a:pt x="498" y="32"/>
                  </a:cubicBezTo>
                  <a:cubicBezTo>
                    <a:pt x="500" y="29"/>
                    <a:pt x="500" y="29"/>
                    <a:pt x="500" y="29"/>
                  </a:cubicBezTo>
                  <a:cubicBezTo>
                    <a:pt x="502" y="28"/>
                    <a:pt x="502" y="28"/>
                    <a:pt x="502" y="28"/>
                  </a:cubicBezTo>
                  <a:cubicBezTo>
                    <a:pt x="504" y="26"/>
                    <a:pt x="504" y="26"/>
                    <a:pt x="504" y="26"/>
                  </a:cubicBezTo>
                  <a:cubicBezTo>
                    <a:pt x="505" y="25"/>
                    <a:pt x="505" y="25"/>
                    <a:pt x="505" y="25"/>
                  </a:cubicBezTo>
                  <a:cubicBezTo>
                    <a:pt x="505" y="24"/>
                    <a:pt x="505" y="24"/>
                    <a:pt x="505" y="24"/>
                  </a:cubicBezTo>
                  <a:cubicBezTo>
                    <a:pt x="506" y="24"/>
                    <a:pt x="506" y="24"/>
                    <a:pt x="506" y="24"/>
                  </a:cubicBezTo>
                  <a:cubicBezTo>
                    <a:pt x="506" y="23"/>
                    <a:pt x="506" y="23"/>
                    <a:pt x="506" y="23"/>
                  </a:cubicBezTo>
                  <a:cubicBezTo>
                    <a:pt x="507" y="22"/>
                    <a:pt x="507" y="22"/>
                    <a:pt x="507" y="22"/>
                  </a:cubicBezTo>
                  <a:cubicBezTo>
                    <a:pt x="507" y="21"/>
                    <a:pt x="507" y="21"/>
                    <a:pt x="507" y="21"/>
                  </a:cubicBezTo>
                  <a:cubicBezTo>
                    <a:pt x="508" y="21"/>
                    <a:pt x="508" y="21"/>
                    <a:pt x="508" y="21"/>
                  </a:cubicBezTo>
                  <a:cubicBezTo>
                    <a:pt x="508" y="20"/>
                    <a:pt x="508" y="20"/>
                    <a:pt x="508" y="20"/>
                  </a:cubicBezTo>
                  <a:cubicBezTo>
                    <a:pt x="508" y="19"/>
                    <a:pt x="508" y="19"/>
                    <a:pt x="508" y="19"/>
                  </a:cubicBezTo>
                  <a:cubicBezTo>
                    <a:pt x="509" y="19"/>
                    <a:pt x="509" y="19"/>
                    <a:pt x="509" y="19"/>
                  </a:cubicBezTo>
                  <a:cubicBezTo>
                    <a:pt x="509" y="18"/>
                    <a:pt x="509" y="18"/>
                    <a:pt x="509" y="18"/>
                  </a:cubicBezTo>
                  <a:cubicBezTo>
                    <a:pt x="510" y="17"/>
                    <a:pt x="510" y="17"/>
                    <a:pt x="510" y="17"/>
                  </a:cubicBezTo>
                  <a:cubicBezTo>
                    <a:pt x="511" y="16"/>
                    <a:pt x="511" y="16"/>
                    <a:pt x="511" y="16"/>
                  </a:cubicBezTo>
                  <a:cubicBezTo>
                    <a:pt x="513" y="14"/>
                    <a:pt x="513" y="14"/>
                    <a:pt x="513" y="14"/>
                  </a:cubicBezTo>
                  <a:cubicBezTo>
                    <a:pt x="515" y="13"/>
                    <a:pt x="515" y="13"/>
                    <a:pt x="515" y="13"/>
                  </a:cubicBezTo>
                  <a:cubicBezTo>
                    <a:pt x="515" y="13"/>
                    <a:pt x="515" y="13"/>
                    <a:pt x="515" y="13"/>
                  </a:cubicBezTo>
                  <a:cubicBezTo>
                    <a:pt x="516" y="12"/>
                    <a:pt x="516" y="12"/>
                    <a:pt x="516" y="12"/>
                  </a:cubicBezTo>
                  <a:cubicBezTo>
                    <a:pt x="516" y="12"/>
                    <a:pt x="516" y="12"/>
                    <a:pt x="516" y="12"/>
                  </a:cubicBezTo>
                  <a:cubicBezTo>
                    <a:pt x="517" y="11"/>
                    <a:pt x="517" y="11"/>
                    <a:pt x="517" y="11"/>
                  </a:cubicBezTo>
                  <a:cubicBezTo>
                    <a:pt x="518" y="9"/>
                    <a:pt x="518" y="9"/>
                    <a:pt x="518" y="9"/>
                  </a:cubicBezTo>
                  <a:cubicBezTo>
                    <a:pt x="519" y="7"/>
                    <a:pt x="519" y="7"/>
                    <a:pt x="519" y="7"/>
                  </a:cubicBezTo>
                  <a:cubicBezTo>
                    <a:pt x="519" y="7"/>
                    <a:pt x="519" y="7"/>
                    <a:pt x="519" y="7"/>
                  </a:cubicBezTo>
                  <a:cubicBezTo>
                    <a:pt x="521" y="6"/>
                    <a:pt x="521" y="6"/>
                    <a:pt x="521" y="6"/>
                  </a:cubicBezTo>
                  <a:cubicBezTo>
                    <a:pt x="521" y="5"/>
                    <a:pt x="521" y="5"/>
                    <a:pt x="521" y="5"/>
                  </a:cubicBezTo>
                  <a:lnTo>
                    <a:pt x="519" y="3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65" name="TL"/>
            <p:cNvSpPr>
              <a:spLocks noEditPoints="1"/>
            </p:cNvSpPr>
            <p:nvPr/>
          </p:nvSpPr>
          <p:spPr bwMode="auto">
            <a:xfrm>
              <a:off x="6331999" y="3758428"/>
              <a:ext cx="502928" cy="439939"/>
            </a:xfrm>
            <a:custGeom>
              <a:avLst/>
              <a:gdLst>
                <a:gd name="T0" fmla="*/ 34 w 705"/>
                <a:gd name="T1" fmla="*/ 459 h 640"/>
                <a:gd name="T2" fmla="*/ 36 w 705"/>
                <a:gd name="T3" fmla="*/ 490 h 640"/>
                <a:gd name="T4" fmla="*/ 27 w 705"/>
                <a:gd name="T5" fmla="*/ 504 h 640"/>
                <a:gd name="T6" fmla="*/ 24 w 705"/>
                <a:gd name="T7" fmla="*/ 521 h 640"/>
                <a:gd name="T8" fmla="*/ 12 w 705"/>
                <a:gd name="T9" fmla="*/ 535 h 640"/>
                <a:gd name="T10" fmla="*/ 10 w 705"/>
                <a:gd name="T11" fmla="*/ 550 h 640"/>
                <a:gd name="T12" fmla="*/ 51 w 705"/>
                <a:gd name="T13" fmla="*/ 562 h 640"/>
                <a:gd name="T14" fmla="*/ 36 w 705"/>
                <a:gd name="T15" fmla="*/ 590 h 640"/>
                <a:gd name="T16" fmla="*/ 34 w 705"/>
                <a:gd name="T17" fmla="*/ 624 h 640"/>
                <a:gd name="T18" fmla="*/ 153 w 705"/>
                <a:gd name="T19" fmla="*/ 624 h 640"/>
                <a:gd name="T20" fmla="*/ 253 w 705"/>
                <a:gd name="T21" fmla="*/ 602 h 640"/>
                <a:gd name="T22" fmla="*/ 296 w 705"/>
                <a:gd name="T23" fmla="*/ 562 h 640"/>
                <a:gd name="T24" fmla="*/ 361 w 705"/>
                <a:gd name="T25" fmla="*/ 519 h 640"/>
                <a:gd name="T26" fmla="*/ 425 w 705"/>
                <a:gd name="T27" fmla="*/ 487 h 640"/>
                <a:gd name="T28" fmla="*/ 480 w 705"/>
                <a:gd name="T29" fmla="*/ 485 h 640"/>
                <a:gd name="T30" fmla="*/ 478 w 705"/>
                <a:gd name="T31" fmla="*/ 456 h 640"/>
                <a:gd name="T32" fmla="*/ 549 w 705"/>
                <a:gd name="T33" fmla="*/ 452 h 640"/>
                <a:gd name="T34" fmla="*/ 580 w 705"/>
                <a:gd name="T35" fmla="*/ 428 h 640"/>
                <a:gd name="T36" fmla="*/ 657 w 705"/>
                <a:gd name="T37" fmla="*/ 390 h 640"/>
                <a:gd name="T38" fmla="*/ 700 w 705"/>
                <a:gd name="T39" fmla="*/ 335 h 640"/>
                <a:gd name="T40" fmla="*/ 678 w 705"/>
                <a:gd name="T41" fmla="*/ 320 h 640"/>
                <a:gd name="T42" fmla="*/ 645 w 705"/>
                <a:gd name="T43" fmla="*/ 327 h 640"/>
                <a:gd name="T44" fmla="*/ 604 w 705"/>
                <a:gd name="T45" fmla="*/ 327 h 640"/>
                <a:gd name="T46" fmla="*/ 583 w 705"/>
                <a:gd name="T47" fmla="*/ 301 h 640"/>
                <a:gd name="T48" fmla="*/ 569 w 705"/>
                <a:gd name="T49" fmla="*/ 277 h 640"/>
                <a:gd name="T50" fmla="*/ 545 w 705"/>
                <a:gd name="T51" fmla="*/ 272 h 640"/>
                <a:gd name="T52" fmla="*/ 542 w 705"/>
                <a:gd name="T53" fmla="*/ 237 h 640"/>
                <a:gd name="T54" fmla="*/ 480 w 705"/>
                <a:gd name="T55" fmla="*/ 208 h 640"/>
                <a:gd name="T56" fmla="*/ 454 w 705"/>
                <a:gd name="T57" fmla="*/ 198 h 640"/>
                <a:gd name="T58" fmla="*/ 425 w 705"/>
                <a:gd name="T59" fmla="*/ 177 h 640"/>
                <a:gd name="T60" fmla="*/ 416 w 705"/>
                <a:gd name="T61" fmla="*/ 146 h 640"/>
                <a:gd name="T62" fmla="*/ 418 w 705"/>
                <a:gd name="T63" fmla="*/ 119 h 640"/>
                <a:gd name="T64" fmla="*/ 416 w 705"/>
                <a:gd name="T65" fmla="*/ 69 h 640"/>
                <a:gd name="T66" fmla="*/ 380 w 705"/>
                <a:gd name="T67" fmla="*/ 50 h 640"/>
                <a:gd name="T68" fmla="*/ 349 w 705"/>
                <a:gd name="T69" fmla="*/ 65 h 640"/>
                <a:gd name="T70" fmla="*/ 313 w 705"/>
                <a:gd name="T71" fmla="*/ 55 h 640"/>
                <a:gd name="T72" fmla="*/ 294 w 705"/>
                <a:gd name="T73" fmla="*/ 69 h 640"/>
                <a:gd name="T74" fmla="*/ 263 w 705"/>
                <a:gd name="T75" fmla="*/ 60 h 640"/>
                <a:gd name="T76" fmla="*/ 251 w 705"/>
                <a:gd name="T77" fmla="*/ 41 h 640"/>
                <a:gd name="T78" fmla="*/ 230 w 705"/>
                <a:gd name="T79" fmla="*/ 31 h 640"/>
                <a:gd name="T80" fmla="*/ 201 w 705"/>
                <a:gd name="T81" fmla="*/ 21 h 640"/>
                <a:gd name="T82" fmla="*/ 175 w 705"/>
                <a:gd name="T83" fmla="*/ 12 h 640"/>
                <a:gd name="T84" fmla="*/ 163 w 705"/>
                <a:gd name="T85" fmla="*/ 7 h 640"/>
                <a:gd name="T86" fmla="*/ 172 w 705"/>
                <a:gd name="T87" fmla="*/ 36 h 640"/>
                <a:gd name="T88" fmla="*/ 163 w 705"/>
                <a:gd name="T89" fmla="*/ 67 h 640"/>
                <a:gd name="T90" fmla="*/ 148 w 705"/>
                <a:gd name="T91" fmla="*/ 91 h 640"/>
                <a:gd name="T92" fmla="*/ 129 w 705"/>
                <a:gd name="T93" fmla="*/ 115 h 640"/>
                <a:gd name="T94" fmla="*/ 105 w 705"/>
                <a:gd name="T95" fmla="*/ 98 h 640"/>
                <a:gd name="T96" fmla="*/ 94 w 705"/>
                <a:gd name="T97" fmla="*/ 115 h 640"/>
                <a:gd name="T98" fmla="*/ 84 w 705"/>
                <a:gd name="T99" fmla="*/ 139 h 640"/>
                <a:gd name="T100" fmla="*/ 105 w 705"/>
                <a:gd name="T101" fmla="*/ 167 h 640"/>
                <a:gd name="T102" fmla="*/ 89 w 705"/>
                <a:gd name="T103" fmla="*/ 182 h 640"/>
                <a:gd name="T104" fmla="*/ 70 w 705"/>
                <a:gd name="T105" fmla="*/ 210 h 640"/>
                <a:gd name="T106" fmla="*/ 51 w 705"/>
                <a:gd name="T107" fmla="*/ 227 h 640"/>
                <a:gd name="T108" fmla="*/ 55 w 705"/>
                <a:gd name="T109" fmla="*/ 258 h 640"/>
                <a:gd name="T110" fmla="*/ 58 w 705"/>
                <a:gd name="T111" fmla="*/ 277 h 640"/>
                <a:gd name="T112" fmla="*/ 60 w 705"/>
                <a:gd name="T113" fmla="*/ 311 h 640"/>
                <a:gd name="T114" fmla="*/ 46 w 705"/>
                <a:gd name="T115" fmla="*/ 339 h 640"/>
                <a:gd name="T116" fmla="*/ 34 w 705"/>
                <a:gd name="T117" fmla="*/ 363 h 640"/>
                <a:gd name="T118" fmla="*/ 70 w 705"/>
                <a:gd name="T119" fmla="*/ 380 h 640"/>
                <a:gd name="T120" fmla="*/ 41 w 705"/>
                <a:gd name="T121" fmla="*/ 399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5" h="640">
                  <a:moveTo>
                    <a:pt x="36" y="430"/>
                  </a:moveTo>
                  <a:lnTo>
                    <a:pt x="34" y="435"/>
                  </a:lnTo>
                  <a:lnTo>
                    <a:pt x="36" y="435"/>
                  </a:lnTo>
                  <a:lnTo>
                    <a:pt x="36" y="435"/>
                  </a:lnTo>
                  <a:lnTo>
                    <a:pt x="36" y="437"/>
                  </a:lnTo>
                  <a:lnTo>
                    <a:pt x="36" y="437"/>
                  </a:lnTo>
                  <a:lnTo>
                    <a:pt x="36" y="440"/>
                  </a:lnTo>
                  <a:lnTo>
                    <a:pt x="36" y="442"/>
                  </a:lnTo>
                  <a:lnTo>
                    <a:pt x="36" y="444"/>
                  </a:lnTo>
                  <a:lnTo>
                    <a:pt x="36" y="447"/>
                  </a:lnTo>
                  <a:lnTo>
                    <a:pt x="36" y="449"/>
                  </a:lnTo>
                  <a:lnTo>
                    <a:pt x="36" y="449"/>
                  </a:lnTo>
                  <a:lnTo>
                    <a:pt x="36" y="454"/>
                  </a:lnTo>
                  <a:lnTo>
                    <a:pt x="34" y="459"/>
                  </a:lnTo>
                  <a:lnTo>
                    <a:pt x="34" y="461"/>
                  </a:lnTo>
                  <a:lnTo>
                    <a:pt x="34" y="464"/>
                  </a:lnTo>
                  <a:lnTo>
                    <a:pt x="34" y="466"/>
                  </a:lnTo>
                  <a:lnTo>
                    <a:pt x="34" y="468"/>
                  </a:lnTo>
                  <a:lnTo>
                    <a:pt x="34" y="471"/>
                  </a:lnTo>
                  <a:lnTo>
                    <a:pt x="34" y="473"/>
                  </a:lnTo>
                  <a:lnTo>
                    <a:pt x="34" y="476"/>
                  </a:lnTo>
                  <a:lnTo>
                    <a:pt x="34" y="478"/>
                  </a:lnTo>
                  <a:lnTo>
                    <a:pt x="34" y="480"/>
                  </a:lnTo>
                  <a:lnTo>
                    <a:pt x="34" y="483"/>
                  </a:lnTo>
                  <a:lnTo>
                    <a:pt x="34" y="485"/>
                  </a:lnTo>
                  <a:lnTo>
                    <a:pt x="36" y="485"/>
                  </a:lnTo>
                  <a:lnTo>
                    <a:pt x="36" y="487"/>
                  </a:lnTo>
                  <a:lnTo>
                    <a:pt x="36" y="490"/>
                  </a:lnTo>
                  <a:lnTo>
                    <a:pt x="34" y="490"/>
                  </a:lnTo>
                  <a:lnTo>
                    <a:pt x="31" y="490"/>
                  </a:lnTo>
                  <a:lnTo>
                    <a:pt x="29" y="490"/>
                  </a:lnTo>
                  <a:lnTo>
                    <a:pt x="29" y="492"/>
                  </a:lnTo>
                  <a:lnTo>
                    <a:pt x="29" y="495"/>
                  </a:lnTo>
                  <a:lnTo>
                    <a:pt x="29" y="497"/>
                  </a:lnTo>
                  <a:lnTo>
                    <a:pt x="31" y="497"/>
                  </a:lnTo>
                  <a:lnTo>
                    <a:pt x="34" y="497"/>
                  </a:lnTo>
                  <a:lnTo>
                    <a:pt x="36" y="499"/>
                  </a:lnTo>
                  <a:lnTo>
                    <a:pt x="36" y="502"/>
                  </a:lnTo>
                  <a:lnTo>
                    <a:pt x="34" y="504"/>
                  </a:lnTo>
                  <a:lnTo>
                    <a:pt x="31" y="504"/>
                  </a:lnTo>
                  <a:lnTo>
                    <a:pt x="29" y="504"/>
                  </a:lnTo>
                  <a:lnTo>
                    <a:pt x="27" y="504"/>
                  </a:lnTo>
                  <a:lnTo>
                    <a:pt x="29" y="504"/>
                  </a:lnTo>
                  <a:lnTo>
                    <a:pt x="29" y="507"/>
                  </a:lnTo>
                  <a:lnTo>
                    <a:pt x="31" y="507"/>
                  </a:lnTo>
                  <a:lnTo>
                    <a:pt x="34" y="507"/>
                  </a:lnTo>
                  <a:lnTo>
                    <a:pt x="36" y="507"/>
                  </a:lnTo>
                  <a:lnTo>
                    <a:pt x="36" y="509"/>
                  </a:lnTo>
                  <a:lnTo>
                    <a:pt x="36" y="511"/>
                  </a:lnTo>
                  <a:lnTo>
                    <a:pt x="36" y="516"/>
                  </a:lnTo>
                  <a:lnTo>
                    <a:pt x="36" y="516"/>
                  </a:lnTo>
                  <a:lnTo>
                    <a:pt x="36" y="519"/>
                  </a:lnTo>
                  <a:lnTo>
                    <a:pt x="34" y="519"/>
                  </a:lnTo>
                  <a:lnTo>
                    <a:pt x="31" y="519"/>
                  </a:lnTo>
                  <a:lnTo>
                    <a:pt x="29" y="521"/>
                  </a:lnTo>
                  <a:lnTo>
                    <a:pt x="24" y="521"/>
                  </a:lnTo>
                  <a:lnTo>
                    <a:pt x="24" y="523"/>
                  </a:lnTo>
                  <a:lnTo>
                    <a:pt x="24" y="526"/>
                  </a:lnTo>
                  <a:lnTo>
                    <a:pt x="27" y="526"/>
                  </a:lnTo>
                  <a:lnTo>
                    <a:pt x="29" y="528"/>
                  </a:lnTo>
                  <a:lnTo>
                    <a:pt x="29" y="531"/>
                  </a:lnTo>
                  <a:lnTo>
                    <a:pt x="27" y="531"/>
                  </a:lnTo>
                  <a:lnTo>
                    <a:pt x="24" y="531"/>
                  </a:lnTo>
                  <a:lnTo>
                    <a:pt x="22" y="531"/>
                  </a:lnTo>
                  <a:lnTo>
                    <a:pt x="20" y="531"/>
                  </a:lnTo>
                  <a:lnTo>
                    <a:pt x="20" y="533"/>
                  </a:lnTo>
                  <a:lnTo>
                    <a:pt x="20" y="535"/>
                  </a:lnTo>
                  <a:lnTo>
                    <a:pt x="17" y="535"/>
                  </a:lnTo>
                  <a:lnTo>
                    <a:pt x="15" y="535"/>
                  </a:lnTo>
                  <a:lnTo>
                    <a:pt x="12" y="535"/>
                  </a:lnTo>
                  <a:lnTo>
                    <a:pt x="10" y="535"/>
                  </a:lnTo>
                  <a:lnTo>
                    <a:pt x="8" y="533"/>
                  </a:lnTo>
                  <a:lnTo>
                    <a:pt x="5" y="533"/>
                  </a:lnTo>
                  <a:lnTo>
                    <a:pt x="3" y="533"/>
                  </a:lnTo>
                  <a:lnTo>
                    <a:pt x="0" y="533"/>
                  </a:lnTo>
                  <a:lnTo>
                    <a:pt x="0" y="535"/>
                  </a:lnTo>
                  <a:lnTo>
                    <a:pt x="0" y="538"/>
                  </a:lnTo>
                  <a:lnTo>
                    <a:pt x="3" y="538"/>
                  </a:lnTo>
                  <a:lnTo>
                    <a:pt x="3" y="540"/>
                  </a:lnTo>
                  <a:lnTo>
                    <a:pt x="3" y="542"/>
                  </a:lnTo>
                  <a:lnTo>
                    <a:pt x="5" y="542"/>
                  </a:lnTo>
                  <a:lnTo>
                    <a:pt x="5" y="545"/>
                  </a:lnTo>
                  <a:lnTo>
                    <a:pt x="8" y="547"/>
                  </a:lnTo>
                  <a:lnTo>
                    <a:pt x="10" y="550"/>
                  </a:lnTo>
                  <a:lnTo>
                    <a:pt x="12" y="550"/>
                  </a:lnTo>
                  <a:lnTo>
                    <a:pt x="17" y="552"/>
                  </a:lnTo>
                  <a:lnTo>
                    <a:pt x="20" y="552"/>
                  </a:lnTo>
                  <a:lnTo>
                    <a:pt x="22" y="552"/>
                  </a:lnTo>
                  <a:lnTo>
                    <a:pt x="27" y="552"/>
                  </a:lnTo>
                  <a:lnTo>
                    <a:pt x="29" y="552"/>
                  </a:lnTo>
                  <a:lnTo>
                    <a:pt x="31" y="554"/>
                  </a:lnTo>
                  <a:lnTo>
                    <a:pt x="34" y="554"/>
                  </a:lnTo>
                  <a:lnTo>
                    <a:pt x="36" y="554"/>
                  </a:lnTo>
                  <a:lnTo>
                    <a:pt x="39" y="557"/>
                  </a:lnTo>
                  <a:lnTo>
                    <a:pt x="43" y="557"/>
                  </a:lnTo>
                  <a:lnTo>
                    <a:pt x="46" y="559"/>
                  </a:lnTo>
                  <a:lnTo>
                    <a:pt x="48" y="562"/>
                  </a:lnTo>
                  <a:lnTo>
                    <a:pt x="51" y="562"/>
                  </a:lnTo>
                  <a:lnTo>
                    <a:pt x="53" y="566"/>
                  </a:lnTo>
                  <a:lnTo>
                    <a:pt x="53" y="569"/>
                  </a:lnTo>
                  <a:lnTo>
                    <a:pt x="51" y="569"/>
                  </a:lnTo>
                  <a:lnTo>
                    <a:pt x="48" y="569"/>
                  </a:lnTo>
                  <a:lnTo>
                    <a:pt x="46" y="571"/>
                  </a:lnTo>
                  <a:lnTo>
                    <a:pt x="43" y="571"/>
                  </a:lnTo>
                  <a:lnTo>
                    <a:pt x="41" y="571"/>
                  </a:lnTo>
                  <a:lnTo>
                    <a:pt x="39" y="571"/>
                  </a:lnTo>
                  <a:lnTo>
                    <a:pt x="36" y="574"/>
                  </a:lnTo>
                  <a:lnTo>
                    <a:pt x="36" y="578"/>
                  </a:lnTo>
                  <a:lnTo>
                    <a:pt x="36" y="583"/>
                  </a:lnTo>
                  <a:lnTo>
                    <a:pt x="36" y="585"/>
                  </a:lnTo>
                  <a:lnTo>
                    <a:pt x="36" y="588"/>
                  </a:lnTo>
                  <a:lnTo>
                    <a:pt x="36" y="590"/>
                  </a:lnTo>
                  <a:lnTo>
                    <a:pt x="39" y="593"/>
                  </a:lnTo>
                  <a:lnTo>
                    <a:pt x="39" y="595"/>
                  </a:lnTo>
                  <a:lnTo>
                    <a:pt x="39" y="597"/>
                  </a:lnTo>
                  <a:lnTo>
                    <a:pt x="39" y="600"/>
                  </a:lnTo>
                  <a:lnTo>
                    <a:pt x="36" y="605"/>
                  </a:lnTo>
                  <a:lnTo>
                    <a:pt x="36" y="607"/>
                  </a:lnTo>
                  <a:lnTo>
                    <a:pt x="39" y="612"/>
                  </a:lnTo>
                  <a:lnTo>
                    <a:pt x="41" y="617"/>
                  </a:lnTo>
                  <a:lnTo>
                    <a:pt x="41" y="619"/>
                  </a:lnTo>
                  <a:lnTo>
                    <a:pt x="41" y="624"/>
                  </a:lnTo>
                  <a:lnTo>
                    <a:pt x="39" y="626"/>
                  </a:lnTo>
                  <a:lnTo>
                    <a:pt x="36" y="626"/>
                  </a:lnTo>
                  <a:lnTo>
                    <a:pt x="36" y="626"/>
                  </a:lnTo>
                  <a:lnTo>
                    <a:pt x="34" y="624"/>
                  </a:lnTo>
                  <a:lnTo>
                    <a:pt x="36" y="628"/>
                  </a:lnTo>
                  <a:lnTo>
                    <a:pt x="43" y="631"/>
                  </a:lnTo>
                  <a:lnTo>
                    <a:pt x="51" y="638"/>
                  </a:lnTo>
                  <a:lnTo>
                    <a:pt x="62" y="638"/>
                  </a:lnTo>
                  <a:lnTo>
                    <a:pt x="79" y="640"/>
                  </a:lnTo>
                  <a:lnTo>
                    <a:pt x="86" y="640"/>
                  </a:lnTo>
                  <a:lnTo>
                    <a:pt x="98" y="640"/>
                  </a:lnTo>
                  <a:lnTo>
                    <a:pt x="110" y="640"/>
                  </a:lnTo>
                  <a:lnTo>
                    <a:pt x="115" y="636"/>
                  </a:lnTo>
                  <a:lnTo>
                    <a:pt x="122" y="633"/>
                  </a:lnTo>
                  <a:lnTo>
                    <a:pt x="127" y="640"/>
                  </a:lnTo>
                  <a:lnTo>
                    <a:pt x="139" y="638"/>
                  </a:lnTo>
                  <a:lnTo>
                    <a:pt x="144" y="633"/>
                  </a:lnTo>
                  <a:lnTo>
                    <a:pt x="153" y="624"/>
                  </a:lnTo>
                  <a:lnTo>
                    <a:pt x="156" y="619"/>
                  </a:lnTo>
                  <a:lnTo>
                    <a:pt x="165" y="612"/>
                  </a:lnTo>
                  <a:lnTo>
                    <a:pt x="172" y="607"/>
                  </a:lnTo>
                  <a:lnTo>
                    <a:pt x="184" y="607"/>
                  </a:lnTo>
                  <a:lnTo>
                    <a:pt x="191" y="609"/>
                  </a:lnTo>
                  <a:lnTo>
                    <a:pt x="208" y="609"/>
                  </a:lnTo>
                  <a:lnTo>
                    <a:pt x="210" y="607"/>
                  </a:lnTo>
                  <a:lnTo>
                    <a:pt x="225" y="609"/>
                  </a:lnTo>
                  <a:lnTo>
                    <a:pt x="227" y="614"/>
                  </a:lnTo>
                  <a:lnTo>
                    <a:pt x="237" y="614"/>
                  </a:lnTo>
                  <a:lnTo>
                    <a:pt x="242" y="607"/>
                  </a:lnTo>
                  <a:lnTo>
                    <a:pt x="242" y="600"/>
                  </a:lnTo>
                  <a:lnTo>
                    <a:pt x="242" y="595"/>
                  </a:lnTo>
                  <a:lnTo>
                    <a:pt x="253" y="602"/>
                  </a:lnTo>
                  <a:lnTo>
                    <a:pt x="256" y="600"/>
                  </a:lnTo>
                  <a:lnTo>
                    <a:pt x="256" y="593"/>
                  </a:lnTo>
                  <a:lnTo>
                    <a:pt x="263" y="585"/>
                  </a:lnTo>
                  <a:lnTo>
                    <a:pt x="270" y="585"/>
                  </a:lnTo>
                  <a:lnTo>
                    <a:pt x="282" y="585"/>
                  </a:lnTo>
                  <a:lnTo>
                    <a:pt x="289" y="583"/>
                  </a:lnTo>
                  <a:lnTo>
                    <a:pt x="294" y="583"/>
                  </a:lnTo>
                  <a:lnTo>
                    <a:pt x="296" y="583"/>
                  </a:lnTo>
                  <a:lnTo>
                    <a:pt x="304" y="571"/>
                  </a:lnTo>
                  <a:lnTo>
                    <a:pt x="296" y="564"/>
                  </a:lnTo>
                  <a:lnTo>
                    <a:pt x="299" y="562"/>
                  </a:lnTo>
                  <a:lnTo>
                    <a:pt x="296" y="559"/>
                  </a:lnTo>
                  <a:lnTo>
                    <a:pt x="296" y="562"/>
                  </a:lnTo>
                  <a:moveTo>
                    <a:pt x="296" y="562"/>
                  </a:moveTo>
                  <a:lnTo>
                    <a:pt x="296" y="559"/>
                  </a:lnTo>
                  <a:lnTo>
                    <a:pt x="299" y="557"/>
                  </a:lnTo>
                  <a:lnTo>
                    <a:pt x="294" y="550"/>
                  </a:lnTo>
                  <a:lnTo>
                    <a:pt x="299" y="542"/>
                  </a:lnTo>
                  <a:lnTo>
                    <a:pt x="299" y="535"/>
                  </a:lnTo>
                  <a:lnTo>
                    <a:pt x="301" y="533"/>
                  </a:lnTo>
                  <a:lnTo>
                    <a:pt x="311" y="531"/>
                  </a:lnTo>
                  <a:lnTo>
                    <a:pt x="316" y="531"/>
                  </a:lnTo>
                  <a:lnTo>
                    <a:pt x="325" y="528"/>
                  </a:lnTo>
                  <a:lnTo>
                    <a:pt x="337" y="526"/>
                  </a:lnTo>
                  <a:lnTo>
                    <a:pt x="344" y="526"/>
                  </a:lnTo>
                  <a:lnTo>
                    <a:pt x="347" y="523"/>
                  </a:lnTo>
                  <a:lnTo>
                    <a:pt x="351" y="519"/>
                  </a:lnTo>
                  <a:lnTo>
                    <a:pt x="361" y="519"/>
                  </a:lnTo>
                  <a:lnTo>
                    <a:pt x="368" y="516"/>
                  </a:lnTo>
                  <a:lnTo>
                    <a:pt x="375" y="509"/>
                  </a:lnTo>
                  <a:lnTo>
                    <a:pt x="382" y="507"/>
                  </a:lnTo>
                  <a:lnTo>
                    <a:pt x="390" y="504"/>
                  </a:lnTo>
                  <a:lnTo>
                    <a:pt x="394" y="509"/>
                  </a:lnTo>
                  <a:lnTo>
                    <a:pt x="404" y="511"/>
                  </a:lnTo>
                  <a:lnTo>
                    <a:pt x="409" y="519"/>
                  </a:lnTo>
                  <a:lnTo>
                    <a:pt x="416" y="519"/>
                  </a:lnTo>
                  <a:lnTo>
                    <a:pt x="421" y="511"/>
                  </a:lnTo>
                  <a:lnTo>
                    <a:pt x="425" y="502"/>
                  </a:lnTo>
                  <a:lnTo>
                    <a:pt x="432" y="495"/>
                  </a:lnTo>
                  <a:lnTo>
                    <a:pt x="430" y="495"/>
                  </a:lnTo>
                  <a:lnTo>
                    <a:pt x="430" y="492"/>
                  </a:lnTo>
                  <a:lnTo>
                    <a:pt x="425" y="487"/>
                  </a:lnTo>
                  <a:lnTo>
                    <a:pt x="425" y="478"/>
                  </a:lnTo>
                  <a:lnTo>
                    <a:pt x="428" y="471"/>
                  </a:lnTo>
                  <a:lnTo>
                    <a:pt x="432" y="466"/>
                  </a:lnTo>
                  <a:lnTo>
                    <a:pt x="432" y="464"/>
                  </a:lnTo>
                  <a:lnTo>
                    <a:pt x="442" y="464"/>
                  </a:lnTo>
                  <a:lnTo>
                    <a:pt x="444" y="456"/>
                  </a:lnTo>
                  <a:lnTo>
                    <a:pt x="461" y="461"/>
                  </a:lnTo>
                  <a:lnTo>
                    <a:pt x="464" y="466"/>
                  </a:lnTo>
                  <a:lnTo>
                    <a:pt x="471" y="476"/>
                  </a:lnTo>
                  <a:lnTo>
                    <a:pt x="473" y="478"/>
                  </a:lnTo>
                  <a:lnTo>
                    <a:pt x="471" y="483"/>
                  </a:lnTo>
                  <a:lnTo>
                    <a:pt x="471" y="487"/>
                  </a:lnTo>
                  <a:lnTo>
                    <a:pt x="475" y="490"/>
                  </a:lnTo>
                  <a:lnTo>
                    <a:pt x="480" y="485"/>
                  </a:lnTo>
                  <a:lnTo>
                    <a:pt x="487" y="487"/>
                  </a:lnTo>
                  <a:lnTo>
                    <a:pt x="487" y="492"/>
                  </a:lnTo>
                  <a:lnTo>
                    <a:pt x="492" y="497"/>
                  </a:lnTo>
                  <a:lnTo>
                    <a:pt x="502" y="497"/>
                  </a:lnTo>
                  <a:lnTo>
                    <a:pt x="506" y="492"/>
                  </a:lnTo>
                  <a:lnTo>
                    <a:pt x="504" y="487"/>
                  </a:lnTo>
                  <a:lnTo>
                    <a:pt x="509" y="485"/>
                  </a:lnTo>
                  <a:lnTo>
                    <a:pt x="506" y="478"/>
                  </a:lnTo>
                  <a:lnTo>
                    <a:pt x="504" y="471"/>
                  </a:lnTo>
                  <a:lnTo>
                    <a:pt x="492" y="471"/>
                  </a:lnTo>
                  <a:lnTo>
                    <a:pt x="490" y="471"/>
                  </a:lnTo>
                  <a:lnTo>
                    <a:pt x="490" y="461"/>
                  </a:lnTo>
                  <a:lnTo>
                    <a:pt x="478" y="461"/>
                  </a:lnTo>
                  <a:lnTo>
                    <a:pt x="478" y="456"/>
                  </a:lnTo>
                  <a:lnTo>
                    <a:pt x="478" y="449"/>
                  </a:lnTo>
                  <a:lnTo>
                    <a:pt x="485" y="452"/>
                  </a:lnTo>
                  <a:lnTo>
                    <a:pt x="490" y="454"/>
                  </a:lnTo>
                  <a:lnTo>
                    <a:pt x="492" y="449"/>
                  </a:lnTo>
                  <a:lnTo>
                    <a:pt x="499" y="440"/>
                  </a:lnTo>
                  <a:lnTo>
                    <a:pt x="504" y="437"/>
                  </a:lnTo>
                  <a:lnTo>
                    <a:pt x="511" y="442"/>
                  </a:lnTo>
                  <a:lnTo>
                    <a:pt x="514" y="447"/>
                  </a:lnTo>
                  <a:lnTo>
                    <a:pt x="521" y="447"/>
                  </a:lnTo>
                  <a:lnTo>
                    <a:pt x="523" y="449"/>
                  </a:lnTo>
                  <a:lnTo>
                    <a:pt x="526" y="452"/>
                  </a:lnTo>
                  <a:lnTo>
                    <a:pt x="533" y="449"/>
                  </a:lnTo>
                  <a:lnTo>
                    <a:pt x="540" y="454"/>
                  </a:lnTo>
                  <a:lnTo>
                    <a:pt x="549" y="452"/>
                  </a:lnTo>
                  <a:lnTo>
                    <a:pt x="552" y="456"/>
                  </a:lnTo>
                  <a:lnTo>
                    <a:pt x="557" y="452"/>
                  </a:lnTo>
                  <a:lnTo>
                    <a:pt x="554" y="452"/>
                  </a:lnTo>
                  <a:lnTo>
                    <a:pt x="552" y="447"/>
                  </a:lnTo>
                  <a:lnTo>
                    <a:pt x="549" y="442"/>
                  </a:lnTo>
                  <a:lnTo>
                    <a:pt x="552" y="440"/>
                  </a:lnTo>
                  <a:lnTo>
                    <a:pt x="554" y="437"/>
                  </a:lnTo>
                  <a:lnTo>
                    <a:pt x="559" y="430"/>
                  </a:lnTo>
                  <a:lnTo>
                    <a:pt x="564" y="425"/>
                  </a:lnTo>
                  <a:lnTo>
                    <a:pt x="566" y="430"/>
                  </a:lnTo>
                  <a:lnTo>
                    <a:pt x="569" y="433"/>
                  </a:lnTo>
                  <a:lnTo>
                    <a:pt x="573" y="428"/>
                  </a:lnTo>
                  <a:lnTo>
                    <a:pt x="578" y="428"/>
                  </a:lnTo>
                  <a:lnTo>
                    <a:pt x="580" y="428"/>
                  </a:lnTo>
                  <a:lnTo>
                    <a:pt x="592" y="425"/>
                  </a:lnTo>
                  <a:lnTo>
                    <a:pt x="595" y="425"/>
                  </a:lnTo>
                  <a:lnTo>
                    <a:pt x="600" y="416"/>
                  </a:lnTo>
                  <a:lnTo>
                    <a:pt x="602" y="411"/>
                  </a:lnTo>
                  <a:lnTo>
                    <a:pt x="609" y="411"/>
                  </a:lnTo>
                  <a:lnTo>
                    <a:pt x="616" y="406"/>
                  </a:lnTo>
                  <a:lnTo>
                    <a:pt x="619" y="401"/>
                  </a:lnTo>
                  <a:lnTo>
                    <a:pt x="628" y="404"/>
                  </a:lnTo>
                  <a:lnTo>
                    <a:pt x="635" y="401"/>
                  </a:lnTo>
                  <a:lnTo>
                    <a:pt x="640" y="397"/>
                  </a:lnTo>
                  <a:lnTo>
                    <a:pt x="645" y="392"/>
                  </a:lnTo>
                  <a:lnTo>
                    <a:pt x="647" y="385"/>
                  </a:lnTo>
                  <a:lnTo>
                    <a:pt x="652" y="390"/>
                  </a:lnTo>
                  <a:lnTo>
                    <a:pt x="657" y="390"/>
                  </a:lnTo>
                  <a:lnTo>
                    <a:pt x="662" y="387"/>
                  </a:lnTo>
                  <a:lnTo>
                    <a:pt x="664" y="385"/>
                  </a:lnTo>
                  <a:lnTo>
                    <a:pt x="664" y="378"/>
                  </a:lnTo>
                  <a:lnTo>
                    <a:pt x="666" y="373"/>
                  </a:lnTo>
                  <a:lnTo>
                    <a:pt x="669" y="366"/>
                  </a:lnTo>
                  <a:lnTo>
                    <a:pt x="669" y="358"/>
                  </a:lnTo>
                  <a:lnTo>
                    <a:pt x="671" y="356"/>
                  </a:lnTo>
                  <a:lnTo>
                    <a:pt x="676" y="351"/>
                  </a:lnTo>
                  <a:lnTo>
                    <a:pt x="678" y="349"/>
                  </a:lnTo>
                  <a:lnTo>
                    <a:pt x="683" y="349"/>
                  </a:lnTo>
                  <a:lnTo>
                    <a:pt x="686" y="346"/>
                  </a:lnTo>
                  <a:lnTo>
                    <a:pt x="688" y="344"/>
                  </a:lnTo>
                  <a:lnTo>
                    <a:pt x="693" y="339"/>
                  </a:lnTo>
                  <a:lnTo>
                    <a:pt x="700" y="335"/>
                  </a:lnTo>
                  <a:lnTo>
                    <a:pt x="705" y="332"/>
                  </a:lnTo>
                  <a:lnTo>
                    <a:pt x="705" y="327"/>
                  </a:lnTo>
                  <a:lnTo>
                    <a:pt x="702" y="318"/>
                  </a:lnTo>
                  <a:lnTo>
                    <a:pt x="700" y="320"/>
                  </a:lnTo>
                  <a:lnTo>
                    <a:pt x="697" y="320"/>
                  </a:lnTo>
                  <a:lnTo>
                    <a:pt x="695" y="320"/>
                  </a:lnTo>
                  <a:lnTo>
                    <a:pt x="693" y="320"/>
                  </a:lnTo>
                  <a:lnTo>
                    <a:pt x="693" y="318"/>
                  </a:lnTo>
                  <a:lnTo>
                    <a:pt x="690" y="318"/>
                  </a:lnTo>
                  <a:lnTo>
                    <a:pt x="688" y="318"/>
                  </a:lnTo>
                  <a:lnTo>
                    <a:pt x="686" y="318"/>
                  </a:lnTo>
                  <a:lnTo>
                    <a:pt x="683" y="318"/>
                  </a:lnTo>
                  <a:lnTo>
                    <a:pt x="681" y="320"/>
                  </a:lnTo>
                  <a:lnTo>
                    <a:pt x="678" y="320"/>
                  </a:lnTo>
                  <a:lnTo>
                    <a:pt x="676" y="320"/>
                  </a:lnTo>
                  <a:lnTo>
                    <a:pt x="671" y="323"/>
                  </a:lnTo>
                  <a:lnTo>
                    <a:pt x="669" y="323"/>
                  </a:lnTo>
                  <a:lnTo>
                    <a:pt x="666" y="325"/>
                  </a:lnTo>
                  <a:lnTo>
                    <a:pt x="664" y="325"/>
                  </a:lnTo>
                  <a:lnTo>
                    <a:pt x="662" y="327"/>
                  </a:lnTo>
                  <a:lnTo>
                    <a:pt x="659" y="327"/>
                  </a:lnTo>
                  <a:lnTo>
                    <a:pt x="657" y="327"/>
                  </a:lnTo>
                  <a:lnTo>
                    <a:pt x="654" y="327"/>
                  </a:lnTo>
                  <a:lnTo>
                    <a:pt x="654" y="325"/>
                  </a:lnTo>
                  <a:lnTo>
                    <a:pt x="652" y="325"/>
                  </a:lnTo>
                  <a:lnTo>
                    <a:pt x="647" y="325"/>
                  </a:lnTo>
                  <a:lnTo>
                    <a:pt x="647" y="327"/>
                  </a:lnTo>
                  <a:lnTo>
                    <a:pt x="645" y="327"/>
                  </a:lnTo>
                  <a:lnTo>
                    <a:pt x="643" y="327"/>
                  </a:lnTo>
                  <a:lnTo>
                    <a:pt x="640" y="327"/>
                  </a:lnTo>
                  <a:lnTo>
                    <a:pt x="638" y="327"/>
                  </a:lnTo>
                  <a:lnTo>
                    <a:pt x="635" y="327"/>
                  </a:lnTo>
                  <a:lnTo>
                    <a:pt x="633" y="327"/>
                  </a:lnTo>
                  <a:lnTo>
                    <a:pt x="631" y="330"/>
                  </a:lnTo>
                  <a:lnTo>
                    <a:pt x="628" y="330"/>
                  </a:lnTo>
                  <a:lnTo>
                    <a:pt x="626" y="327"/>
                  </a:lnTo>
                  <a:lnTo>
                    <a:pt x="621" y="327"/>
                  </a:lnTo>
                  <a:lnTo>
                    <a:pt x="616" y="325"/>
                  </a:lnTo>
                  <a:lnTo>
                    <a:pt x="614" y="325"/>
                  </a:lnTo>
                  <a:lnTo>
                    <a:pt x="609" y="325"/>
                  </a:lnTo>
                  <a:lnTo>
                    <a:pt x="607" y="325"/>
                  </a:lnTo>
                  <a:lnTo>
                    <a:pt x="604" y="327"/>
                  </a:lnTo>
                  <a:lnTo>
                    <a:pt x="600" y="330"/>
                  </a:lnTo>
                  <a:lnTo>
                    <a:pt x="597" y="332"/>
                  </a:lnTo>
                  <a:lnTo>
                    <a:pt x="595" y="332"/>
                  </a:lnTo>
                  <a:lnTo>
                    <a:pt x="590" y="335"/>
                  </a:lnTo>
                  <a:lnTo>
                    <a:pt x="588" y="335"/>
                  </a:lnTo>
                  <a:lnTo>
                    <a:pt x="585" y="335"/>
                  </a:lnTo>
                  <a:lnTo>
                    <a:pt x="585" y="332"/>
                  </a:lnTo>
                  <a:lnTo>
                    <a:pt x="583" y="330"/>
                  </a:lnTo>
                  <a:lnTo>
                    <a:pt x="583" y="323"/>
                  </a:lnTo>
                  <a:lnTo>
                    <a:pt x="585" y="318"/>
                  </a:lnTo>
                  <a:lnTo>
                    <a:pt x="585" y="313"/>
                  </a:lnTo>
                  <a:lnTo>
                    <a:pt x="585" y="311"/>
                  </a:lnTo>
                  <a:lnTo>
                    <a:pt x="585" y="306"/>
                  </a:lnTo>
                  <a:lnTo>
                    <a:pt x="583" y="301"/>
                  </a:lnTo>
                  <a:lnTo>
                    <a:pt x="583" y="299"/>
                  </a:lnTo>
                  <a:lnTo>
                    <a:pt x="580" y="296"/>
                  </a:lnTo>
                  <a:lnTo>
                    <a:pt x="578" y="292"/>
                  </a:lnTo>
                  <a:lnTo>
                    <a:pt x="576" y="289"/>
                  </a:lnTo>
                  <a:lnTo>
                    <a:pt x="576" y="284"/>
                  </a:lnTo>
                  <a:lnTo>
                    <a:pt x="578" y="282"/>
                  </a:lnTo>
                  <a:lnTo>
                    <a:pt x="578" y="280"/>
                  </a:lnTo>
                  <a:lnTo>
                    <a:pt x="580" y="275"/>
                  </a:lnTo>
                  <a:lnTo>
                    <a:pt x="580" y="272"/>
                  </a:lnTo>
                  <a:lnTo>
                    <a:pt x="578" y="272"/>
                  </a:lnTo>
                  <a:lnTo>
                    <a:pt x="576" y="275"/>
                  </a:lnTo>
                  <a:lnTo>
                    <a:pt x="571" y="277"/>
                  </a:lnTo>
                  <a:lnTo>
                    <a:pt x="569" y="277"/>
                  </a:lnTo>
                  <a:lnTo>
                    <a:pt x="569" y="277"/>
                  </a:lnTo>
                  <a:lnTo>
                    <a:pt x="566" y="275"/>
                  </a:lnTo>
                  <a:lnTo>
                    <a:pt x="564" y="275"/>
                  </a:lnTo>
                  <a:lnTo>
                    <a:pt x="564" y="272"/>
                  </a:lnTo>
                  <a:lnTo>
                    <a:pt x="564" y="270"/>
                  </a:lnTo>
                  <a:lnTo>
                    <a:pt x="564" y="268"/>
                  </a:lnTo>
                  <a:lnTo>
                    <a:pt x="561" y="265"/>
                  </a:lnTo>
                  <a:lnTo>
                    <a:pt x="559" y="260"/>
                  </a:lnTo>
                  <a:lnTo>
                    <a:pt x="557" y="265"/>
                  </a:lnTo>
                  <a:lnTo>
                    <a:pt x="557" y="270"/>
                  </a:lnTo>
                  <a:lnTo>
                    <a:pt x="554" y="275"/>
                  </a:lnTo>
                  <a:lnTo>
                    <a:pt x="552" y="275"/>
                  </a:lnTo>
                  <a:lnTo>
                    <a:pt x="549" y="275"/>
                  </a:lnTo>
                  <a:lnTo>
                    <a:pt x="547" y="272"/>
                  </a:lnTo>
                  <a:lnTo>
                    <a:pt x="545" y="272"/>
                  </a:lnTo>
                  <a:lnTo>
                    <a:pt x="542" y="270"/>
                  </a:lnTo>
                  <a:lnTo>
                    <a:pt x="542" y="268"/>
                  </a:lnTo>
                  <a:lnTo>
                    <a:pt x="542" y="265"/>
                  </a:lnTo>
                  <a:lnTo>
                    <a:pt x="545" y="265"/>
                  </a:lnTo>
                  <a:lnTo>
                    <a:pt x="547" y="263"/>
                  </a:lnTo>
                  <a:lnTo>
                    <a:pt x="549" y="260"/>
                  </a:lnTo>
                  <a:lnTo>
                    <a:pt x="552" y="258"/>
                  </a:lnTo>
                  <a:lnTo>
                    <a:pt x="552" y="256"/>
                  </a:lnTo>
                  <a:lnTo>
                    <a:pt x="549" y="253"/>
                  </a:lnTo>
                  <a:lnTo>
                    <a:pt x="547" y="251"/>
                  </a:lnTo>
                  <a:lnTo>
                    <a:pt x="545" y="246"/>
                  </a:lnTo>
                  <a:lnTo>
                    <a:pt x="545" y="244"/>
                  </a:lnTo>
                  <a:lnTo>
                    <a:pt x="542" y="239"/>
                  </a:lnTo>
                  <a:lnTo>
                    <a:pt x="542" y="237"/>
                  </a:lnTo>
                  <a:lnTo>
                    <a:pt x="540" y="234"/>
                  </a:lnTo>
                  <a:lnTo>
                    <a:pt x="533" y="229"/>
                  </a:lnTo>
                  <a:lnTo>
                    <a:pt x="509" y="206"/>
                  </a:lnTo>
                  <a:lnTo>
                    <a:pt x="504" y="206"/>
                  </a:lnTo>
                  <a:lnTo>
                    <a:pt x="502" y="203"/>
                  </a:lnTo>
                  <a:lnTo>
                    <a:pt x="497" y="203"/>
                  </a:lnTo>
                  <a:lnTo>
                    <a:pt x="495" y="203"/>
                  </a:lnTo>
                  <a:lnTo>
                    <a:pt x="490" y="206"/>
                  </a:lnTo>
                  <a:lnTo>
                    <a:pt x="487" y="206"/>
                  </a:lnTo>
                  <a:lnTo>
                    <a:pt x="483" y="208"/>
                  </a:lnTo>
                  <a:lnTo>
                    <a:pt x="480" y="208"/>
                  </a:lnTo>
                  <a:lnTo>
                    <a:pt x="480" y="208"/>
                  </a:lnTo>
                  <a:lnTo>
                    <a:pt x="480" y="208"/>
                  </a:lnTo>
                  <a:lnTo>
                    <a:pt x="480" y="208"/>
                  </a:lnTo>
                  <a:lnTo>
                    <a:pt x="478" y="210"/>
                  </a:lnTo>
                  <a:lnTo>
                    <a:pt x="478" y="210"/>
                  </a:lnTo>
                  <a:lnTo>
                    <a:pt x="473" y="208"/>
                  </a:lnTo>
                  <a:lnTo>
                    <a:pt x="473" y="206"/>
                  </a:lnTo>
                  <a:lnTo>
                    <a:pt x="471" y="203"/>
                  </a:lnTo>
                  <a:lnTo>
                    <a:pt x="471" y="203"/>
                  </a:lnTo>
                  <a:lnTo>
                    <a:pt x="471" y="201"/>
                  </a:lnTo>
                  <a:lnTo>
                    <a:pt x="468" y="198"/>
                  </a:lnTo>
                  <a:lnTo>
                    <a:pt x="466" y="198"/>
                  </a:lnTo>
                  <a:lnTo>
                    <a:pt x="464" y="198"/>
                  </a:lnTo>
                  <a:lnTo>
                    <a:pt x="461" y="196"/>
                  </a:lnTo>
                  <a:lnTo>
                    <a:pt x="459" y="198"/>
                  </a:lnTo>
                  <a:lnTo>
                    <a:pt x="456" y="198"/>
                  </a:lnTo>
                  <a:lnTo>
                    <a:pt x="454" y="198"/>
                  </a:lnTo>
                  <a:lnTo>
                    <a:pt x="452" y="198"/>
                  </a:lnTo>
                  <a:lnTo>
                    <a:pt x="447" y="198"/>
                  </a:lnTo>
                  <a:lnTo>
                    <a:pt x="444" y="198"/>
                  </a:lnTo>
                  <a:lnTo>
                    <a:pt x="442" y="196"/>
                  </a:lnTo>
                  <a:lnTo>
                    <a:pt x="440" y="194"/>
                  </a:lnTo>
                  <a:lnTo>
                    <a:pt x="437" y="194"/>
                  </a:lnTo>
                  <a:lnTo>
                    <a:pt x="435" y="191"/>
                  </a:lnTo>
                  <a:lnTo>
                    <a:pt x="432" y="189"/>
                  </a:lnTo>
                  <a:lnTo>
                    <a:pt x="430" y="186"/>
                  </a:lnTo>
                  <a:lnTo>
                    <a:pt x="425" y="186"/>
                  </a:lnTo>
                  <a:lnTo>
                    <a:pt x="423" y="182"/>
                  </a:lnTo>
                  <a:lnTo>
                    <a:pt x="423" y="179"/>
                  </a:lnTo>
                  <a:lnTo>
                    <a:pt x="423" y="177"/>
                  </a:lnTo>
                  <a:lnTo>
                    <a:pt x="425" y="177"/>
                  </a:lnTo>
                  <a:lnTo>
                    <a:pt x="423" y="174"/>
                  </a:lnTo>
                  <a:lnTo>
                    <a:pt x="418" y="177"/>
                  </a:lnTo>
                  <a:lnTo>
                    <a:pt x="416" y="177"/>
                  </a:lnTo>
                  <a:lnTo>
                    <a:pt x="421" y="174"/>
                  </a:lnTo>
                  <a:lnTo>
                    <a:pt x="423" y="170"/>
                  </a:lnTo>
                  <a:lnTo>
                    <a:pt x="423" y="167"/>
                  </a:lnTo>
                  <a:lnTo>
                    <a:pt x="423" y="165"/>
                  </a:lnTo>
                  <a:lnTo>
                    <a:pt x="423" y="162"/>
                  </a:lnTo>
                  <a:lnTo>
                    <a:pt x="421" y="158"/>
                  </a:lnTo>
                  <a:lnTo>
                    <a:pt x="421" y="155"/>
                  </a:lnTo>
                  <a:lnTo>
                    <a:pt x="421" y="153"/>
                  </a:lnTo>
                  <a:lnTo>
                    <a:pt x="421" y="151"/>
                  </a:lnTo>
                  <a:lnTo>
                    <a:pt x="418" y="148"/>
                  </a:lnTo>
                  <a:lnTo>
                    <a:pt x="416" y="146"/>
                  </a:lnTo>
                  <a:lnTo>
                    <a:pt x="413" y="143"/>
                  </a:lnTo>
                  <a:lnTo>
                    <a:pt x="411" y="141"/>
                  </a:lnTo>
                  <a:lnTo>
                    <a:pt x="409" y="141"/>
                  </a:lnTo>
                  <a:lnTo>
                    <a:pt x="406" y="141"/>
                  </a:lnTo>
                  <a:lnTo>
                    <a:pt x="404" y="141"/>
                  </a:lnTo>
                  <a:lnTo>
                    <a:pt x="401" y="141"/>
                  </a:lnTo>
                  <a:lnTo>
                    <a:pt x="401" y="139"/>
                  </a:lnTo>
                  <a:lnTo>
                    <a:pt x="401" y="134"/>
                  </a:lnTo>
                  <a:lnTo>
                    <a:pt x="404" y="131"/>
                  </a:lnTo>
                  <a:lnTo>
                    <a:pt x="404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16" y="122"/>
                  </a:lnTo>
                  <a:lnTo>
                    <a:pt x="418" y="119"/>
                  </a:lnTo>
                  <a:lnTo>
                    <a:pt x="418" y="115"/>
                  </a:lnTo>
                  <a:lnTo>
                    <a:pt x="418" y="115"/>
                  </a:lnTo>
                  <a:lnTo>
                    <a:pt x="416" y="110"/>
                  </a:lnTo>
                  <a:lnTo>
                    <a:pt x="416" y="108"/>
                  </a:lnTo>
                  <a:lnTo>
                    <a:pt x="413" y="105"/>
                  </a:lnTo>
                  <a:lnTo>
                    <a:pt x="416" y="100"/>
                  </a:lnTo>
                  <a:lnTo>
                    <a:pt x="416" y="98"/>
                  </a:lnTo>
                  <a:lnTo>
                    <a:pt x="416" y="96"/>
                  </a:lnTo>
                  <a:lnTo>
                    <a:pt x="418" y="93"/>
                  </a:lnTo>
                  <a:lnTo>
                    <a:pt x="418" y="88"/>
                  </a:lnTo>
                  <a:lnTo>
                    <a:pt x="418" y="86"/>
                  </a:lnTo>
                  <a:lnTo>
                    <a:pt x="418" y="76"/>
                  </a:lnTo>
                  <a:lnTo>
                    <a:pt x="418" y="72"/>
                  </a:lnTo>
                  <a:lnTo>
                    <a:pt x="416" y="69"/>
                  </a:lnTo>
                  <a:lnTo>
                    <a:pt x="413" y="69"/>
                  </a:lnTo>
                  <a:lnTo>
                    <a:pt x="411" y="69"/>
                  </a:lnTo>
                  <a:lnTo>
                    <a:pt x="409" y="69"/>
                  </a:lnTo>
                  <a:lnTo>
                    <a:pt x="404" y="69"/>
                  </a:lnTo>
                  <a:lnTo>
                    <a:pt x="401" y="67"/>
                  </a:lnTo>
                  <a:lnTo>
                    <a:pt x="399" y="67"/>
                  </a:lnTo>
                  <a:lnTo>
                    <a:pt x="397" y="65"/>
                  </a:lnTo>
                  <a:lnTo>
                    <a:pt x="397" y="62"/>
                  </a:lnTo>
                  <a:lnTo>
                    <a:pt x="397" y="60"/>
                  </a:lnTo>
                  <a:lnTo>
                    <a:pt x="394" y="55"/>
                  </a:lnTo>
                  <a:lnTo>
                    <a:pt x="392" y="53"/>
                  </a:lnTo>
                  <a:lnTo>
                    <a:pt x="385" y="50"/>
                  </a:lnTo>
                  <a:lnTo>
                    <a:pt x="382" y="50"/>
                  </a:lnTo>
                  <a:lnTo>
                    <a:pt x="380" y="50"/>
                  </a:lnTo>
                  <a:lnTo>
                    <a:pt x="380" y="53"/>
                  </a:lnTo>
                  <a:lnTo>
                    <a:pt x="378" y="55"/>
                  </a:lnTo>
                  <a:lnTo>
                    <a:pt x="375" y="57"/>
                  </a:lnTo>
                  <a:lnTo>
                    <a:pt x="375" y="60"/>
                  </a:lnTo>
                  <a:lnTo>
                    <a:pt x="373" y="62"/>
                  </a:lnTo>
                  <a:lnTo>
                    <a:pt x="370" y="65"/>
                  </a:lnTo>
                  <a:lnTo>
                    <a:pt x="366" y="67"/>
                  </a:lnTo>
                  <a:lnTo>
                    <a:pt x="366" y="69"/>
                  </a:lnTo>
                  <a:lnTo>
                    <a:pt x="363" y="69"/>
                  </a:lnTo>
                  <a:lnTo>
                    <a:pt x="361" y="67"/>
                  </a:lnTo>
                  <a:lnTo>
                    <a:pt x="358" y="67"/>
                  </a:lnTo>
                  <a:lnTo>
                    <a:pt x="356" y="67"/>
                  </a:lnTo>
                  <a:lnTo>
                    <a:pt x="351" y="65"/>
                  </a:lnTo>
                  <a:lnTo>
                    <a:pt x="349" y="65"/>
                  </a:lnTo>
                  <a:lnTo>
                    <a:pt x="347" y="67"/>
                  </a:lnTo>
                  <a:lnTo>
                    <a:pt x="342" y="67"/>
                  </a:lnTo>
                  <a:lnTo>
                    <a:pt x="339" y="67"/>
                  </a:lnTo>
                  <a:lnTo>
                    <a:pt x="339" y="65"/>
                  </a:lnTo>
                  <a:lnTo>
                    <a:pt x="337" y="62"/>
                  </a:lnTo>
                  <a:lnTo>
                    <a:pt x="332" y="62"/>
                  </a:lnTo>
                  <a:lnTo>
                    <a:pt x="330" y="60"/>
                  </a:lnTo>
                  <a:lnTo>
                    <a:pt x="327" y="60"/>
                  </a:lnTo>
                  <a:lnTo>
                    <a:pt x="325" y="60"/>
                  </a:lnTo>
                  <a:lnTo>
                    <a:pt x="323" y="60"/>
                  </a:lnTo>
                  <a:lnTo>
                    <a:pt x="320" y="57"/>
                  </a:lnTo>
                  <a:lnTo>
                    <a:pt x="318" y="57"/>
                  </a:lnTo>
                  <a:lnTo>
                    <a:pt x="316" y="55"/>
                  </a:lnTo>
                  <a:lnTo>
                    <a:pt x="313" y="55"/>
                  </a:lnTo>
                  <a:lnTo>
                    <a:pt x="311" y="53"/>
                  </a:lnTo>
                  <a:lnTo>
                    <a:pt x="311" y="55"/>
                  </a:lnTo>
                  <a:lnTo>
                    <a:pt x="311" y="57"/>
                  </a:lnTo>
                  <a:lnTo>
                    <a:pt x="311" y="60"/>
                  </a:lnTo>
                  <a:lnTo>
                    <a:pt x="311" y="62"/>
                  </a:lnTo>
                  <a:lnTo>
                    <a:pt x="308" y="65"/>
                  </a:lnTo>
                  <a:lnTo>
                    <a:pt x="308" y="69"/>
                  </a:lnTo>
                  <a:lnTo>
                    <a:pt x="308" y="72"/>
                  </a:lnTo>
                  <a:lnTo>
                    <a:pt x="308" y="76"/>
                  </a:lnTo>
                  <a:lnTo>
                    <a:pt x="304" y="76"/>
                  </a:lnTo>
                  <a:lnTo>
                    <a:pt x="301" y="76"/>
                  </a:lnTo>
                  <a:lnTo>
                    <a:pt x="299" y="74"/>
                  </a:lnTo>
                  <a:lnTo>
                    <a:pt x="296" y="72"/>
                  </a:lnTo>
                  <a:lnTo>
                    <a:pt x="294" y="69"/>
                  </a:lnTo>
                  <a:lnTo>
                    <a:pt x="292" y="67"/>
                  </a:lnTo>
                  <a:lnTo>
                    <a:pt x="287" y="65"/>
                  </a:lnTo>
                  <a:lnTo>
                    <a:pt x="284" y="65"/>
                  </a:lnTo>
                  <a:lnTo>
                    <a:pt x="282" y="65"/>
                  </a:lnTo>
                  <a:lnTo>
                    <a:pt x="280" y="62"/>
                  </a:lnTo>
                  <a:lnTo>
                    <a:pt x="280" y="62"/>
                  </a:lnTo>
                  <a:lnTo>
                    <a:pt x="275" y="62"/>
                  </a:lnTo>
                  <a:lnTo>
                    <a:pt x="273" y="65"/>
                  </a:lnTo>
                  <a:lnTo>
                    <a:pt x="270" y="65"/>
                  </a:lnTo>
                  <a:lnTo>
                    <a:pt x="268" y="65"/>
                  </a:lnTo>
                  <a:lnTo>
                    <a:pt x="263" y="65"/>
                  </a:lnTo>
                  <a:lnTo>
                    <a:pt x="261" y="62"/>
                  </a:lnTo>
                  <a:lnTo>
                    <a:pt x="263" y="62"/>
                  </a:lnTo>
                  <a:lnTo>
                    <a:pt x="263" y="60"/>
                  </a:lnTo>
                  <a:lnTo>
                    <a:pt x="268" y="55"/>
                  </a:lnTo>
                  <a:lnTo>
                    <a:pt x="265" y="55"/>
                  </a:lnTo>
                  <a:lnTo>
                    <a:pt x="265" y="53"/>
                  </a:lnTo>
                  <a:lnTo>
                    <a:pt x="265" y="50"/>
                  </a:lnTo>
                  <a:lnTo>
                    <a:pt x="265" y="48"/>
                  </a:lnTo>
                  <a:lnTo>
                    <a:pt x="268" y="45"/>
                  </a:lnTo>
                  <a:lnTo>
                    <a:pt x="265" y="45"/>
                  </a:lnTo>
                  <a:lnTo>
                    <a:pt x="261" y="45"/>
                  </a:lnTo>
                  <a:lnTo>
                    <a:pt x="258" y="45"/>
                  </a:lnTo>
                  <a:lnTo>
                    <a:pt x="256" y="45"/>
                  </a:lnTo>
                  <a:lnTo>
                    <a:pt x="253" y="45"/>
                  </a:lnTo>
                  <a:lnTo>
                    <a:pt x="249" y="45"/>
                  </a:lnTo>
                  <a:lnTo>
                    <a:pt x="249" y="43"/>
                  </a:lnTo>
                  <a:lnTo>
                    <a:pt x="251" y="41"/>
                  </a:lnTo>
                  <a:lnTo>
                    <a:pt x="249" y="38"/>
                  </a:lnTo>
                  <a:lnTo>
                    <a:pt x="249" y="36"/>
                  </a:lnTo>
                  <a:lnTo>
                    <a:pt x="246" y="33"/>
                  </a:lnTo>
                  <a:lnTo>
                    <a:pt x="249" y="33"/>
                  </a:lnTo>
                  <a:lnTo>
                    <a:pt x="249" y="31"/>
                  </a:lnTo>
                  <a:lnTo>
                    <a:pt x="249" y="29"/>
                  </a:lnTo>
                  <a:lnTo>
                    <a:pt x="246" y="29"/>
                  </a:lnTo>
                  <a:lnTo>
                    <a:pt x="244" y="29"/>
                  </a:lnTo>
                  <a:lnTo>
                    <a:pt x="242" y="29"/>
                  </a:lnTo>
                  <a:lnTo>
                    <a:pt x="239" y="29"/>
                  </a:lnTo>
                  <a:lnTo>
                    <a:pt x="237" y="31"/>
                  </a:lnTo>
                  <a:lnTo>
                    <a:pt x="234" y="31"/>
                  </a:lnTo>
                  <a:lnTo>
                    <a:pt x="232" y="31"/>
                  </a:lnTo>
                  <a:lnTo>
                    <a:pt x="230" y="31"/>
                  </a:lnTo>
                  <a:lnTo>
                    <a:pt x="227" y="29"/>
                  </a:lnTo>
                  <a:lnTo>
                    <a:pt x="225" y="29"/>
                  </a:lnTo>
                  <a:lnTo>
                    <a:pt x="222" y="29"/>
                  </a:lnTo>
                  <a:lnTo>
                    <a:pt x="222" y="26"/>
                  </a:lnTo>
                  <a:lnTo>
                    <a:pt x="220" y="26"/>
                  </a:lnTo>
                  <a:lnTo>
                    <a:pt x="218" y="24"/>
                  </a:lnTo>
                  <a:lnTo>
                    <a:pt x="215" y="24"/>
                  </a:lnTo>
                  <a:lnTo>
                    <a:pt x="215" y="24"/>
                  </a:lnTo>
                  <a:lnTo>
                    <a:pt x="213" y="21"/>
                  </a:lnTo>
                  <a:lnTo>
                    <a:pt x="210" y="21"/>
                  </a:lnTo>
                  <a:lnTo>
                    <a:pt x="208" y="21"/>
                  </a:lnTo>
                  <a:lnTo>
                    <a:pt x="206" y="21"/>
                  </a:lnTo>
                  <a:lnTo>
                    <a:pt x="203" y="21"/>
                  </a:lnTo>
                  <a:lnTo>
                    <a:pt x="201" y="21"/>
                  </a:lnTo>
                  <a:lnTo>
                    <a:pt x="199" y="24"/>
                  </a:lnTo>
                  <a:lnTo>
                    <a:pt x="196" y="24"/>
                  </a:lnTo>
                  <a:lnTo>
                    <a:pt x="194" y="24"/>
                  </a:lnTo>
                  <a:lnTo>
                    <a:pt x="191" y="24"/>
                  </a:lnTo>
                  <a:lnTo>
                    <a:pt x="189" y="24"/>
                  </a:lnTo>
                  <a:lnTo>
                    <a:pt x="187" y="24"/>
                  </a:lnTo>
                  <a:lnTo>
                    <a:pt x="184" y="24"/>
                  </a:lnTo>
                  <a:lnTo>
                    <a:pt x="182" y="21"/>
                  </a:lnTo>
                  <a:lnTo>
                    <a:pt x="182" y="19"/>
                  </a:lnTo>
                  <a:lnTo>
                    <a:pt x="179" y="19"/>
                  </a:lnTo>
                  <a:lnTo>
                    <a:pt x="179" y="17"/>
                  </a:lnTo>
                  <a:lnTo>
                    <a:pt x="177" y="14"/>
                  </a:lnTo>
                  <a:lnTo>
                    <a:pt x="177" y="12"/>
                  </a:lnTo>
                  <a:lnTo>
                    <a:pt x="175" y="12"/>
                  </a:lnTo>
                  <a:lnTo>
                    <a:pt x="172" y="12"/>
                  </a:lnTo>
                  <a:lnTo>
                    <a:pt x="170" y="12"/>
                  </a:lnTo>
                  <a:lnTo>
                    <a:pt x="170" y="10"/>
                  </a:lnTo>
                  <a:lnTo>
                    <a:pt x="168" y="10"/>
                  </a:lnTo>
                  <a:lnTo>
                    <a:pt x="168" y="7"/>
                  </a:lnTo>
                  <a:lnTo>
                    <a:pt x="168" y="5"/>
                  </a:lnTo>
                  <a:lnTo>
                    <a:pt x="170" y="5"/>
                  </a:lnTo>
                  <a:lnTo>
                    <a:pt x="170" y="2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63" y="2"/>
                  </a:lnTo>
                  <a:lnTo>
                    <a:pt x="160" y="2"/>
                  </a:lnTo>
                  <a:lnTo>
                    <a:pt x="160" y="5"/>
                  </a:lnTo>
                  <a:lnTo>
                    <a:pt x="163" y="7"/>
                  </a:lnTo>
                  <a:lnTo>
                    <a:pt x="163" y="10"/>
                  </a:lnTo>
                  <a:lnTo>
                    <a:pt x="165" y="10"/>
                  </a:lnTo>
                  <a:lnTo>
                    <a:pt x="165" y="12"/>
                  </a:lnTo>
                  <a:lnTo>
                    <a:pt x="168" y="14"/>
                  </a:lnTo>
                  <a:lnTo>
                    <a:pt x="168" y="17"/>
                  </a:lnTo>
                  <a:lnTo>
                    <a:pt x="168" y="19"/>
                  </a:lnTo>
                  <a:lnTo>
                    <a:pt x="170" y="19"/>
                  </a:lnTo>
                  <a:lnTo>
                    <a:pt x="170" y="21"/>
                  </a:lnTo>
                  <a:lnTo>
                    <a:pt x="170" y="24"/>
                  </a:lnTo>
                  <a:lnTo>
                    <a:pt x="170" y="26"/>
                  </a:lnTo>
                  <a:lnTo>
                    <a:pt x="172" y="29"/>
                  </a:lnTo>
                  <a:lnTo>
                    <a:pt x="172" y="31"/>
                  </a:lnTo>
                  <a:lnTo>
                    <a:pt x="172" y="33"/>
                  </a:lnTo>
                  <a:lnTo>
                    <a:pt x="172" y="36"/>
                  </a:lnTo>
                  <a:lnTo>
                    <a:pt x="170" y="38"/>
                  </a:lnTo>
                  <a:lnTo>
                    <a:pt x="168" y="38"/>
                  </a:lnTo>
                  <a:lnTo>
                    <a:pt x="165" y="41"/>
                  </a:lnTo>
                  <a:lnTo>
                    <a:pt x="165" y="43"/>
                  </a:lnTo>
                  <a:lnTo>
                    <a:pt x="165" y="45"/>
                  </a:lnTo>
                  <a:lnTo>
                    <a:pt x="165" y="48"/>
                  </a:lnTo>
                  <a:lnTo>
                    <a:pt x="165" y="50"/>
                  </a:lnTo>
                  <a:lnTo>
                    <a:pt x="168" y="53"/>
                  </a:lnTo>
                  <a:lnTo>
                    <a:pt x="168" y="55"/>
                  </a:lnTo>
                  <a:lnTo>
                    <a:pt x="168" y="57"/>
                  </a:lnTo>
                  <a:lnTo>
                    <a:pt x="165" y="60"/>
                  </a:lnTo>
                  <a:lnTo>
                    <a:pt x="163" y="62"/>
                  </a:lnTo>
                  <a:lnTo>
                    <a:pt x="163" y="65"/>
                  </a:lnTo>
                  <a:lnTo>
                    <a:pt x="163" y="67"/>
                  </a:lnTo>
                  <a:lnTo>
                    <a:pt x="163" y="69"/>
                  </a:lnTo>
                  <a:lnTo>
                    <a:pt x="163" y="72"/>
                  </a:lnTo>
                  <a:lnTo>
                    <a:pt x="163" y="74"/>
                  </a:lnTo>
                  <a:lnTo>
                    <a:pt x="165" y="76"/>
                  </a:lnTo>
                  <a:lnTo>
                    <a:pt x="163" y="79"/>
                  </a:lnTo>
                  <a:lnTo>
                    <a:pt x="163" y="81"/>
                  </a:lnTo>
                  <a:lnTo>
                    <a:pt x="160" y="84"/>
                  </a:lnTo>
                  <a:lnTo>
                    <a:pt x="158" y="84"/>
                  </a:lnTo>
                  <a:lnTo>
                    <a:pt x="156" y="84"/>
                  </a:lnTo>
                  <a:lnTo>
                    <a:pt x="153" y="86"/>
                  </a:lnTo>
                  <a:lnTo>
                    <a:pt x="153" y="86"/>
                  </a:lnTo>
                  <a:lnTo>
                    <a:pt x="151" y="88"/>
                  </a:lnTo>
                  <a:lnTo>
                    <a:pt x="148" y="88"/>
                  </a:lnTo>
                  <a:lnTo>
                    <a:pt x="148" y="91"/>
                  </a:lnTo>
                  <a:lnTo>
                    <a:pt x="148" y="103"/>
                  </a:lnTo>
                  <a:lnTo>
                    <a:pt x="148" y="105"/>
                  </a:lnTo>
                  <a:lnTo>
                    <a:pt x="148" y="108"/>
                  </a:lnTo>
                  <a:lnTo>
                    <a:pt x="148" y="110"/>
                  </a:lnTo>
                  <a:lnTo>
                    <a:pt x="148" y="115"/>
                  </a:lnTo>
                  <a:lnTo>
                    <a:pt x="146" y="115"/>
                  </a:lnTo>
                  <a:lnTo>
                    <a:pt x="144" y="115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2"/>
                  </a:lnTo>
                  <a:lnTo>
                    <a:pt x="136" y="112"/>
                  </a:lnTo>
                  <a:lnTo>
                    <a:pt x="134" y="112"/>
                  </a:lnTo>
                  <a:lnTo>
                    <a:pt x="132" y="115"/>
                  </a:lnTo>
                  <a:lnTo>
                    <a:pt x="129" y="115"/>
                  </a:lnTo>
                  <a:lnTo>
                    <a:pt x="127" y="115"/>
                  </a:lnTo>
                  <a:lnTo>
                    <a:pt x="125" y="112"/>
                  </a:lnTo>
                  <a:lnTo>
                    <a:pt x="125" y="110"/>
                  </a:lnTo>
                  <a:lnTo>
                    <a:pt x="122" y="108"/>
                  </a:lnTo>
                  <a:lnTo>
                    <a:pt x="120" y="105"/>
                  </a:lnTo>
                  <a:lnTo>
                    <a:pt x="120" y="103"/>
                  </a:lnTo>
                  <a:lnTo>
                    <a:pt x="117" y="103"/>
                  </a:lnTo>
                  <a:lnTo>
                    <a:pt x="117" y="100"/>
                  </a:lnTo>
                  <a:lnTo>
                    <a:pt x="115" y="100"/>
                  </a:lnTo>
                  <a:lnTo>
                    <a:pt x="113" y="98"/>
                  </a:lnTo>
                  <a:lnTo>
                    <a:pt x="110" y="96"/>
                  </a:lnTo>
                  <a:lnTo>
                    <a:pt x="108" y="96"/>
                  </a:lnTo>
                  <a:lnTo>
                    <a:pt x="108" y="98"/>
                  </a:lnTo>
                  <a:lnTo>
                    <a:pt x="105" y="98"/>
                  </a:lnTo>
                  <a:lnTo>
                    <a:pt x="101" y="98"/>
                  </a:lnTo>
                  <a:lnTo>
                    <a:pt x="101" y="100"/>
                  </a:lnTo>
                  <a:lnTo>
                    <a:pt x="98" y="100"/>
                  </a:lnTo>
                  <a:lnTo>
                    <a:pt x="98" y="103"/>
                  </a:lnTo>
                  <a:lnTo>
                    <a:pt x="98" y="105"/>
                  </a:lnTo>
                  <a:lnTo>
                    <a:pt x="101" y="105"/>
                  </a:lnTo>
                  <a:lnTo>
                    <a:pt x="101" y="108"/>
                  </a:lnTo>
                  <a:lnTo>
                    <a:pt x="103" y="108"/>
                  </a:lnTo>
                  <a:lnTo>
                    <a:pt x="103" y="110"/>
                  </a:lnTo>
                  <a:lnTo>
                    <a:pt x="101" y="112"/>
                  </a:lnTo>
                  <a:lnTo>
                    <a:pt x="98" y="112"/>
                  </a:lnTo>
                  <a:lnTo>
                    <a:pt x="96" y="112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6" y="115"/>
                  </a:lnTo>
                  <a:lnTo>
                    <a:pt x="96" y="117"/>
                  </a:lnTo>
                  <a:lnTo>
                    <a:pt x="96" y="119"/>
                  </a:lnTo>
                  <a:lnTo>
                    <a:pt x="96" y="122"/>
                  </a:lnTo>
                  <a:lnTo>
                    <a:pt x="94" y="124"/>
                  </a:lnTo>
                  <a:lnTo>
                    <a:pt x="94" y="127"/>
                  </a:lnTo>
                  <a:lnTo>
                    <a:pt x="91" y="131"/>
                  </a:lnTo>
                  <a:lnTo>
                    <a:pt x="91" y="134"/>
                  </a:lnTo>
                  <a:lnTo>
                    <a:pt x="91" y="134"/>
                  </a:lnTo>
                  <a:lnTo>
                    <a:pt x="89" y="131"/>
                  </a:lnTo>
                  <a:lnTo>
                    <a:pt x="89" y="134"/>
                  </a:lnTo>
                  <a:lnTo>
                    <a:pt x="89" y="136"/>
                  </a:lnTo>
                  <a:lnTo>
                    <a:pt x="86" y="139"/>
                  </a:lnTo>
                  <a:lnTo>
                    <a:pt x="84" y="139"/>
                  </a:lnTo>
                  <a:lnTo>
                    <a:pt x="82" y="139"/>
                  </a:lnTo>
                  <a:lnTo>
                    <a:pt x="82" y="141"/>
                  </a:lnTo>
                  <a:lnTo>
                    <a:pt x="82" y="143"/>
                  </a:lnTo>
                  <a:lnTo>
                    <a:pt x="84" y="146"/>
                  </a:lnTo>
                  <a:lnTo>
                    <a:pt x="82" y="146"/>
                  </a:lnTo>
                  <a:lnTo>
                    <a:pt x="82" y="148"/>
                  </a:lnTo>
                  <a:lnTo>
                    <a:pt x="84" y="151"/>
                  </a:lnTo>
                  <a:lnTo>
                    <a:pt x="86" y="151"/>
                  </a:lnTo>
                  <a:lnTo>
                    <a:pt x="89" y="151"/>
                  </a:lnTo>
                  <a:lnTo>
                    <a:pt x="91" y="153"/>
                  </a:lnTo>
                  <a:lnTo>
                    <a:pt x="94" y="155"/>
                  </a:lnTo>
                  <a:lnTo>
                    <a:pt x="101" y="165"/>
                  </a:lnTo>
                  <a:lnTo>
                    <a:pt x="103" y="167"/>
                  </a:lnTo>
                  <a:lnTo>
                    <a:pt x="105" y="167"/>
                  </a:lnTo>
                  <a:lnTo>
                    <a:pt x="105" y="167"/>
                  </a:lnTo>
                  <a:lnTo>
                    <a:pt x="108" y="170"/>
                  </a:lnTo>
                  <a:lnTo>
                    <a:pt x="108" y="172"/>
                  </a:lnTo>
                  <a:lnTo>
                    <a:pt x="110" y="174"/>
                  </a:lnTo>
                  <a:lnTo>
                    <a:pt x="110" y="174"/>
                  </a:lnTo>
                  <a:lnTo>
                    <a:pt x="108" y="174"/>
                  </a:lnTo>
                  <a:lnTo>
                    <a:pt x="105" y="174"/>
                  </a:lnTo>
                  <a:lnTo>
                    <a:pt x="103" y="174"/>
                  </a:lnTo>
                  <a:lnTo>
                    <a:pt x="101" y="174"/>
                  </a:lnTo>
                  <a:lnTo>
                    <a:pt x="91" y="174"/>
                  </a:lnTo>
                  <a:lnTo>
                    <a:pt x="91" y="177"/>
                  </a:lnTo>
                  <a:lnTo>
                    <a:pt x="89" y="177"/>
                  </a:lnTo>
                  <a:lnTo>
                    <a:pt x="89" y="179"/>
                  </a:lnTo>
                  <a:lnTo>
                    <a:pt x="89" y="182"/>
                  </a:lnTo>
                  <a:lnTo>
                    <a:pt x="89" y="186"/>
                  </a:lnTo>
                  <a:lnTo>
                    <a:pt x="89" y="189"/>
                  </a:lnTo>
                  <a:lnTo>
                    <a:pt x="86" y="191"/>
                  </a:lnTo>
                  <a:lnTo>
                    <a:pt x="86" y="194"/>
                  </a:lnTo>
                  <a:lnTo>
                    <a:pt x="84" y="194"/>
                  </a:lnTo>
                  <a:lnTo>
                    <a:pt x="82" y="196"/>
                  </a:lnTo>
                  <a:lnTo>
                    <a:pt x="82" y="198"/>
                  </a:lnTo>
                  <a:lnTo>
                    <a:pt x="79" y="198"/>
                  </a:lnTo>
                  <a:lnTo>
                    <a:pt x="79" y="201"/>
                  </a:lnTo>
                  <a:lnTo>
                    <a:pt x="77" y="203"/>
                  </a:lnTo>
                  <a:lnTo>
                    <a:pt x="74" y="203"/>
                  </a:lnTo>
                  <a:lnTo>
                    <a:pt x="72" y="206"/>
                  </a:lnTo>
                  <a:lnTo>
                    <a:pt x="70" y="208"/>
                  </a:lnTo>
                  <a:lnTo>
                    <a:pt x="70" y="210"/>
                  </a:lnTo>
                  <a:lnTo>
                    <a:pt x="70" y="210"/>
                  </a:lnTo>
                  <a:lnTo>
                    <a:pt x="70" y="213"/>
                  </a:lnTo>
                  <a:lnTo>
                    <a:pt x="67" y="213"/>
                  </a:lnTo>
                  <a:lnTo>
                    <a:pt x="65" y="213"/>
                  </a:lnTo>
                  <a:lnTo>
                    <a:pt x="62" y="213"/>
                  </a:lnTo>
                  <a:lnTo>
                    <a:pt x="60" y="213"/>
                  </a:lnTo>
                  <a:lnTo>
                    <a:pt x="58" y="213"/>
                  </a:lnTo>
                  <a:lnTo>
                    <a:pt x="55" y="215"/>
                  </a:lnTo>
                  <a:lnTo>
                    <a:pt x="53" y="217"/>
                  </a:lnTo>
                  <a:lnTo>
                    <a:pt x="53" y="220"/>
                  </a:lnTo>
                  <a:lnTo>
                    <a:pt x="55" y="222"/>
                  </a:lnTo>
                  <a:lnTo>
                    <a:pt x="53" y="225"/>
                  </a:lnTo>
                  <a:lnTo>
                    <a:pt x="53" y="227"/>
                  </a:lnTo>
                  <a:lnTo>
                    <a:pt x="51" y="227"/>
                  </a:lnTo>
                  <a:lnTo>
                    <a:pt x="51" y="229"/>
                  </a:lnTo>
                  <a:lnTo>
                    <a:pt x="51" y="232"/>
                  </a:lnTo>
                  <a:lnTo>
                    <a:pt x="48" y="232"/>
                  </a:lnTo>
                  <a:lnTo>
                    <a:pt x="48" y="234"/>
                  </a:lnTo>
                  <a:lnTo>
                    <a:pt x="48" y="237"/>
                  </a:lnTo>
                  <a:lnTo>
                    <a:pt x="48" y="241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48" y="251"/>
                  </a:lnTo>
                  <a:lnTo>
                    <a:pt x="48" y="253"/>
                  </a:lnTo>
                  <a:lnTo>
                    <a:pt x="53" y="253"/>
                  </a:lnTo>
                  <a:lnTo>
                    <a:pt x="55" y="253"/>
                  </a:lnTo>
                  <a:lnTo>
                    <a:pt x="58" y="256"/>
                  </a:lnTo>
                  <a:lnTo>
                    <a:pt x="55" y="258"/>
                  </a:lnTo>
                  <a:lnTo>
                    <a:pt x="53" y="260"/>
                  </a:lnTo>
                  <a:lnTo>
                    <a:pt x="58" y="260"/>
                  </a:lnTo>
                  <a:lnTo>
                    <a:pt x="62" y="258"/>
                  </a:lnTo>
                  <a:lnTo>
                    <a:pt x="62" y="260"/>
                  </a:lnTo>
                  <a:lnTo>
                    <a:pt x="58" y="260"/>
                  </a:lnTo>
                  <a:lnTo>
                    <a:pt x="53" y="260"/>
                  </a:lnTo>
                  <a:lnTo>
                    <a:pt x="53" y="263"/>
                  </a:lnTo>
                  <a:lnTo>
                    <a:pt x="51" y="263"/>
                  </a:lnTo>
                  <a:lnTo>
                    <a:pt x="51" y="265"/>
                  </a:lnTo>
                  <a:lnTo>
                    <a:pt x="53" y="268"/>
                  </a:lnTo>
                  <a:lnTo>
                    <a:pt x="53" y="270"/>
                  </a:lnTo>
                  <a:lnTo>
                    <a:pt x="55" y="272"/>
                  </a:lnTo>
                  <a:lnTo>
                    <a:pt x="58" y="275"/>
                  </a:lnTo>
                  <a:lnTo>
                    <a:pt x="58" y="277"/>
                  </a:lnTo>
                  <a:lnTo>
                    <a:pt x="58" y="282"/>
                  </a:lnTo>
                  <a:lnTo>
                    <a:pt x="55" y="284"/>
                  </a:lnTo>
                  <a:lnTo>
                    <a:pt x="53" y="284"/>
                  </a:lnTo>
                  <a:lnTo>
                    <a:pt x="51" y="289"/>
                  </a:lnTo>
                  <a:lnTo>
                    <a:pt x="48" y="292"/>
                  </a:lnTo>
                  <a:lnTo>
                    <a:pt x="51" y="296"/>
                  </a:lnTo>
                  <a:lnTo>
                    <a:pt x="53" y="299"/>
                  </a:lnTo>
                  <a:lnTo>
                    <a:pt x="55" y="299"/>
                  </a:lnTo>
                  <a:lnTo>
                    <a:pt x="58" y="299"/>
                  </a:lnTo>
                  <a:lnTo>
                    <a:pt x="58" y="301"/>
                  </a:lnTo>
                  <a:lnTo>
                    <a:pt x="58" y="303"/>
                  </a:lnTo>
                  <a:lnTo>
                    <a:pt x="60" y="306"/>
                  </a:lnTo>
                  <a:lnTo>
                    <a:pt x="60" y="308"/>
                  </a:lnTo>
                  <a:lnTo>
                    <a:pt x="60" y="311"/>
                  </a:lnTo>
                  <a:lnTo>
                    <a:pt x="60" y="313"/>
                  </a:lnTo>
                  <a:lnTo>
                    <a:pt x="58" y="313"/>
                  </a:lnTo>
                  <a:lnTo>
                    <a:pt x="55" y="315"/>
                  </a:lnTo>
                  <a:lnTo>
                    <a:pt x="53" y="318"/>
                  </a:lnTo>
                  <a:lnTo>
                    <a:pt x="48" y="323"/>
                  </a:lnTo>
                  <a:lnTo>
                    <a:pt x="46" y="325"/>
                  </a:lnTo>
                  <a:lnTo>
                    <a:pt x="43" y="325"/>
                  </a:lnTo>
                  <a:lnTo>
                    <a:pt x="41" y="327"/>
                  </a:lnTo>
                  <a:lnTo>
                    <a:pt x="41" y="330"/>
                  </a:lnTo>
                  <a:lnTo>
                    <a:pt x="41" y="332"/>
                  </a:lnTo>
                  <a:lnTo>
                    <a:pt x="43" y="335"/>
                  </a:lnTo>
                  <a:lnTo>
                    <a:pt x="46" y="335"/>
                  </a:lnTo>
                  <a:lnTo>
                    <a:pt x="46" y="337"/>
                  </a:lnTo>
                  <a:lnTo>
                    <a:pt x="46" y="339"/>
                  </a:lnTo>
                  <a:lnTo>
                    <a:pt x="46" y="342"/>
                  </a:lnTo>
                  <a:lnTo>
                    <a:pt x="46" y="344"/>
                  </a:lnTo>
                  <a:lnTo>
                    <a:pt x="43" y="344"/>
                  </a:lnTo>
                  <a:lnTo>
                    <a:pt x="41" y="344"/>
                  </a:lnTo>
                  <a:lnTo>
                    <a:pt x="39" y="346"/>
                  </a:lnTo>
                  <a:lnTo>
                    <a:pt x="36" y="349"/>
                  </a:lnTo>
                  <a:lnTo>
                    <a:pt x="34" y="351"/>
                  </a:lnTo>
                  <a:lnTo>
                    <a:pt x="34" y="354"/>
                  </a:lnTo>
                  <a:lnTo>
                    <a:pt x="34" y="356"/>
                  </a:lnTo>
                  <a:lnTo>
                    <a:pt x="36" y="356"/>
                  </a:lnTo>
                  <a:lnTo>
                    <a:pt x="36" y="358"/>
                  </a:lnTo>
                  <a:lnTo>
                    <a:pt x="34" y="358"/>
                  </a:lnTo>
                  <a:lnTo>
                    <a:pt x="34" y="361"/>
                  </a:lnTo>
                  <a:lnTo>
                    <a:pt x="34" y="363"/>
                  </a:lnTo>
                  <a:lnTo>
                    <a:pt x="34" y="366"/>
                  </a:lnTo>
                  <a:lnTo>
                    <a:pt x="34" y="368"/>
                  </a:lnTo>
                  <a:lnTo>
                    <a:pt x="36" y="368"/>
                  </a:lnTo>
                  <a:lnTo>
                    <a:pt x="41" y="368"/>
                  </a:lnTo>
                  <a:lnTo>
                    <a:pt x="43" y="368"/>
                  </a:lnTo>
                  <a:lnTo>
                    <a:pt x="46" y="368"/>
                  </a:lnTo>
                  <a:lnTo>
                    <a:pt x="48" y="368"/>
                  </a:lnTo>
                  <a:lnTo>
                    <a:pt x="51" y="368"/>
                  </a:lnTo>
                  <a:lnTo>
                    <a:pt x="55" y="370"/>
                  </a:lnTo>
                  <a:lnTo>
                    <a:pt x="60" y="373"/>
                  </a:lnTo>
                  <a:lnTo>
                    <a:pt x="65" y="373"/>
                  </a:lnTo>
                  <a:lnTo>
                    <a:pt x="67" y="375"/>
                  </a:lnTo>
                  <a:lnTo>
                    <a:pt x="70" y="375"/>
                  </a:lnTo>
                  <a:lnTo>
                    <a:pt x="70" y="380"/>
                  </a:lnTo>
                  <a:lnTo>
                    <a:pt x="70" y="380"/>
                  </a:lnTo>
                  <a:lnTo>
                    <a:pt x="67" y="382"/>
                  </a:lnTo>
                  <a:lnTo>
                    <a:pt x="65" y="382"/>
                  </a:lnTo>
                  <a:lnTo>
                    <a:pt x="62" y="382"/>
                  </a:lnTo>
                  <a:lnTo>
                    <a:pt x="58" y="385"/>
                  </a:lnTo>
                  <a:lnTo>
                    <a:pt x="55" y="385"/>
                  </a:lnTo>
                  <a:lnTo>
                    <a:pt x="55" y="387"/>
                  </a:lnTo>
                  <a:lnTo>
                    <a:pt x="53" y="387"/>
                  </a:lnTo>
                  <a:lnTo>
                    <a:pt x="51" y="387"/>
                  </a:lnTo>
                  <a:lnTo>
                    <a:pt x="48" y="390"/>
                  </a:lnTo>
                  <a:lnTo>
                    <a:pt x="46" y="392"/>
                  </a:lnTo>
                  <a:lnTo>
                    <a:pt x="46" y="394"/>
                  </a:lnTo>
                  <a:lnTo>
                    <a:pt x="43" y="397"/>
                  </a:lnTo>
                  <a:lnTo>
                    <a:pt x="41" y="399"/>
                  </a:lnTo>
                  <a:lnTo>
                    <a:pt x="34" y="406"/>
                  </a:lnTo>
                  <a:lnTo>
                    <a:pt x="31" y="411"/>
                  </a:lnTo>
                  <a:lnTo>
                    <a:pt x="27" y="416"/>
                  </a:lnTo>
                  <a:lnTo>
                    <a:pt x="24" y="421"/>
                  </a:lnTo>
                  <a:lnTo>
                    <a:pt x="22" y="425"/>
                  </a:lnTo>
                  <a:lnTo>
                    <a:pt x="20" y="430"/>
                  </a:lnTo>
                  <a:lnTo>
                    <a:pt x="20" y="433"/>
                  </a:lnTo>
                  <a:lnTo>
                    <a:pt x="22" y="433"/>
                  </a:lnTo>
                  <a:lnTo>
                    <a:pt x="24" y="435"/>
                  </a:lnTo>
                  <a:lnTo>
                    <a:pt x="27" y="435"/>
                  </a:lnTo>
                  <a:lnTo>
                    <a:pt x="29" y="435"/>
                  </a:lnTo>
                  <a:lnTo>
                    <a:pt x="31" y="435"/>
                  </a:lnTo>
                  <a:lnTo>
                    <a:pt x="36" y="430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GB" sz="1837" dirty="0">
                <a:solidFill>
                  <a:srgbClr val="000000"/>
                </a:solidFill>
              </a:endParaRPr>
            </a:p>
          </p:txBody>
        </p:sp>
        <p:sp>
          <p:nvSpPr>
            <p:cNvPr id="66" name="IN_DL"/>
            <p:cNvSpPr>
              <a:spLocks/>
            </p:cNvSpPr>
            <p:nvPr/>
          </p:nvSpPr>
          <p:spPr bwMode="auto">
            <a:xfrm>
              <a:off x="6289582" y="2795914"/>
              <a:ext cx="51495" cy="57144"/>
            </a:xfrm>
            <a:custGeom>
              <a:avLst/>
              <a:gdLst/>
              <a:ahLst/>
              <a:cxnLst/>
              <a:rect l="l" t="t" r="r" b="b"/>
              <a:pathLst>
                <a:path w="95718" h="110086">
                  <a:moveTo>
                    <a:pt x="88649" y="47027"/>
                  </a:moveTo>
                  <a:lnTo>
                    <a:pt x="88614" y="47029"/>
                  </a:lnTo>
                  <a:lnTo>
                    <a:pt x="88550" y="47056"/>
                  </a:lnTo>
                  <a:lnTo>
                    <a:pt x="88613" y="47041"/>
                  </a:lnTo>
                  <a:close/>
                  <a:moveTo>
                    <a:pt x="63208" y="0"/>
                  </a:moveTo>
                  <a:lnTo>
                    <a:pt x="63328" y="9"/>
                  </a:lnTo>
                  <a:lnTo>
                    <a:pt x="63432" y="18"/>
                  </a:lnTo>
                  <a:lnTo>
                    <a:pt x="63535" y="44"/>
                  </a:lnTo>
                  <a:lnTo>
                    <a:pt x="63639" y="71"/>
                  </a:lnTo>
                  <a:lnTo>
                    <a:pt x="63735" y="114"/>
                  </a:lnTo>
                  <a:lnTo>
                    <a:pt x="63823" y="167"/>
                  </a:lnTo>
                  <a:lnTo>
                    <a:pt x="63910" y="228"/>
                  </a:lnTo>
                  <a:lnTo>
                    <a:pt x="63982" y="290"/>
                  </a:lnTo>
                  <a:lnTo>
                    <a:pt x="64054" y="377"/>
                  </a:lnTo>
                  <a:lnTo>
                    <a:pt x="64110" y="465"/>
                  </a:lnTo>
                  <a:lnTo>
                    <a:pt x="64166" y="570"/>
                  </a:lnTo>
                  <a:lnTo>
                    <a:pt x="64214" y="684"/>
                  </a:lnTo>
                  <a:lnTo>
                    <a:pt x="64190" y="772"/>
                  </a:lnTo>
                  <a:lnTo>
                    <a:pt x="64182" y="868"/>
                  </a:lnTo>
                  <a:lnTo>
                    <a:pt x="64190" y="965"/>
                  </a:lnTo>
                  <a:lnTo>
                    <a:pt x="64206" y="1096"/>
                  </a:lnTo>
                  <a:lnTo>
                    <a:pt x="64214" y="1210"/>
                  </a:lnTo>
                  <a:lnTo>
                    <a:pt x="64238" y="1333"/>
                  </a:lnTo>
                  <a:lnTo>
                    <a:pt x="64270" y="1473"/>
                  </a:lnTo>
                  <a:lnTo>
                    <a:pt x="64309" y="1596"/>
                  </a:lnTo>
                  <a:lnTo>
                    <a:pt x="64349" y="1719"/>
                  </a:lnTo>
                  <a:lnTo>
                    <a:pt x="64389" y="1842"/>
                  </a:lnTo>
                  <a:lnTo>
                    <a:pt x="64453" y="1956"/>
                  </a:lnTo>
                  <a:lnTo>
                    <a:pt x="64501" y="2078"/>
                  </a:lnTo>
                  <a:lnTo>
                    <a:pt x="64557" y="2166"/>
                  </a:lnTo>
                  <a:lnTo>
                    <a:pt x="64621" y="2254"/>
                  </a:lnTo>
                  <a:lnTo>
                    <a:pt x="64676" y="2324"/>
                  </a:lnTo>
                  <a:lnTo>
                    <a:pt x="64740" y="2377"/>
                  </a:lnTo>
                  <a:lnTo>
                    <a:pt x="64828" y="2438"/>
                  </a:lnTo>
                  <a:lnTo>
                    <a:pt x="64924" y="2482"/>
                  </a:lnTo>
                  <a:lnTo>
                    <a:pt x="65012" y="2499"/>
                  </a:lnTo>
                  <a:lnTo>
                    <a:pt x="65107" y="2526"/>
                  </a:lnTo>
                  <a:lnTo>
                    <a:pt x="65275" y="2534"/>
                  </a:lnTo>
                  <a:lnTo>
                    <a:pt x="65427" y="2552"/>
                  </a:lnTo>
                  <a:lnTo>
                    <a:pt x="65490" y="2569"/>
                  </a:lnTo>
                  <a:lnTo>
                    <a:pt x="65562" y="2587"/>
                  </a:lnTo>
                  <a:lnTo>
                    <a:pt x="65610" y="2631"/>
                  </a:lnTo>
                  <a:lnTo>
                    <a:pt x="65658" y="2683"/>
                  </a:lnTo>
                  <a:lnTo>
                    <a:pt x="65690" y="2745"/>
                  </a:lnTo>
                  <a:lnTo>
                    <a:pt x="65722" y="2832"/>
                  </a:lnTo>
                  <a:lnTo>
                    <a:pt x="65738" y="2955"/>
                  </a:lnTo>
                  <a:lnTo>
                    <a:pt x="65754" y="3095"/>
                  </a:lnTo>
                  <a:lnTo>
                    <a:pt x="65762" y="3420"/>
                  </a:lnTo>
                  <a:lnTo>
                    <a:pt x="65786" y="3753"/>
                  </a:lnTo>
                  <a:lnTo>
                    <a:pt x="65826" y="4113"/>
                  </a:lnTo>
                  <a:lnTo>
                    <a:pt x="65881" y="4463"/>
                  </a:lnTo>
                  <a:lnTo>
                    <a:pt x="65953" y="4823"/>
                  </a:lnTo>
                  <a:lnTo>
                    <a:pt x="66033" y="5165"/>
                  </a:lnTo>
                  <a:lnTo>
                    <a:pt x="66121" y="5489"/>
                  </a:lnTo>
                  <a:lnTo>
                    <a:pt x="66225" y="5796"/>
                  </a:lnTo>
                  <a:lnTo>
                    <a:pt x="66256" y="5884"/>
                  </a:lnTo>
                  <a:lnTo>
                    <a:pt x="66304" y="5963"/>
                  </a:lnTo>
                  <a:lnTo>
                    <a:pt x="66352" y="6041"/>
                  </a:lnTo>
                  <a:lnTo>
                    <a:pt x="66408" y="6103"/>
                  </a:lnTo>
                  <a:lnTo>
                    <a:pt x="66464" y="6164"/>
                  </a:lnTo>
                  <a:lnTo>
                    <a:pt x="66528" y="6217"/>
                  </a:lnTo>
                  <a:lnTo>
                    <a:pt x="66600" y="6261"/>
                  </a:lnTo>
                  <a:lnTo>
                    <a:pt x="66671" y="6305"/>
                  </a:lnTo>
                  <a:lnTo>
                    <a:pt x="66751" y="6331"/>
                  </a:lnTo>
                  <a:lnTo>
                    <a:pt x="66831" y="6366"/>
                  </a:lnTo>
                  <a:lnTo>
                    <a:pt x="66919" y="6383"/>
                  </a:lnTo>
                  <a:lnTo>
                    <a:pt x="67007" y="6401"/>
                  </a:lnTo>
                  <a:lnTo>
                    <a:pt x="67182" y="6436"/>
                  </a:lnTo>
                  <a:lnTo>
                    <a:pt x="67374" y="6454"/>
                  </a:lnTo>
                  <a:lnTo>
                    <a:pt x="67773" y="6480"/>
                  </a:lnTo>
                  <a:lnTo>
                    <a:pt x="68164" y="6489"/>
                  </a:lnTo>
                  <a:lnTo>
                    <a:pt x="68355" y="6506"/>
                  </a:lnTo>
                  <a:lnTo>
                    <a:pt x="68531" y="6532"/>
                  </a:lnTo>
                  <a:lnTo>
                    <a:pt x="68706" y="6559"/>
                  </a:lnTo>
                  <a:lnTo>
                    <a:pt x="68858" y="6611"/>
                  </a:lnTo>
                  <a:lnTo>
                    <a:pt x="68938" y="6638"/>
                  </a:lnTo>
                  <a:lnTo>
                    <a:pt x="69033" y="6664"/>
                  </a:lnTo>
                  <a:lnTo>
                    <a:pt x="69129" y="6708"/>
                  </a:lnTo>
                  <a:lnTo>
                    <a:pt x="69225" y="6760"/>
                  </a:lnTo>
                  <a:lnTo>
                    <a:pt x="69321" y="6813"/>
                  </a:lnTo>
                  <a:lnTo>
                    <a:pt x="69408" y="6874"/>
                  </a:lnTo>
                  <a:lnTo>
                    <a:pt x="69504" y="6936"/>
                  </a:lnTo>
                  <a:lnTo>
                    <a:pt x="69584" y="7006"/>
                  </a:lnTo>
                  <a:lnTo>
                    <a:pt x="69664" y="7094"/>
                  </a:lnTo>
                  <a:lnTo>
                    <a:pt x="69736" y="7181"/>
                  </a:lnTo>
                  <a:lnTo>
                    <a:pt x="69815" y="7260"/>
                  </a:lnTo>
                  <a:lnTo>
                    <a:pt x="69879" y="7348"/>
                  </a:lnTo>
                  <a:lnTo>
                    <a:pt x="69935" y="7436"/>
                  </a:lnTo>
                  <a:lnTo>
                    <a:pt x="69991" y="7532"/>
                  </a:lnTo>
                  <a:lnTo>
                    <a:pt x="70039" y="7628"/>
                  </a:lnTo>
                  <a:lnTo>
                    <a:pt x="70079" y="7716"/>
                  </a:lnTo>
                  <a:lnTo>
                    <a:pt x="70135" y="7865"/>
                  </a:lnTo>
                  <a:lnTo>
                    <a:pt x="70175" y="8005"/>
                  </a:lnTo>
                  <a:lnTo>
                    <a:pt x="70206" y="8146"/>
                  </a:lnTo>
                  <a:lnTo>
                    <a:pt x="70230" y="8286"/>
                  </a:lnTo>
                  <a:lnTo>
                    <a:pt x="70254" y="8426"/>
                  </a:lnTo>
                  <a:lnTo>
                    <a:pt x="70262" y="8575"/>
                  </a:lnTo>
                  <a:lnTo>
                    <a:pt x="70270" y="8724"/>
                  </a:lnTo>
                  <a:lnTo>
                    <a:pt x="70270" y="8882"/>
                  </a:lnTo>
                  <a:lnTo>
                    <a:pt x="70270" y="9084"/>
                  </a:lnTo>
                  <a:lnTo>
                    <a:pt x="70286" y="9294"/>
                  </a:lnTo>
                  <a:lnTo>
                    <a:pt x="70310" y="9514"/>
                  </a:lnTo>
                  <a:lnTo>
                    <a:pt x="70318" y="9724"/>
                  </a:lnTo>
                  <a:lnTo>
                    <a:pt x="70318" y="9943"/>
                  </a:lnTo>
                  <a:lnTo>
                    <a:pt x="70310" y="10154"/>
                  </a:lnTo>
                  <a:lnTo>
                    <a:pt x="70302" y="10241"/>
                  </a:lnTo>
                  <a:lnTo>
                    <a:pt x="70278" y="10346"/>
                  </a:lnTo>
                  <a:lnTo>
                    <a:pt x="70254" y="10443"/>
                  </a:lnTo>
                  <a:lnTo>
                    <a:pt x="70214" y="10539"/>
                  </a:lnTo>
                  <a:lnTo>
                    <a:pt x="70143" y="10715"/>
                  </a:lnTo>
                  <a:lnTo>
                    <a:pt x="70063" y="10890"/>
                  </a:lnTo>
                  <a:lnTo>
                    <a:pt x="69975" y="11065"/>
                  </a:lnTo>
                  <a:lnTo>
                    <a:pt x="69879" y="11250"/>
                  </a:lnTo>
                  <a:lnTo>
                    <a:pt x="69823" y="11328"/>
                  </a:lnTo>
                  <a:lnTo>
                    <a:pt x="69776" y="11407"/>
                  </a:lnTo>
                  <a:lnTo>
                    <a:pt x="69712" y="11478"/>
                  </a:lnTo>
                  <a:lnTo>
                    <a:pt x="69640" y="11548"/>
                  </a:lnTo>
                  <a:lnTo>
                    <a:pt x="69576" y="11609"/>
                  </a:lnTo>
                  <a:lnTo>
                    <a:pt x="69512" y="11662"/>
                  </a:lnTo>
                  <a:lnTo>
                    <a:pt x="69424" y="11706"/>
                  </a:lnTo>
                  <a:lnTo>
                    <a:pt x="69353" y="11749"/>
                  </a:lnTo>
                  <a:lnTo>
                    <a:pt x="69257" y="11828"/>
                  </a:lnTo>
                  <a:lnTo>
                    <a:pt x="69161" y="11907"/>
                  </a:lnTo>
                  <a:lnTo>
                    <a:pt x="69057" y="11969"/>
                  </a:lnTo>
                  <a:lnTo>
                    <a:pt x="68954" y="12030"/>
                  </a:lnTo>
                  <a:lnTo>
                    <a:pt x="68834" y="12074"/>
                  </a:lnTo>
                  <a:lnTo>
                    <a:pt x="68722" y="12109"/>
                  </a:lnTo>
                  <a:lnTo>
                    <a:pt x="68610" y="12153"/>
                  </a:lnTo>
                  <a:lnTo>
                    <a:pt x="68483" y="12188"/>
                  </a:lnTo>
                  <a:lnTo>
                    <a:pt x="68251" y="12232"/>
                  </a:lnTo>
                  <a:lnTo>
                    <a:pt x="68004" y="12258"/>
                  </a:lnTo>
                  <a:lnTo>
                    <a:pt x="67741" y="12275"/>
                  </a:lnTo>
                  <a:lnTo>
                    <a:pt x="67501" y="12293"/>
                  </a:lnTo>
                  <a:lnTo>
                    <a:pt x="67254" y="12310"/>
                  </a:lnTo>
                  <a:lnTo>
                    <a:pt x="67015" y="12319"/>
                  </a:lnTo>
                  <a:lnTo>
                    <a:pt x="66783" y="12354"/>
                  </a:lnTo>
                  <a:lnTo>
                    <a:pt x="66568" y="12398"/>
                  </a:lnTo>
                  <a:lnTo>
                    <a:pt x="66472" y="12424"/>
                  </a:lnTo>
                  <a:lnTo>
                    <a:pt x="66376" y="12460"/>
                  </a:lnTo>
                  <a:lnTo>
                    <a:pt x="66280" y="12486"/>
                  </a:lnTo>
                  <a:lnTo>
                    <a:pt x="66201" y="12538"/>
                  </a:lnTo>
                  <a:lnTo>
                    <a:pt x="66121" y="12591"/>
                  </a:lnTo>
                  <a:lnTo>
                    <a:pt x="66041" y="12644"/>
                  </a:lnTo>
                  <a:lnTo>
                    <a:pt x="65977" y="12714"/>
                  </a:lnTo>
                  <a:lnTo>
                    <a:pt x="65921" y="12793"/>
                  </a:lnTo>
                  <a:lnTo>
                    <a:pt x="65873" y="12863"/>
                  </a:lnTo>
                  <a:lnTo>
                    <a:pt x="65834" y="12933"/>
                  </a:lnTo>
                  <a:lnTo>
                    <a:pt x="65810" y="13012"/>
                  </a:lnTo>
                  <a:lnTo>
                    <a:pt x="65778" y="13082"/>
                  </a:lnTo>
                  <a:lnTo>
                    <a:pt x="65762" y="13170"/>
                  </a:lnTo>
                  <a:lnTo>
                    <a:pt x="65754" y="13240"/>
                  </a:lnTo>
                  <a:lnTo>
                    <a:pt x="65738" y="13310"/>
                  </a:lnTo>
                  <a:lnTo>
                    <a:pt x="65730" y="13398"/>
                  </a:lnTo>
                  <a:lnTo>
                    <a:pt x="65738" y="13556"/>
                  </a:lnTo>
                  <a:lnTo>
                    <a:pt x="65762" y="13713"/>
                  </a:lnTo>
                  <a:lnTo>
                    <a:pt x="65802" y="13880"/>
                  </a:lnTo>
                  <a:lnTo>
                    <a:pt x="65857" y="14029"/>
                  </a:lnTo>
                  <a:lnTo>
                    <a:pt x="65921" y="14178"/>
                  </a:lnTo>
                  <a:lnTo>
                    <a:pt x="66001" y="14336"/>
                  </a:lnTo>
                  <a:lnTo>
                    <a:pt x="66081" y="14485"/>
                  </a:lnTo>
                  <a:lnTo>
                    <a:pt x="66177" y="14625"/>
                  </a:lnTo>
                  <a:lnTo>
                    <a:pt x="66272" y="14757"/>
                  </a:lnTo>
                  <a:lnTo>
                    <a:pt x="66376" y="14879"/>
                  </a:lnTo>
                  <a:lnTo>
                    <a:pt x="66480" y="15002"/>
                  </a:lnTo>
                  <a:lnTo>
                    <a:pt x="66576" y="15107"/>
                  </a:lnTo>
                  <a:lnTo>
                    <a:pt x="66663" y="15195"/>
                  </a:lnTo>
                  <a:lnTo>
                    <a:pt x="66727" y="15283"/>
                  </a:lnTo>
                  <a:lnTo>
                    <a:pt x="66791" y="15388"/>
                  </a:lnTo>
                  <a:lnTo>
                    <a:pt x="66855" y="15502"/>
                  </a:lnTo>
                  <a:lnTo>
                    <a:pt x="66903" y="15616"/>
                  </a:lnTo>
                  <a:lnTo>
                    <a:pt x="66951" y="15748"/>
                  </a:lnTo>
                  <a:lnTo>
                    <a:pt x="66983" y="15870"/>
                  </a:lnTo>
                  <a:lnTo>
                    <a:pt x="67023" y="16002"/>
                  </a:lnTo>
                  <a:lnTo>
                    <a:pt x="67078" y="16274"/>
                  </a:lnTo>
                  <a:lnTo>
                    <a:pt x="67126" y="16554"/>
                  </a:lnTo>
                  <a:lnTo>
                    <a:pt x="67174" y="16843"/>
                  </a:lnTo>
                  <a:lnTo>
                    <a:pt x="67214" y="17124"/>
                  </a:lnTo>
                  <a:lnTo>
                    <a:pt x="67262" y="17396"/>
                  </a:lnTo>
                  <a:lnTo>
                    <a:pt x="67310" y="17650"/>
                  </a:lnTo>
                  <a:lnTo>
                    <a:pt x="67334" y="17764"/>
                  </a:lnTo>
                  <a:lnTo>
                    <a:pt x="67366" y="17887"/>
                  </a:lnTo>
                  <a:lnTo>
                    <a:pt x="67406" y="17983"/>
                  </a:lnTo>
                  <a:lnTo>
                    <a:pt x="67453" y="18080"/>
                  </a:lnTo>
                  <a:lnTo>
                    <a:pt x="67485" y="18176"/>
                  </a:lnTo>
                  <a:lnTo>
                    <a:pt x="67541" y="18255"/>
                  </a:lnTo>
                  <a:lnTo>
                    <a:pt x="67605" y="18325"/>
                  </a:lnTo>
                  <a:lnTo>
                    <a:pt x="67669" y="18387"/>
                  </a:lnTo>
                  <a:lnTo>
                    <a:pt x="67733" y="18439"/>
                  </a:lnTo>
                  <a:lnTo>
                    <a:pt x="67821" y="18466"/>
                  </a:lnTo>
                  <a:lnTo>
                    <a:pt x="67908" y="18492"/>
                  </a:lnTo>
                  <a:lnTo>
                    <a:pt x="68004" y="18501"/>
                  </a:lnTo>
                  <a:lnTo>
                    <a:pt x="68132" y="18501"/>
                  </a:lnTo>
                  <a:lnTo>
                    <a:pt x="68267" y="18501"/>
                  </a:lnTo>
                  <a:lnTo>
                    <a:pt x="68403" y="18501"/>
                  </a:lnTo>
                  <a:lnTo>
                    <a:pt x="68531" y="18501"/>
                  </a:lnTo>
                  <a:lnTo>
                    <a:pt x="67769" y="18871"/>
                  </a:lnTo>
                  <a:lnTo>
                    <a:pt x="68107" y="18843"/>
                  </a:lnTo>
                  <a:lnTo>
                    <a:pt x="68792" y="18495"/>
                  </a:lnTo>
                  <a:lnTo>
                    <a:pt x="68731" y="18272"/>
                  </a:lnTo>
                  <a:lnTo>
                    <a:pt x="68970" y="18272"/>
                  </a:lnTo>
                  <a:lnTo>
                    <a:pt x="69192" y="18281"/>
                  </a:lnTo>
                  <a:lnTo>
                    <a:pt x="69210" y="18282"/>
                  </a:lnTo>
                  <a:lnTo>
                    <a:pt x="69230" y="18272"/>
                  </a:lnTo>
                  <a:lnTo>
                    <a:pt x="69233" y="18284"/>
                  </a:lnTo>
                  <a:lnTo>
                    <a:pt x="69430" y="18299"/>
                  </a:lnTo>
                  <a:lnTo>
                    <a:pt x="69652" y="18326"/>
                  </a:lnTo>
                  <a:lnTo>
                    <a:pt x="69866" y="18362"/>
                  </a:lnTo>
                  <a:lnTo>
                    <a:pt x="70096" y="18407"/>
                  </a:lnTo>
                  <a:lnTo>
                    <a:pt x="70318" y="18460"/>
                  </a:lnTo>
                  <a:lnTo>
                    <a:pt x="70557" y="18541"/>
                  </a:lnTo>
                  <a:lnTo>
                    <a:pt x="70614" y="18559"/>
                  </a:lnTo>
                  <a:lnTo>
                    <a:pt x="70688" y="18604"/>
                  </a:lnTo>
                  <a:lnTo>
                    <a:pt x="70787" y="18666"/>
                  </a:lnTo>
                  <a:lnTo>
                    <a:pt x="70886" y="18738"/>
                  </a:lnTo>
                  <a:lnTo>
                    <a:pt x="71001" y="18828"/>
                  </a:lnTo>
                  <a:lnTo>
                    <a:pt x="71108" y="18908"/>
                  </a:lnTo>
                  <a:lnTo>
                    <a:pt x="71214" y="19016"/>
                  </a:lnTo>
                  <a:lnTo>
                    <a:pt x="71313" y="19115"/>
                  </a:lnTo>
                  <a:lnTo>
                    <a:pt x="71404" y="19222"/>
                  </a:lnTo>
                  <a:lnTo>
                    <a:pt x="71469" y="19330"/>
                  </a:lnTo>
                  <a:lnTo>
                    <a:pt x="71502" y="19383"/>
                  </a:lnTo>
                  <a:lnTo>
                    <a:pt x="71519" y="19419"/>
                  </a:lnTo>
                  <a:lnTo>
                    <a:pt x="71527" y="19473"/>
                  </a:lnTo>
                  <a:lnTo>
                    <a:pt x="71543" y="19518"/>
                  </a:lnTo>
                  <a:lnTo>
                    <a:pt x="71527" y="19572"/>
                  </a:lnTo>
                  <a:lnTo>
                    <a:pt x="71519" y="19616"/>
                  </a:lnTo>
                  <a:lnTo>
                    <a:pt x="71502" y="19643"/>
                  </a:lnTo>
                  <a:lnTo>
                    <a:pt x="71469" y="19688"/>
                  </a:lnTo>
                  <a:lnTo>
                    <a:pt x="71445" y="19724"/>
                  </a:lnTo>
                  <a:lnTo>
                    <a:pt x="71387" y="19751"/>
                  </a:lnTo>
                  <a:lnTo>
                    <a:pt x="71321" y="19787"/>
                  </a:lnTo>
                  <a:lnTo>
                    <a:pt x="71256" y="19805"/>
                  </a:lnTo>
                  <a:lnTo>
                    <a:pt x="71247" y="19858"/>
                  </a:lnTo>
                  <a:lnTo>
                    <a:pt x="71231" y="19903"/>
                  </a:lnTo>
                  <a:lnTo>
                    <a:pt x="71190" y="19930"/>
                  </a:lnTo>
                  <a:lnTo>
                    <a:pt x="71149" y="19957"/>
                  </a:lnTo>
                  <a:lnTo>
                    <a:pt x="71140" y="20020"/>
                  </a:lnTo>
                  <a:lnTo>
                    <a:pt x="71132" y="20091"/>
                  </a:lnTo>
                  <a:lnTo>
                    <a:pt x="71108" y="20154"/>
                  </a:lnTo>
                  <a:lnTo>
                    <a:pt x="71091" y="20208"/>
                  </a:lnTo>
                  <a:lnTo>
                    <a:pt x="71034" y="20342"/>
                  </a:lnTo>
                  <a:lnTo>
                    <a:pt x="70976" y="20468"/>
                  </a:lnTo>
                  <a:lnTo>
                    <a:pt x="70943" y="20530"/>
                  </a:lnTo>
                  <a:lnTo>
                    <a:pt x="70918" y="20602"/>
                  </a:lnTo>
                  <a:lnTo>
                    <a:pt x="70894" y="20674"/>
                  </a:lnTo>
                  <a:lnTo>
                    <a:pt x="70886" y="20754"/>
                  </a:lnTo>
                  <a:lnTo>
                    <a:pt x="70877" y="20844"/>
                  </a:lnTo>
                  <a:lnTo>
                    <a:pt x="70877" y="20925"/>
                  </a:lnTo>
                  <a:lnTo>
                    <a:pt x="70886" y="21032"/>
                  </a:lnTo>
                  <a:lnTo>
                    <a:pt x="70902" y="21140"/>
                  </a:lnTo>
                  <a:lnTo>
                    <a:pt x="71058" y="21158"/>
                  </a:lnTo>
                  <a:lnTo>
                    <a:pt x="71288" y="21194"/>
                  </a:lnTo>
                  <a:lnTo>
                    <a:pt x="71552" y="21238"/>
                  </a:lnTo>
                  <a:lnTo>
                    <a:pt x="71831" y="21301"/>
                  </a:lnTo>
                  <a:lnTo>
                    <a:pt x="71979" y="21328"/>
                  </a:lnTo>
                  <a:lnTo>
                    <a:pt x="72119" y="21373"/>
                  </a:lnTo>
                  <a:lnTo>
                    <a:pt x="72234" y="21418"/>
                  </a:lnTo>
                  <a:lnTo>
                    <a:pt x="72349" y="21471"/>
                  </a:lnTo>
                  <a:lnTo>
                    <a:pt x="72448" y="21516"/>
                  </a:lnTo>
                  <a:lnTo>
                    <a:pt x="72530" y="21579"/>
                  </a:lnTo>
                  <a:lnTo>
                    <a:pt x="72555" y="21597"/>
                  </a:lnTo>
                  <a:lnTo>
                    <a:pt x="72579" y="21633"/>
                  </a:lnTo>
                  <a:lnTo>
                    <a:pt x="72596" y="21660"/>
                  </a:lnTo>
                  <a:lnTo>
                    <a:pt x="72604" y="21695"/>
                  </a:lnTo>
                  <a:lnTo>
                    <a:pt x="72645" y="21722"/>
                  </a:lnTo>
                  <a:lnTo>
                    <a:pt x="72678" y="21767"/>
                  </a:lnTo>
                  <a:lnTo>
                    <a:pt x="72703" y="21830"/>
                  </a:lnTo>
                  <a:lnTo>
                    <a:pt x="72727" y="21919"/>
                  </a:lnTo>
                  <a:lnTo>
                    <a:pt x="72760" y="22117"/>
                  </a:lnTo>
                  <a:lnTo>
                    <a:pt x="72785" y="22367"/>
                  </a:lnTo>
                  <a:lnTo>
                    <a:pt x="72826" y="22842"/>
                  </a:lnTo>
                  <a:lnTo>
                    <a:pt x="72851" y="23174"/>
                  </a:lnTo>
                  <a:lnTo>
                    <a:pt x="72917" y="23434"/>
                  </a:lnTo>
                  <a:lnTo>
                    <a:pt x="72982" y="23676"/>
                  </a:lnTo>
                  <a:lnTo>
                    <a:pt x="73040" y="23909"/>
                  </a:lnTo>
                  <a:lnTo>
                    <a:pt x="73106" y="24124"/>
                  </a:lnTo>
                  <a:lnTo>
                    <a:pt x="73171" y="24330"/>
                  </a:lnTo>
                  <a:lnTo>
                    <a:pt x="73245" y="24509"/>
                  </a:lnTo>
                  <a:lnTo>
                    <a:pt x="73319" y="24688"/>
                  </a:lnTo>
                  <a:lnTo>
                    <a:pt x="73402" y="24859"/>
                  </a:lnTo>
                  <a:lnTo>
                    <a:pt x="73476" y="25011"/>
                  </a:lnTo>
                  <a:lnTo>
                    <a:pt x="73566" y="25163"/>
                  </a:lnTo>
                  <a:lnTo>
                    <a:pt x="73657" y="25289"/>
                  </a:lnTo>
                  <a:lnTo>
                    <a:pt x="73755" y="25414"/>
                  </a:lnTo>
                  <a:lnTo>
                    <a:pt x="73846" y="25531"/>
                  </a:lnTo>
                  <a:lnTo>
                    <a:pt x="73944" y="25638"/>
                  </a:lnTo>
                  <a:lnTo>
                    <a:pt x="74051" y="25737"/>
                  </a:lnTo>
                  <a:lnTo>
                    <a:pt x="74175" y="25836"/>
                  </a:lnTo>
                  <a:lnTo>
                    <a:pt x="74281" y="25916"/>
                  </a:lnTo>
                  <a:lnTo>
                    <a:pt x="74405" y="26006"/>
                  </a:lnTo>
                  <a:lnTo>
                    <a:pt x="74536" y="26077"/>
                  </a:lnTo>
                  <a:lnTo>
                    <a:pt x="74668" y="26149"/>
                  </a:lnTo>
                  <a:lnTo>
                    <a:pt x="74956" y="26284"/>
                  </a:lnTo>
                  <a:lnTo>
                    <a:pt x="75268" y="26400"/>
                  </a:lnTo>
                  <a:lnTo>
                    <a:pt x="75597" y="26517"/>
                  </a:lnTo>
                  <a:lnTo>
                    <a:pt x="75975" y="26624"/>
                  </a:lnTo>
                  <a:lnTo>
                    <a:pt x="76362" y="26732"/>
                  </a:lnTo>
                  <a:lnTo>
                    <a:pt x="76798" y="26848"/>
                  </a:lnTo>
                  <a:lnTo>
                    <a:pt x="76806" y="26974"/>
                  </a:lnTo>
                  <a:lnTo>
                    <a:pt x="76847" y="27108"/>
                  </a:lnTo>
                  <a:lnTo>
                    <a:pt x="76880" y="27260"/>
                  </a:lnTo>
                  <a:lnTo>
                    <a:pt x="76937" y="27413"/>
                  </a:lnTo>
                  <a:lnTo>
                    <a:pt x="77003" y="27583"/>
                  </a:lnTo>
                  <a:lnTo>
                    <a:pt x="77044" y="27753"/>
                  </a:lnTo>
                  <a:lnTo>
                    <a:pt x="77061" y="27834"/>
                  </a:lnTo>
                  <a:lnTo>
                    <a:pt x="77077" y="27924"/>
                  </a:lnTo>
                  <a:lnTo>
                    <a:pt x="77085" y="28004"/>
                  </a:lnTo>
                  <a:lnTo>
                    <a:pt x="77085" y="28094"/>
                  </a:lnTo>
                  <a:lnTo>
                    <a:pt x="76962" y="28569"/>
                  </a:lnTo>
                  <a:lnTo>
                    <a:pt x="76872" y="29008"/>
                  </a:lnTo>
                  <a:lnTo>
                    <a:pt x="76822" y="29411"/>
                  </a:lnTo>
                  <a:lnTo>
                    <a:pt x="76814" y="29778"/>
                  </a:lnTo>
                  <a:lnTo>
                    <a:pt x="76831" y="30110"/>
                  </a:lnTo>
                  <a:lnTo>
                    <a:pt x="76888" y="30406"/>
                  </a:lnTo>
                  <a:lnTo>
                    <a:pt x="76979" y="30666"/>
                  </a:lnTo>
                  <a:lnTo>
                    <a:pt x="77094" y="30899"/>
                  </a:lnTo>
                  <a:lnTo>
                    <a:pt x="77233" y="31114"/>
                  </a:lnTo>
                  <a:lnTo>
                    <a:pt x="77398" y="31293"/>
                  </a:lnTo>
                  <a:lnTo>
                    <a:pt x="77595" y="31463"/>
                  </a:lnTo>
                  <a:lnTo>
                    <a:pt x="77801" y="31598"/>
                  </a:lnTo>
                  <a:lnTo>
                    <a:pt x="78023" y="31732"/>
                  </a:lnTo>
                  <a:lnTo>
                    <a:pt x="78269" y="31849"/>
                  </a:lnTo>
                  <a:lnTo>
                    <a:pt x="78524" y="31956"/>
                  </a:lnTo>
                  <a:lnTo>
                    <a:pt x="78796" y="32037"/>
                  </a:lnTo>
                  <a:lnTo>
                    <a:pt x="79363" y="32207"/>
                  </a:lnTo>
                  <a:lnTo>
                    <a:pt x="79955" y="32359"/>
                  </a:lnTo>
                  <a:lnTo>
                    <a:pt x="80259" y="32431"/>
                  </a:lnTo>
                  <a:lnTo>
                    <a:pt x="80547" y="32521"/>
                  </a:lnTo>
                  <a:lnTo>
                    <a:pt x="80843" y="32610"/>
                  </a:lnTo>
                  <a:lnTo>
                    <a:pt x="81139" y="32709"/>
                  </a:lnTo>
                  <a:lnTo>
                    <a:pt x="81419" y="32816"/>
                  </a:lnTo>
                  <a:lnTo>
                    <a:pt x="81707" y="32942"/>
                  </a:lnTo>
                  <a:lnTo>
                    <a:pt x="81970" y="33085"/>
                  </a:lnTo>
                  <a:lnTo>
                    <a:pt x="82225" y="33229"/>
                  </a:lnTo>
                  <a:lnTo>
                    <a:pt x="82455" y="33417"/>
                  </a:lnTo>
                  <a:lnTo>
                    <a:pt x="82677" y="33614"/>
                  </a:lnTo>
                  <a:lnTo>
                    <a:pt x="82882" y="33838"/>
                  </a:lnTo>
                  <a:lnTo>
                    <a:pt x="83063" y="34098"/>
                  </a:lnTo>
                  <a:lnTo>
                    <a:pt x="83088" y="34161"/>
                  </a:lnTo>
                  <a:lnTo>
                    <a:pt x="83113" y="34268"/>
                  </a:lnTo>
                  <a:lnTo>
                    <a:pt x="83146" y="34403"/>
                  </a:lnTo>
                  <a:lnTo>
                    <a:pt x="83162" y="34591"/>
                  </a:lnTo>
                  <a:lnTo>
                    <a:pt x="83211" y="35012"/>
                  </a:lnTo>
                  <a:lnTo>
                    <a:pt x="83252" y="35550"/>
                  </a:lnTo>
                  <a:lnTo>
                    <a:pt x="83310" y="36132"/>
                  </a:lnTo>
                  <a:lnTo>
                    <a:pt x="83368" y="36750"/>
                  </a:lnTo>
                  <a:lnTo>
                    <a:pt x="83433" y="37396"/>
                  </a:lnTo>
                  <a:lnTo>
                    <a:pt x="83524" y="37996"/>
                  </a:lnTo>
                  <a:lnTo>
                    <a:pt x="83581" y="38301"/>
                  </a:lnTo>
                  <a:lnTo>
                    <a:pt x="83639" y="38579"/>
                  </a:lnTo>
                  <a:lnTo>
                    <a:pt x="83705" y="38829"/>
                  </a:lnTo>
                  <a:lnTo>
                    <a:pt x="83770" y="39062"/>
                  </a:lnTo>
                  <a:lnTo>
                    <a:pt x="83844" y="39278"/>
                  </a:lnTo>
                  <a:lnTo>
                    <a:pt x="83927" y="39457"/>
                  </a:lnTo>
                  <a:lnTo>
                    <a:pt x="84017" y="39609"/>
                  </a:lnTo>
                  <a:lnTo>
                    <a:pt x="84108" y="39726"/>
                  </a:lnTo>
                  <a:lnTo>
                    <a:pt x="84223" y="39815"/>
                  </a:lnTo>
                  <a:lnTo>
                    <a:pt x="84338" y="39842"/>
                  </a:lnTo>
                  <a:lnTo>
                    <a:pt x="84453" y="39833"/>
                  </a:lnTo>
                  <a:lnTo>
                    <a:pt x="84593" y="39770"/>
                  </a:lnTo>
                  <a:lnTo>
                    <a:pt x="84741" y="39663"/>
                  </a:lnTo>
                  <a:lnTo>
                    <a:pt x="84897" y="39493"/>
                  </a:lnTo>
                  <a:lnTo>
                    <a:pt x="85061" y="39269"/>
                  </a:lnTo>
                  <a:lnTo>
                    <a:pt x="85234" y="38982"/>
                  </a:lnTo>
                  <a:lnTo>
                    <a:pt x="85366" y="38758"/>
                  </a:lnTo>
                  <a:lnTo>
                    <a:pt x="85514" y="38552"/>
                  </a:lnTo>
                  <a:lnTo>
                    <a:pt x="85645" y="38363"/>
                  </a:lnTo>
                  <a:lnTo>
                    <a:pt x="85802" y="38193"/>
                  </a:lnTo>
                  <a:lnTo>
                    <a:pt x="85950" y="38041"/>
                  </a:lnTo>
                  <a:lnTo>
                    <a:pt x="86106" y="37906"/>
                  </a:lnTo>
                  <a:lnTo>
                    <a:pt x="86270" y="37772"/>
                  </a:lnTo>
                  <a:lnTo>
                    <a:pt x="86443" y="37673"/>
                  </a:lnTo>
                  <a:lnTo>
                    <a:pt x="86616" y="37575"/>
                  </a:lnTo>
                  <a:lnTo>
                    <a:pt x="86788" y="37485"/>
                  </a:lnTo>
                  <a:lnTo>
                    <a:pt x="86969" y="37414"/>
                  </a:lnTo>
                  <a:lnTo>
                    <a:pt x="87158" y="37351"/>
                  </a:lnTo>
                  <a:lnTo>
                    <a:pt x="87339" y="37297"/>
                  </a:lnTo>
                  <a:lnTo>
                    <a:pt x="87528" y="37252"/>
                  </a:lnTo>
                  <a:lnTo>
                    <a:pt x="87726" y="37225"/>
                  </a:lnTo>
                  <a:lnTo>
                    <a:pt x="87915" y="37190"/>
                  </a:lnTo>
                  <a:lnTo>
                    <a:pt x="88112" y="37181"/>
                  </a:lnTo>
                  <a:lnTo>
                    <a:pt x="88318" y="37154"/>
                  </a:lnTo>
                  <a:lnTo>
                    <a:pt x="88523" y="37154"/>
                  </a:lnTo>
                  <a:lnTo>
                    <a:pt x="88729" y="37154"/>
                  </a:lnTo>
                  <a:lnTo>
                    <a:pt x="89156" y="37154"/>
                  </a:lnTo>
                  <a:lnTo>
                    <a:pt x="89592" y="37181"/>
                  </a:lnTo>
                  <a:lnTo>
                    <a:pt x="90028" y="37207"/>
                  </a:lnTo>
                  <a:lnTo>
                    <a:pt x="90480" y="37234"/>
                  </a:lnTo>
                  <a:lnTo>
                    <a:pt x="90932" y="37252"/>
                  </a:lnTo>
                  <a:lnTo>
                    <a:pt x="91393" y="37261"/>
                  </a:lnTo>
                  <a:lnTo>
                    <a:pt x="91459" y="37261"/>
                  </a:lnTo>
                  <a:lnTo>
                    <a:pt x="91508" y="37297"/>
                  </a:lnTo>
                  <a:lnTo>
                    <a:pt x="91549" y="37324"/>
                  </a:lnTo>
                  <a:lnTo>
                    <a:pt x="91574" y="37378"/>
                  </a:lnTo>
                  <a:lnTo>
                    <a:pt x="91607" y="37431"/>
                  </a:lnTo>
                  <a:lnTo>
                    <a:pt x="91615" y="37512"/>
                  </a:lnTo>
                  <a:lnTo>
                    <a:pt x="91623" y="37593"/>
                  </a:lnTo>
                  <a:lnTo>
                    <a:pt x="91623" y="37691"/>
                  </a:lnTo>
                  <a:lnTo>
                    <a:pt x="91599" y="37906"/>
                  </a:lnTo>
                  <a:lnTo>
                    <a:pt x="91557" y="38148"/>
                  </a:lnTo>
                  <a:lnTo>
                    <a:pt x="91500" y="38417"/>
                  </a:lnTo>
                  <a:lnTo>
                    <a:pt x="91418" y="38704"/>
                  </a:lnTo>
                  <a:lnTo>
                    <a:pt x="91253" y="39313"/>
                  </a:lnTo>
                  <a:lnTo>
                    <a:pt x="91089" y="39923"/>
                  </a:lnTo>
                  <a:lnTo>
                    <a:pt x="91006" y="40209"/>
                  </a:lnTo>
                  <a:lnTo>
                    <a:pt x="90957" y="40478"/>
                  </a:lnTo>
                  <a:lnTo>
                    <a:pt x="90932" y="40604"/>
                  </a:lnTo>
                  <a:lnTo>
                    <a:pt x="90924" y="40720"/>
                  </a:lnTo>
                  <a:lnTo>
                    <a:pt x="90908" y="40828"/>
                  </a:lnTo>
                  <a:lnTo>
                    <a:pt x="90900" y="40935"/>
                  </a:lnTo>
                  <a:lnTo>
                    <a:pt x="90908" y="41150"/>
                  </a:lnTo>
                  <a:lnTo>
                    <a:pt x="90941" y="41348"/>
                  </a:lnTo>
                  <a:lnTo>
                    <a:pt x="90982" y="41545"/>
                  </a:lnTo>
                  <a:lnTo>
                    <a:pt x="91031" y="41733"/>
                  </a:lnTo>
                  <a:lnTo>
                    <a:pt x="91089" y="41912"/>
                  </a:lnTo>
                  <a:lnTo>
                    <a:pt x="91163" y="42082"/>
                  </a:lnTo>
                  <a:lnTo>
                    <a:pt x="91245" y="42244"/>
                  </a:lnTo>
                  <a:lnTo>
                    <a:pt x="91335" y="42405"/>
                  </a:lnTo>
                  <a:lnTo>
                    <a:pt x="91524" y="42701"/>
                  </a:lnTo>
                  <a:lnTo>
                    <a:pt x="91722" y="42979"/>
                  </a:lnTo>
                  <a:lnTo>
                    <a:pt x="91927" y="43247"/>
                  </a:lnTo>
                  <a:lnTo>
                    <a:pt x="92125" y="43507"/>
                  </a:lnTo>
                  <a:lnTo>
                    <a:pt x="92215" y="43633"/>
                  </a:lnTo>
                  <a:lnTo>
                    <a:pt x="92289" y="43758"/>
                  </a:lnTo>
                  <a:lnTo>
                    <a:pt x="92355" y="43884"/>
                  </a:lnTo>
                  <a:lnTo>
                    <a:pt x="92429" y="44018"/>
                  </a:lnTo>
                  <a:lnTo>
                    <a:pt x="92478" y="44144"/>
                  </a:lnTo>
                  <a:lnTo>
                    <a:pt x="92511" y="44269"/>
                  </a:lnTo>
                  <a:lnTo>
                    <a:pt x="92536" y="44394"/>
                  </a:lnTo>
                  <a:lnTo>
                    <a:pt x="92544" y="44538"/>
                  </a:lnTo>
                  <a:lnTo>
                    <a:pt x="92536" y="44672"/>
                  </a:lnTo>
                  <a:lnTo>
                    <a:pt x="92503" y="44825"/>
                  </a:lnTo>
                  <a:lnTo>
                    <a:pt x="92454" y="44977"/>
                  </a:lnTo>
                  <a:lnTo>
                    <a:pt x="92380" y="45120"/>
                  </a:lnTo>
                  <a:lnTo>
                    <a:pt x="92289" y="45282"/>
                  </a:lnTo>
                  <a:lnTo>
                    <a:pt x="92174" y="45452"/>
                  </a:lnTo>
                  <a:lnTo>
                    <a:pt x="92026" y="45622"/>
                  </a:lnTo>
                  <a:lnTo>
                    <a:pt x="91862" y="45819"/>
                  </a:lnTo>
                  <a:lnTo>
                    <a:pt x="91730" y="45945"/>
                  </a:lnTo>
                  <a:lnTo>
                    <a:pt x="91615" y="46070"/>
                  </a:lnTo>
                  <a:lnTo>
                    <a:pt x="91500" y="46214"/>
                  </a:lnTo>
                  <a:lnTo>
                    <a:pt x="91401" y="46348"/>
                  </a:lnTo>
                  <a:lnTo>
                    <a:pt x="91311" y="46482"/>
                  </a:lnTo>
                  <a:lnTo>
                    <a:pt x="91220" y="46617"/>
                  </a:lnTo>
                  <a:lnTo>
                    <a:pt x="91146" y="46751"/>
                  </a:lnTo>
                  <a:lnTo>
                    <a:pt x="91100" y="46859"/>
                  </a:lnTo>
                  <a:lnTo>
                    <a:pt x="91345" y="46847"/>
                  </a:lnTo>
                  <a:lnTo>
                    <a:pt x="91252" y="47016"/>
                  </a:lnTo>
                  <a:lnTo>
                    <a:pt x="91185" y="47201"/>
                  </a:lnTo>
                  <a:lnTo>
                    <a:pt x="91108" y="47387"/>
                  </a:lnTo>
                  <a:lnTo>
                    <a:pt x="91049" y="47581"/>
                  </a:lnTo>
                  <a:lnTo>
                    <a:pt x="90998" y="47783"/>
                  </a:lnTo>
                  <a:lnTo>
                    <a:pt x="90956" y="47994"/>
                  </a:lnTo>
                  <a:lnTo>
                    <a:pt x="90922" y="48214"/>
                  </a:lnTo>
                  <a:lnTo>
                    <a:pt x="90889" y="48433"/>
                  </a:lnTo>
                  <a:lnTo>
                    <a:pt x="90415" y="51841"/>
                  </a:lnTo>
                  <a:lnTo>
                    <a:pt x="90110" y="52187"/>
                  </a:lnTo>
                  <a:lnTo>
                    <a:pt x="89890" y="52541"/>
                  </a:lnTo>
                  <a:lnTo>
                    <a:pt x="89721" y="52870"/>
                  </a:lnTo>
                  <a:lnTo>
                    <a:pt x="89611" y="53190"/>
                  </a:lnTo>
                  <a:lnTo>
                    <a:pt x="89561" y="53502"/>
                  </a:lnTo>
                  <a:lnTo>
                    <a:pt x="89561" y="53814"/>
                  </a:lnTo>
                  <a:lnTo>
                    <a:pt x="89603" y="54118"/>
                  </a:lnTo>
                  <a:lnTo>
                    <a:pt x="89687" y="54405"/>
                  </a:lnTo>
                  <a:lnTo>
                    <a:pt x="89823" y="54692"/>
                  </a:lnTo>
                  <a:lnTo>
                    <a:pt x="89984" y="54962"/>
                  </a:lnTo>
                  <a:lnTo>
                    <a:pt x="90186" y="55232"/>
                  </a:lnTo>
                  <a:lnTo>
                    <a:pt x="90415" y="55501"/>
                  </a:lnTo>
                  <a:lnTo>
                    <a:pt x="90669" y="55763"/>
                  </a:lnTo>
                  <a:lnTo>
                    <a:pt x="90939" y="56024"/>
                  </a:lnTo>
                  <a:lnTo>
                    <a:pt x="91244" y="56277"/>
                  </a:lnTo>
                  <a:lnTo>
                    <a:pt x="91557" y="56539"/>
                  </a:lnTo>
                  <a:lnTo>
                    <a:pt x="92200" y="57028"/>
                  </a:lnTo>
                  <a:lnTo>
                    <a:pt x="92868" y="57526"/>
                  </a:lnTo>
                  <a:lnTo>
                    <a:pt x="93206" y="57779"/>
                  </a:lnTo>
                  <a:lnTo>
                    <a:pt x="93536" y="58032"/>
                  </a:lnTo>
                  <a:lnTo>
                    <a:pt x="93849" y="58285"/>
                  </a:lnTo>
                  <a:lnTo>
                    <a:pt x="94162" y="58530"/>
                  </a:lnTo>
                  <a:lnTo>
                    <a:pt x="94441" y="58791"/>
                  </a:lnTo>
                  <a:lnTo>
                    <a:pt x="94712" y="59053"/>
                  </a:lnTo>
                  <a:lnTo>
                    <a:pt x="94957" y="59314"/>
                  </a:lnTo>
                  <a:lnTo>
                    <a:pt x="95168" y="59584"/>
                  </a:lnTo>
                  <a:lnTo>
                    <a:pt x="95354" y="59854"/>
                  </a:lnTo>
                  <a:lnTo>
                    <a:pt x="95507" y="60141"/>
                  </a:lnTo>
                  <a:lnTo>
                    <a:pt x="95617" y="60428"/>
                  </a:lnTo>
                  <a:lnTo>
                    <a:pt x="95693" y="60723"/>
                  </a:lnTo>
                  <a:lnTo>
                    <a:pt x="95718" y="60950"/>
                  </a:lnTo>
                  <a:lnTo>
                    <a:pt x="95718" y="61187"/>
                  </a:lnTo>
                  <a:lnTo>
                    <a:pt x="95710" y="61398"/>
                  </a:lnTo>
                  <a:lnTo>
                    <a:pt x="95676" y="61608"/>
                  </a:lnTo>
                  <a:lnTo>
                    <a:pt x="95625" y="61802"/>
                  </a:lnTo>
                  <a:lnTo>
                    <a:pt x="95557" y="61988"/>
                  </a:lnTo>
                  <a:lnTo>
                    <a:pt x="95481" y="62165"/>
                  </a:lnTo>
                  <a:lnTo>
                    <a:pt x="95380" y="62351"/>
                  </a:lnTo>
                  <a:lnTo>
                    <a:pt x="95270" y="62511"/>
                  </a:lnTo>
                  <a:lnTo>
                    <a:pt x="95135" y="62671"/>
                  </a:lnTo>
                  <a:lnTo>
                    <a:pt x="94991" y="62823"/>
                  </a:lnTo>
                  <a:lnTo>
                    <a:pt x="94847" y="62958"/>
                  </a:lnTo>
                  <a:lnTo>
                    <a:pt x="94686" y="63093"/>
                  </a:lnTo>
                  <a:lnTo>
                    <a:pt x="94526" y="63219"/>
                  </a:lnTo>
                  <a:lnTo>
                    <a:pt x="94339" y="63354"/>
                  </a:lnTo>
                  <a:lnTo>
                    <a:pt x="94153" y="63473"/>
                  </a:lnTo>
                  <a:lnTo>
                    <a:pt x="93959" y="63582"/>
                  </a:lnTo>
                  <a:lnTo>
                    <a:pt x="93756" y="63692"/>
                  </a:lnTo>
                  <a:lnTo>
                    <a:pt x="93553" y="63793"/>
                  </a:lnTo>
                  <a:lnTo>
                    <a:pt x="93358" y="63894"/>
                  </a:lnTo>
                  <a:lnTo>
                    <a:pt x="92935" y="64088"/>
                  </a:lnTo>
                  <a:lnTo>
                    <a:pt x="92512" y="64265"/>
                  </a:lnTo>
                  <a:lnTo>
                    <a:pt x="91684" y="64586"/>
                  </a:lnTo>
                  <a:lnTo>
                    <a:pt x="90939" y="64898"/>
                  </a:lnTo>
                  <a:lnTo>
                    <a:pt x="90609" y="65050"/>
                  </a:lnTo>
                  <a:lnTo>
                    <a:pt x="90271" y="65219"/>
                  </a:lnTo>
                  <a:lnTo>
                    <a:pt x="89941" y="65413"/>
                  </a:lnTo>
                  <a:lnTo>
                    <a:pt x="89603" y="65598"/>
                  </a:lnTo>
                  <a:lnTo>
                    <a:pt x="89273" y="65809"/>
                  </a:lnTo>
                  <a:lnTo>
                    <a:pt x="88935" y="66045"/>
                  </a:lnTo>
                  <a:lnTo>
                    <a:pt x="88605" y="66273"/>
                  </a:lnTo>
                  <a:lnTo>
                    <a:pt x="88292" y="66526"/>
                  </a:lnTo>
                  <a:lnTo>
                    <a:pt x="87979" y="66787"/>
                  </a:lnTo>
                  <a:lnTo>
                    <a:pt x="87691" y="67057"/>
                  </a:lnTo>
                  <a:lnTo>
                    <a:pt x="87404" y="67336"/>
                  </a:lnTo>
                  <a:lnTo>
                    <a:pt x="87142" y="67614"/>
                  </a:lnTo>
                  <a:lnTo>
                    <a:pt x="87023" y="67766"/>
                  </a:lnTo>
                  <a:lnTo>
                    <a:pt x="86905" y="67918"/>
                  </a:lnTo>
                  <a:lnTo>
                    <a:pt x="86795" y="68070"/>
                  </a:lnTo>
                  <a:lnTo>
                    <a:pt x="86685" y="68221"/>
                  </a:lnTo>
                  <a:lnTo>
                    <a:pt x="86583" y="68382"/>
                  </a:lnTo>
                  <a:lnTo>
                    <a:pt x="86482" y="68534"/>
                  </a:lnTo>
                  <a:lnTo>
                    <a:pt x="86389" y="68694"/>
                  </a:lnTo>
                  <a:lnTo>
                    <a:pt x="86313" y="68854"/>
                  </a:lnTo>
                  <a:lnTo>
                    <a:pt x="86228" y="69090"/>
                  </a:lnTo>
                  <a:lnTo>
                    <a:pt x="86152" y="69326"/>
                  </a:lnTo>
                  <a:lnTo>
                    <a:pt x="86067" y="69546"/>
                  </a:lnTo>
                  <a:lnTo>
                    <a:pt x="86000" y="69765"/>
                  </a:lnTo>
                  <a:lnTo>
                    <a:pt x="85932" y="69984"/>
                  </a:lnTo>
                  <a:lnTo>
                    <a:pt x="85881" y="70204"/>
                  </a:lnTo>
                  <a:lnTo>
                    <a:pt x="85847" y="70431"/>
                  </a:lnTo>
                  <a:lnTo>
                    <a:pt x="85846" y="70443"/>
                  </a:lnTo>
                  <a:lnTo>
                    <a:pt x="85991" y="70836"/>
                  </a:lnTo>
                  <a:lnTo>
                    <a:pt x="85991" y="71048"/>
                  </a:lnTo>
                  <a:lnTo>
                    <a:pt x="86015" y="71268"/>
                  </a:lnTo>
                  <a:lnTo>
                    <a:pt x="86039" y="71497"/>
                  </a:lnTo>
                  <a:lnTo>
                    <a:pt x="86088" y="71735"/>
                  </a:lnTo>
                  <a:lnTo>
                    <a:pt x="86176" y="72088"/>
                  </a:lnTo>
                  <a:lnTo>
                    <a:pt x="86265" y="72396"/>
                  </a:lnTo>
                  <a:lnTo>
                    <a:pt x="86361" y="72704"/>
                  </a:lnTo>
                  <a:lnTo>
                    <a:pt x="86466" y="72995"/>
                  </a:lnTo>
                  <a:lnTo>
                    <a:pt x="86570" y="73268"/>
                  </a:lnTo>
                  <a:lnTo>
                    <a:pt x="86683" y="73542"/>
                  </a:lnTo>
                  <a:lnTo>
                    <a:pt x="86811" y="73797"/>
                  </a:lnTo>
                  <a:lnTo>
                    <a:pt x="86940" y="74053"/>
                  </a:lnTo>
                  <a:lnTo>
                    <a:pt x="87076" y="74299"/>
                  </a:lnTo>
                  <a:lnTo>
                    <a:pt x="87221" y="74546"/>
                  </a:lnTo>
                  <a:lnTo>
                    <a:pt x="87374" y="74802"/>
                  </a:lnTo>
                  <a:lnTo>
                    <a:pt x="87527" y="75048"/>
                  </a:lnTo>
                  <a:lnTo>
                    <a:pt x="87872" y="75568"/>
                  </a:lnTo>
                  <a:lnTo>
                    <a:pt x="88242" y="76115"/>
                  </a:lnTo>
                  <a:lnTo>
                    <a:pt x="88379" y="76300"/>
                  </a:lnTo>
                  <a:lnTo>
                    <a:pt x="88523" y="76502"/>
                  </a:lnTo>
                  <a:lnTo>
                    <a:pt x="88676" y="76688"/>
                  </a:lnTo>
                  <a:lnTo>
                    <a:pt x="88837" y="76864"/>
                  </a:lnTo>
                  <a:lnTo>
                    <a:pt x="89159" y="77234"/>
                  </a:lnTo>
                  <a:lnTo>
                    <a:pt x="89504" y="77578"/>
                  </a:lnTo>
                  <a:lnTo>
                    <a:pt x="90220" y="78274"/>
                  </a:lnTo>
                  <a:lnTo>
                    <a:pt x="90951" y="78952"/>
                  </a:lnTo>
                  <a:lnTo>
                    <a:pt x="91313" y="79296"/>
                  </a:lnTo>
                  <a:lnTo>
                    <a:pt x="91667" y="79648"/>
                  </a:lnTo>
                  <a:lnTo>
                    <a:pt x="92012" y="80010"/>
                  </a:lnTo>
                  <a:lnTo>
                    <a:pt x="92334" y="80380"/>
                  </a:lnTo>
                  <a:lnTo>
                    <a:pt x="92495" y="80565"/>
                  </a:lnTo>
                  <a:lnTo>
                    <a:pt x="92639" y="80768"/>
                  </a:lnTo>
                  <a:lnTo>
                    <a:pt x="92792" y="80970"/>
                  </a:lnTo>
                  <a:lnTo>
                    <a:pt x="92929" y="81173"/>
                  </a:lnTo>
                  <a:lnTo>
                    <a:pt x="93065" y="81384"/>
                  </a:lnTo>
                  <a:lnTo>
                    <a:pt x="93186" y="81596"/>
                  </a:lnTo>
                  <a:lnTo>
                    <a:pt x="93298" y="81816"/>
                  </a:lnTo>
                  <a:lnTo>
                    <a:pt x="93419" y="82045"/>
                  </a:lnTo>
                  <a:lnTo>
                    <a:pt x="93644" y="82362"/>
                  </a:lnTo>
                  <a:lnTo>
                    <a:pt x="93853" y="82689"/>
                  </a:lnTo>
                  <a:lnTo>
                    <a:pt x="93958" y="82847"/>
                  </a:lnTo>
                  <a:lnTo>
                    <a:pt x="94078" y="83006"/>
                  </a:lnTo>
                  <a:lnTo>
                    <a:pt x="94191" y="83173"/>
                  </a:lnTo>
                  <a:lnTo>
                    <a:pt x="94319" y="83323"/>
                  </a:lnTo>
                  <a:lnTo>
                    <a:pt x="94593" y="83658"/>
                  </a:lnTo>
                  <a:lnTo>
                    <a:pt x="94874" y="84019"/>
                  </a:lnTo>
                  <a:lnTo>
                    <a:pt x="95147" y="84363"/>
                  </a:lnTo>
                  <a:lnTo>
                    <a:pt x="95429" y="84724"/>
                  </a:lnTo>
                  <a:lnTo>
                    <a:pt x="95461" y="84777"/>
                  </a:lnTo>
                  <a:lnTo>
                    <a:pt x="95501" y="84848"/>
                  </a:lnTo>
                  <a:lnTo>
                    <a:pt x="95541" y="84944"/>
                  </a:lnTo>
                  <a:lnTo>
                    <a:pt x="95565" y="85050"/>
                  </a:lnTo>
                  <a:lnTo>
                    <a:pt x="95638" y="85279"/>
                  </a:lnTo>
                  <a:lnTo>
                    <a:pt x="95686" y="85544"/>
                  </a:lnTo>
                  <a:lnTo>
                    <a:pt x="95710" y="85790"/>
                  </a:lnTo>
                  <a:lnTo>
                    <a:pt x="95718" y="86028"/>
                  </a:lnTo>
                  <a:lnTo>
                    <a:pt x="95718" y="86134"/>
                  </a:lnTo>
                  <a:lnTo>
                    <a:pt x="95710" y="86231"/>
                  </a:lnTo>
                  <a:lnTo>
                    <a:pt x="95694" y="86319"/>
                  </a:lnTo>
                  <a:lnTo>
                    <a:pt x="95662" y="86381"/>
                  </a:lnTo>
                  <a:lnTo>
                    <a:pt x="95549" y="86795"/>
                  </a:lnTo>
                  <a:lnTo>
                    <a:pt x="95405" y="87227"/>
                  </a:lnTo>
                  <a:lnTo>
                    <a:pt x="95236" y="87659"/>
                  </a:lnTo>
                  <a:lnTo>
                    <a:pt x="95051" y="88099"/>
                  </a:lnTo>
                  <a:lnTo>
                    <a:pt x="94842" y="88540"/>
                  </a:lnTo>
                  <a:lnTo>
                    <a:pt x="94625" y="88980"/>
                  </a:lnTo>
                  <a:lnTo>
                    <a:pt x="94384" y="89421"/>
                  </a:lnTo>
                  <a:lnTo>
                    <a:pt x="94135" y="89853"/>
                  </a:lnTo>
                  <a:lnTo>
                    <a:pt x="93869" y="90267"/>
                  </a:lnTo>
                  <a:lnTo>
                    <a:pt x="93588" y="90681"/>
                  </a:lnTo>
                  <a:lnTo>
                    <a:pt x="93298" y="91069"/>
                  </a:lnTo>
                  <a:lnTo>
                    <a:pt x="93017" y="91448"/>
                  </a:lnTo>
                  <a:lnTo>
                    <a:pt x="92720" y="91791"/>
                  </a:lnTo>
                  <a:lnTo>
                    <a:pt x="92414" y="92126"/>
                  </a:lnTo>
                  <a:lnTo>
                    <a:pt x="92261" y="92276"/>
                  </a:lnTo>
                  <a:lnTo>
                    <a:pt x="92109" y="92417"/>
                  </a:lnTo>
                  <a:lnTo>
                    <a:pt x="91956" y="92558"/>
                  </a:lnTo>
                  <a:lnTo>
                    <a:pt x="91787" y="92690"/>
                  </a:lnTo>
                  <a:lnTo>
                    <a:pt x="91610" y="92840"/>
                  </a:lnTo>
                  <a:lnTo>
                    <a:pt x="91425" y="92972"/>
                  </a:lnTo>
                  <a:lnTo>
                    <a:pt x="91257" y="93087"/>
                  </a:lnTo>
                  <a:lnTo>
                    <a:pt x="91080" y="93184"/>
                  </a:lnTo>
                  <a:lnTo>
                    <a:pt x="90919" y="93272"/>
                  </a:lnTo>
                  <a:lnTo>
                    <a:pt x="90766" y="93342"/>
                  </a:lnTo>
                  <a:lnTo>
                    <a:pt x="90614" y="93404"/>
                  </a:lnTo>
                  <a:lnTo>
                    <a:pt x="90461" y="93448"/>
                  </a:lnTo>
                  <a:lnTo>
                    <a:pt x="90316" y="93475"/>
                  </a:lnTo>
                  <a:lnTo>
                    <a:pt x="90187" y="93492"/>
                  </a:lnTo>
                  <a:lnTo>
                    <a:pt x="90051" y="93501"/>
                  </a:lnTo>
                  <a:lnTo>
                    <a:pt x="89914" y="93501"/>
                  </a:lnTo>
                  <a:lnTo>
                    <a:pt x="89786" y="93475"/>
                  </a:lnTo>
                  <a:lnTo>
                    <a:pt x="89657" y="93457"/>
                  </a:lnTo>
                  <a:lnTo>
                    <a:pt x="89520" y="93413"/>
                  </a:lnTo>
                  <a:lnTo>
                    <a:pt x="89400" y="93378"/>
                  </a:lnTo>
                  <a:lnTo>
                    <a:pt x="89279" y="93325"/>
                  </a:lnTo>
                  <a:lnTo>
                    <a:pt x="89159" y="93272"/>
                  </a:lnTo>
                  <a:lnTo>
                    <a:pt x="89038" y="93193"/>
                  </a:lnTo>
                  <a:lnTo>
                    <a:pt x="88909" y="93122"/>
                  </a:lnTo>
                  <a:lnTo>
                    <a:pt x="88660" y="92963"/>
                  </a:lnTo>
                  <a:lnTo>
                    <a:pt x="88411" y="92778"/>
                  </a:lnTo>
                  <a:lnTo>
                    <a:pt x="87880" y="92364"/>
                  </a:lnTo>
                  <a:lnTo>
                    <a:pt x="87285" y="91932"/>
                  </a:lnTo>
                  <a:lnTo>
                    <a:pt x="87149" y="91844"/>
                  </a:lnTo>
                  <a:lnTo>
                    <a:pt x="87028" y="91747"/>
                  </a:lnTo>
                  <a:lnTo>
                    <a:pt x="86916" y="91642"/>
                  </a:lnTo>
                  <a:lnTo>
                    <a:pt x="86795" y="91545"/>
                  </a:lnTo>
                  <a:lnTo>
                    <a:pt x="86594" y="91360"/>
                  </a:lnTo>
                  <a:lnTo>
                    <a:pt x="86417" y="91175"/>
                  </a:lnTo>
                  <a:lnTo>
                    <a:pt x="86257" y="90981"/>
                  </a:lnTo>
                  <a:lnTo>
                    <a:pt x="86104" y="90813"/>
                  </a:lnTo>
                  <a:lnTo>
                    <a:pt x="85943" y="90655"/>
                  </a:lnTo>
                  <a:lnTo>
                    <a:pt x="85790" y="90531"/>
                  </a:lnTo>
                  <a:lnTo>
                    <a:pt x="85718" y="90470"/>
                  </a:lnTo>
                  <a:lnTo>
                    <a:pt x="85638" y="90417"/>
                  </a:lnTo>
                  <a:lnTo>
                    <a:pt x="85565" y="90364"/>
                  </a:lnTo>
                  <a:lnTo>
                    <a:pt x="85477" y="90329"/>
                  </a:lnTo>
                  <a:lnTo>
                    <a:pt x="85388" y="90302"/>
                  </a:lnTo>
                  <a:lnTo>
                    <a:pt x="85300" y="90267"/>
                  </a:lnTo>
                  <a:lnTo>
                    <a:pt x="85203" y="90258"/>
                  </a:lnTo>
                  <a:lnTo>
                    <a:pt x="85107" y="90249"/>
                  </a:lnTo>
                  <a:lnTo>
                    <a:pt x="85002" y="90249"/>
                  </a:lnTo>
                  <a:lnTo>
                    <a:pt x="84882" y="90267"/>
                  </a:lnTo>
                  <a:lnTo>
                    <a:pt x="84761" y="90293"/>
                  </a:lnTo>
                  <a:lnTo>
                    <a:pt x="84625" y="90320"/>
                  </a:lnTo>
                  <a:lnTo>
                    <a:pt x="84496" y="90364"/>
                  </a:lnTo>
                  <a:lnTo>
                    <a:pt x="84343" y="90417"/>
                  </a:lnTo>
                  <a:lnTo>
                    <a:pt x="84191" y="90487"/>
                  </a:lnTo>
                  <a:lnTo>
                    <a:pt x="84014" y="90567"/>
                  </a:lnTo>
                  <a:lnTo>
                    <a:pt x="78371" y="93395"/>
                  </a:lnTo>
                  <a:lnTo>
                    <a:pt x="78113" y="93501"/>
                  </a:lnTo>
                  <a:lnTo>
                    <a:pt x="77808" y="93616"/>
                  </a:lnTo>
                  <a:lnTo>
                    <a:pt x="77486" y="93748"/>
                  </a:lnTo>
                  <a:lnTo>
                    <a:pt x="77149" y="93889"/>
                  </a:lnTo>
                  <a:lnTo>
                    <a:pt x="76996" y="93968"/>
                  </a:lnTo>
                  <a:lnTo>
                    <a:pt x="76843" y="94065"/>
                  </a:lnTo>
                  <a:lnTo>
                    <a:pt x="76706" y="94162"/>
                  </a:lnTo>
                  <a:lnTo>
                    <a:pt x="76586" y="94268"/>
                  </a:lnTo>
                  <a:lnTo>
                    <a:pt x="76530" y="94321"/>
                  </a:lnTo>
                  <a:lnTo>
                    <a:pt x="76481" y="94382"/>
                  </a:lnTo>
                  <a:lnTo>
                    <a:pt x="76433" y="94444"/>
                  </a:lnTo>
                  <a:lnTo>
                    <a:pt x="76393" y="94506"/>
                  </a:lnTo>
                  <a:lnTo>
                    <a:pt x="76361" y="94567"/>
                  </a:lnTo>
                  <a:lnTo>
                    <a:pt x="76337" y="94647"/>
                  </a:lnTo>
                  <a:lnTo>
                    <a:pt x="76313" y="94717"/>
                  </a:lnTo>
                  <a:lnTo>
                    <a:pt x="76296" y="94788"/>
                  </a:lnTo>
                  <a:lnTo>
                    <a:pt x="76288" y="94876"/>
                  </a:lnTo>
                  <a:lnTo>
                    <a:pt x="76256" y="94955"/>
                  </a:lnTo>
                  <a:lnTo>
                    <a:pt x="76240" y="95034"/>
                  </a:lnTo>
                  <a:lnTo>
                    <a:pt x="76200" y="95105"/>
                  </a:lnTo>
                  <a:lnTo>
                    <a:pt x="76160" y="95166"/>
                  </a:lnTo>
                  <a:lnTo>
                    <a:pt x="76128" y="95228"/>
                  </a:lnTo>
                  <a:lnTo>
                    <a:pt x="76079" y="95281"/>
                  </a:lnTo>
                  <a:lnTo>
                    <a:pt x="76031" y="95334"/>
                  </a:lnTo>
                  <a:lnTo>
                    <a:pt x="75927" y="95440"/>
                  </a:lnTo>
                  <a:lnTo>
                    <a:pt x="75798" y="95519"/>
                  </a:lnTo>
                  <a:lnTo>
                    <a:pt x="75661" y="95607"/>
                  </a:lnTo>
                  <a:lnTo>
                    <a:pt x="75533" y="95678"/>
                  </a:lnTo>
                  <a:lnTo>
                    <a:pt x="75396" y="95757"/>
                  </a:lnTo>
                  <a:lnTo>
                    <a:pt x="75251" y="95827"/>
                  </a:lnTo>
                  <a:lnTo>
                    <a:pt x="75123" y="95898"/>
                  </a:lnTo>
                  <a:lnTo>
                    <a:pt x="74986" y="95995"/>
                  </a:lnTo>
                  <a:lnTo>
                    <a:pt x="74866" y="96092"/>
                  </a:lnTo>
                  <a:lnTo>
                    <a:pt x="74745" y="96198"/>
                  </a:lnTo>
                  <a:lnTo>
                    <a:pt x="74697" y="96259"/>
                  </a:lnTo>
                  <a:lnTo>
                    <a:pt x="74649" y="96330"/>
                  </a:lnTo>
                  <a:lnTo>
                    <a:pt x="74616" y="96391"/>
                  </a:lnTo>
                  <a:lnTo>
                    <a:pt x="74576" y="96480"/>
                  </a:lnTo>
                  <a:lnTo>
                    <a:pt x="74247" y="96779"/>
                  </a:lnTo>
                  <a:lnTo>
                    <a:pt x="73981" y="97088"/>
                  </a:lnTo>
                  <a:lnTo>
                    <a:pt x="73764" y="97370"/>
                  </a:lnTo>
                  <a:lnTo>
                    <a:pt x="73587" y="97643"/>
                  </a:lnTo>
                  <a:lnTo>
                    <a:pt x="73459" y="97907"/>
                  </a:lnTo>
                  <a:lnTo>
                    <a:pt x="73370" y="98154"/>
                  </a:lnTo>
                  <a:lnTo>
                    <a:pt x="73314" y="98401"/>
                  </a:lnTo>
                  <a:lnTo>
                    <a:pt x="73306" y="98630"/>
                  </a:lnTo>
                  <a:lnTo>
                    <a:pt x="73322" y="98859"/>
                  </a:lnTo>
                  <a:lnTo>
                    <a:pt x="73370" y="99079"/>
                  </a:lnTo>
                  <a:lnTo>
                    <a:pt x="73443" y="99291"/>
                  </a:lnTo>
                  <a:lnTo>
                    <a:pt x="73539" y="99502"/>
                  </a:lnTo>
                  <a:lnTo>
                    <a:pt x="73668" y="99705"/>
                  </a:lnTo>
                  <a:lnTo>
                    <a:pt x="73821" y="99907"/>
                  </a:lnTo>
                  <a:lnTo>
                    <a:pt x="73973" y="100110"/>
                  </a:lnTo>
                  <a:lnTo>
                    <a:pt x="74158" y="100304"/>
                  </a:lnTo>
                  <a:lnTo>
                    <a:pt x="74536" y="100718"/>
                  </a:lnTo>
                  <a:lnTo>
                    <a:pt x="74954" y="101124"/>
                  </a:lnTo>
                  <a:lnTo>
                    <a:pt x="75171" y="101335"/>
                  </a:lnTo>
                  <a:lnTo>
                    <a:pt x="75380" y="101546"/>
                  </a:lnTo>
                  <a:lnTo>
                    <a:pt x="75581" y="101767"/>
                  </a:lnTo>
                  <a:lnTo>
                    <a:pt x="75782" y="101987"/>
                  </a:lnTo>
                  <a:lnTo>
                    <a:pt x="75975" y="102216"/>
                  </a:lnTo>
                  <a:lnTo>
                    <a:pt x="76152" y="102454"/>
                  </a:lnTo>
                  <a:lnTo>
                    <a:pt x="76313" y="102710"/>
                  </a:lnTo>
                  <a:lnTo>
                    <a:pt x="76457" y="102965"/>
                  </a:lnTo>
                  <a:lnTo>
                    <a:pt x="76594" y="103238"/>
                  </a:lnTo>
                  <a:lnTo>
                    <a:pt x="76698" y="103529"/>
                  </a:lnTo>
                  <a:lnTo>
                    <a:pt x="76779" y="103820"/>
                  </a:lnTo>
                  <a:lnTo>
                    <a:pt x="76835" y="104120"/>
                  </a:lnTo>
                  <a:lnTo>
                    <a:pt x="76883" y="104613"/>
                  </a:lnTo>
                  <a:lnTo>
                    <a:pt x="76932" y="105063"/>
                  </a:lnTo>
                  <a:lnTo>
                    <a:pt x="76948" y="105485"/>
                  </a:lnTo>
                  <a:lnTo>
                    <a:pt x="76964" y="105873"/>
                  </a:lnTo>
                  <a:lnTo>
                    <a:pt x="76956" y="106217"/>
                  </a:lnTo>
                  <a:lnTo>
                    <a:pt x="76948" y="106543"/>
                  </a:lnTo>
                  <a:lnTo>
                    <a:pt x="76915" y="106843"/>
                  </a:lnTo>
                  <a:lnTo>
                    <a:pt x="76867" y="107116"/>
                  </a:lnTo>
                  <a:lnTo>
                    <a:pt x="76811" y="107362"/>
                  </a:lnTo>
                  <a:lnTo>
                    <a:pt x="76747" y="107583"/>
                  </a:lnTo>
                  <a:lnTo>
                    <a:pt x="76666" y="107794"/>
                  </a:lnTo>
                  <a:lnTo>
                    <a:pt x="76578" y="107979"/>
                  </a:lnTo>
                  <a:lnTo>
                    <a:pt x="76465" y="108147"/>
                  </a:lnTo>
                  <a:lnTo>
                    <a:pt x="76353" y="108305"/>
                  </a:lnTo>
                  <a:lnTo>
                    <a:pt x="76224" y="108455"/>
                  </a:lnTo>
                  <a:lnTo>
                    <a:pt x="76079" y="108587"/>
                  </a:lnTo>
                  <a:lnTo>
                    <a:pt x="75927" y="108720"/>
                  </a:lnTo>
                  <a:lnTo>
                    <a:pt x="75758" y="108843"/>
                  </a:lnTo>
                  <a:lnTo>
                    <a:pt x="75589" y="108966"/>
                  </a:lnTo>
                  <a:lnTo>
                    <a:pt x="75396" y="109081"/>
                  </a:lnTo>
                  <a:lnTo>
                    <a:pt x="74994" y="109328"/>
                  </a:lnTo>
                  <a:lnTo>
                    <a:pt x="74552" y="109574"/>
                  </a:lnTo>
                  <a:lnTo>
                    <a:pt x="74319" y="109724"/>
                  </a:lnTo>
                  <a:lnTo>
                    <a:pt x="74070" y="109874"/>
                  </a:lnTo>
                  <a:lnTo>
                    <a:pt x="73813" y="110041"/>
                  </a:lnTo>
                  <a:lnTo>
                    <a:pt x="73748" y="110086"/>
                  </a:lnTo>
                  <a:lnTo>
                    <a:pt x="70252" y="109506"/>
                  </a:lnTo>
                  <a:lnTo>
                    <a:pt x="65006" y="106525"/>
                  </a:lnTo>
                  <a:lnTo>
                    <a:pt x="62008" y="108016"/>
                  </a:lnTo>
                  <a:lnTo>
                    <a:pt x="58678" y="107353"/>
                  </a:lnTo>
                  <a:lnTo>
                    <a:pt x="58491" y="107063"/>
                  </a:lnTo>
                  <a:lnTo>
                    <a:pt x="58193" y="106596"/>
                  </a:lnTo>
                  <a:lnTo>
                    <a:pt x="58040" y="106358"/>
                  </a:lnTo>
                  <a:lnTo>
                    <a:pt x="57888" y="106094"/>
                  </a:lnTo>
                  <a:lnTo>
                    <a:pt x="57727" y="105812"/>
                  </a:lnTo>
                  <a:lnTo>
                    <a:pt x="57558" y="105494"/>
                  </a:lnTo>
                  <a:lnTo>
                    <a:pt x="57510" y="105415"/>
                  </a:lnTo>
                  <a:lnTo>
                    <a:pt x="57446" y="105336"/>
                  </a:lnTo>
                  <a:lnTo>
                    <a:pt x="57357" y="105283"/>
                  </a:lnTo>
                  <a:lnTo>
                    <a:pt x="57261" y="105230"/>
                  </a:lnTo>
                  <a:lnTo>
                    <a:pt x="57156" y="105204"/>
                  </a:lnTo>
                  <a:lnTo>
                    <a:pt x="57036" y="105168"/>
                  </a:lnTo>
                  <a:lnTo>
                    <a:pt x="56899" y="105151"/>
                  </a:lnTo>
                  <a:lnTo>
                    <a:pt x="56746" y="105142"/>
                  </a:lnTo>
                  <a:lnTo>
                    <a:pt x="56433" y="105115"/>
                  </a:lnTo>
                  <a:lnTo>
                    <a:pt x="56079" y="105115"/>
                  </a:lnTo>
                  <a:lnTo>
                    <a:pt x="55693" y="105133"/>
                  </a:lnTo>
                  <a:lnTo>
                    <a:pt x="55307" y="105133"/>
                  </a:lnTo>
                  <a:lnTo>
                    <a:pt x="54889" y="105115"/>
                  </a:lnTo>
                  <a:lnTo>
                    <a:pt x="54513" y="105099"/>
                  </a:lnTo>
                  <a:lnTo>
                    <a:pt x="54513" y="103544"/>
                  </a:lnTo>
                  <a:lnTo>
                    <a:pt x="54513" y="98327"/>
                  </a:lnTo>
                  <a:lnTo>
                    <a:pt x="52265" y="96836"/>
                  </a:lnTo>
                  <a:lnTo>
                    <a:pt x="50017" y="95346"/>
                  </a:lnTo>
                  <a:lnTo>
                    <a:pt x="49896" y="95256"/>
                  </a:lnTo>
                  <a:lnTo>
                    <a:pt x="49905" y="95211"/>
                  </a:lnTo>
                  <a:lnTo>
                    <a:pt x="49986" y="94929"/>
                  </a:lnTo>
                  <a:lnTo>
                    <a:pt x="50066" y="94647"/>
                  </a:lnTo>
                  <a:lnTo>
                    <a:pt x="50227" y="94065"/>
                  </a:lnTo>
                  <a:lnTo>
                    <a:pt x="50388" y="93492"/>
                  </a:lnTo>
                  <a:lnTo>
                    <a:pt x="50435" y="93320"/>
                  </a:lnTo>
                  <a:lnTo>
                    <a:pt x="50352" y="93301"/>
                  </a:lnTo>
                  <a:lnTo>
                    <a:pt x="50408" y="93036"/>
                  </a:lnTo>
                  <a:lnTo>
                    <a:pt x="50457" y="92781"/>
                  </a:lnTo>
                  <a:lnTo>
                    <a:pt x="50497" y="92534"/>
                  </a:lnTo>
                  <a:lnTo>
                    <a:pt x="50521" y="92288"/>
                  </a:lnTo>
                  <a:lnTo>
                    <a:pt x="50529" y="92041"/>
                  </a:lnTo>
                  <a:lnTo>
                    <a:pt x="50529" y="91812"/>
                  </a:lnTo>
                  <a:lnTo>
                    <a:pt x="50521" y="91583"/>
                  </a:lnTo>
                  <a:lnTo>
                    <a:pt x="50497" y="91372"/>
                  </a:lnTo>
                  <a:lnTo>
                    <a:pt x="50457" y="91204"/>
                  </a:lnTo>
                  <a:lnTo>
                    <a:pt x="50417" y="91046"/>
                  </a:lnTo>
                  <a:lnTo>
                    <a:pt x="50368" y="90905"/>
                  </a:lnTo>
                  <a:lnTo>
                    <a:pt x="50312" y="90773"/>
                  </a:lnTo>
                  <a:lnTo>
                    <a:pt x="50256" y="90649"/>
                  </a:lnTo>
                  <a:lnTo>
                    <a:pt x="50191" y="90535"/>
                  </a:lnTo>
                  <a:lnTo>
                    <a:pt x="50119" y="90429"/>
                  </a:lnTo>
                  <a:lnTo>
                    <a:pt x="50046" y="90332"/>
                  </a:lnTo>
                  <a:lnTo>
                    <a:pt x="49958" y="90253"/>
                  </a:lnTo>
                  <a:lnTo>
                    <a:pt x="49869" y="90165"/>
                  </a:lnTo>
                  <a:lnTo>
                    <a:pt x="49789" y="90095"/>
                  </a:lnTo>
                  <a:lnTo>
                    <a:pt x="49684" y="90033"/>
                  </a:lnTo>
                  <a:lnTo>
                    <a:pt x="49588" y="89971"/>
                  </a:lnTo>
                  <a:lnTo>
                    <a:pt x="49483" y="89918"/>
                  </a:lnTo>
                  <a:lnTo>
                    <a:pt x="49379" y="89866"/>
                  </a:lnTo>
                  <a:lnTo>
                    <a:pt x="49258" y="89822"/>
                  </a:lnTo>
                  <a:lnTo>
                    <a:pt x="49032" y="89751"/>
                  </a:lnTo>
                  <a:lnTo>
                    <a:pt x="48783" y="89672"/>
                  </a:lnTo>
                  <a:lnTo>
                    <a:pt x="48534" y="89619"/>
                  </a:lnTo>
                  <a:lnTo>
                    <a:pt x="48276" y="89566"/>
                  </a:lnTo>
                  <a:lnTo>
                    <a:pt x="48002" y="89513"/>
                  </a:lnTo>
                  <a:lnTo>
                    <a:pt x="47737" y="89469"/>
                  </a:lnTo>
                  <a:lnTo>
                    <a:pt x="47471" y="89399"/>
                  </a:lnTo>
                  <a:lnTo>
                    <a:pt x="47198" y="89328"/>
                  </a:lnTo>
                  <a:lnTo>
                    <a:pt x="47029" y="89275"/>
                  </a:lnTo>
                  <a:lnTo>
                    <a:pt x="46876" y="89196"/>
                  </a:lnTo>
                  <a:lnTo>
                    <a:pt x="46739" y="89108"/>
                  </a:lnTo>
                  <a:lnTo>
                    <a:pt x="46626" y="89011"/>
                  </a:lnTo>
                  <a:lnTo>
                    <a:pt x="46522" y="88897"/>
                  </a:lnTo>
                  <a:lnTo>
                    <a:pt x="46433" y="88782"/>
                  </a:lnTo>
                  <a:lnTo>
                    <a:pt x="46361" y="88650"/>
                  </a:lnTo>
                  <a:lnTo>
                    <a:pt x="46288" y="88509"/>
                  </a:lnTo>
                  <a:lnTo>
                    <a:pt x="46232" y="88377"/>
                  </a:lnTo>
                  <a:lnTo>
                    <a:pt x="46184" y="88218"/>
                  </a:lnTo>
                  <a:lnTo>
                    <a:pt x="46152" y="88069"/>
                  </a:lnTo>
                  <a:lnTo>
                    <a:pt x="46111" y="87910"/>
                  </a:lnTo>
                  <a:lnTo>
                    <a:pt x="46063" y="87584"/>
                  </a:lnTo>
                  <a:lnTo>
                    <a:pt x="46015" y="87267"/>
                  </a:lnTo>
                  <a:lnTo>
                    <a:pt x="45967" y="86941"/>
                  </a:lnTo>
                  <a:lnTo>
                    <a:pt x="45918" y="86633"/>
                  </a:lnTo>
                  <a:lnTo>
                    <a:pt x="45886" y="86492"/>
                  </a:lnTo>
                  <a:lnTo>
                    <a:pt x="45854" y="86342"/>
                  </a:lnTo>
                  <a:lnTo>
                    <a:pt x="45806" y="86219"/>
                  </a:lnTo>
                  <a:lnTo>
                    <a:pt x="45749" y="86087"/>
                  </a:lnTo>
                  <a:lnTo>
                    <a:pt x="45677" y="85972"/>
                  </a:lnTo>
                  <a:lnTo>
                    <a:pt x="45613" y="85867"/>
                  </a:lnTo>
                  <a:lnTo>
                    <a:pt x="45516" y="85779"/>
                  </a:lnTo>
                  <a:lnTo>
                    <a:pt x="45419" y="85699"/>
                  </a:lnTo>
                  <a:lnTo>
                    <a:pt x="45307" y="85629"/>
                  </a:lnTo>
                  <a:lnTo>
                    <a:pt x="45170" y="85576"/>
                  </a:lnTo>
                  <a:lnTo>
                    <a:pt x="45025" y="85541"/>
                  </a:lnTo>
                  <a:lnTo>
                    <a:pt x="44856" y="85523"/>
                  </a:lnTo>
                  <a:lnTo>
                    <a:pt x="44542" y="85479"/>
                  </a:lnTo>
                  <a:lnTo>
                    <a:pt x="44084" y="85409"/>
                  </a:lnTo>
                  <a:lnTo>
                    <a:pt x="43528" y="85303"/>
                  </a:lnTo>
                  <a:lnTo>
                    <a:pt x="42941" y="85206"/>
                  </a:lnTo>
                  <a:lnTo>
                    <a:pt x="42643" y="85171"/>
                  </a:lnTo>
                  <a:lnTo>
                    <a:pt x="42354" y="85127"/>
                  </a:lnTo>
                  <a:lnTo>
                    <a:pt x="42096" y="85092"/>
                  </a:lnTo>
                  <a:lnTo>
                    <a:pt x="41847" y="85074"/>
                  </a:lnTo>
                  <a:lnTo>
                    <a:pt x="41637" y="85065"/>
                  </a:lnTo>
                  <a:lnTo>
                    <a:pt x="41468" y="85074"/>
                  </a:lnTo>
                  <a:lnTo>
                    <a:pt x="41388" y="85083"/>
                  </a:lnTo>
                  <a:lnTo>
                    <a:pt x="41332" y="85100"/>
                  </a:lnTo>
                  <a:lnTo>
                    <a:pt x="41283" y="85118"/>
                  </a:lnTo>
                  <a:lnTo>
                    <a:pt x="41243" y="85144"/>
                  </a:lnTo>
                  <a:lnTo>
                    <a:pt x="41010" y="85400"/>
                  </a:lnTo>
                  <a:lnTo>
                    <a:pt x="40809" y="85638"/>
                  </a:lnTo>
                  <a:lnTo>
                    <a:pt x="40632" y="85867"/>
                  </a:lnTo>
                  <a:lnTo>
                    <a:pt x="40479" y="86069"/>
                  </a:lnTo>
                  <a:lnTo>
                    <a:pt x="40350" y="86254"/>
                  </a:lnTo>
                  <a:lnTo>
                    <a:pt x="40213" y="86422"/>
                  </a:lnTo>
                  <a:lnTo>
                    <a:pt x="40101" y="86563"/>
                  </a:lnTo>
                  <a:lnTo>
                    <a:pt x="39972" y="86677"/>
                  </a:lnTo>
                  <a:lnTo>
                    <a:pt x="39907" y="86721"/>
                  </a:lnTo>
                  <a:lnTo>
                    <a:pt x="39843" y="86756"/>
                  </a:lnTo>
                  <a:lnTo>
                    <a:pt x="39771" y="86792"/>
                  </a:lnTo>
                  <a:lnTo>
                    <a:pt x="39698" y="86809"/>
                  </a:lnTo>
                  <a:lnTo>
                    <a:pt x="39610" y="86836"/>
                  </a:lnTo>
                  <a:lnTo>
                    <a:pt x="39521" y="86844"/>
                  </a:lnTo>
                  <a:lnTo>
                    <a:pt x="39425" y="86844"/>
                  </a:lnTo>
                  <a:lnTo>
                    <a:pt x="39328" y="86836"/>
                  </a:lnTo>
                  <a:lnTo>
                    <a:pt x="39215" y="86809"/>
                  </a:lnTo>
                  <a:lnTo>
                    <a:pt x="39103" y="86792"/>
                  </a:lnTo>
                  <a:lnTo>
                    <a:pt x="38966" y="86747"/>
                  </a:lnTo>
                  <a:lnTo>
                    <a:pt x="38821" y="86712"/>
                  </a:lnTo>
                  <a:lnTo>
                    <a:pt x="38507" y="86580"/>
                  </a:lnTo>
                  <a:lnTo>
                    <a:pt x="38145" y="86422"/>
                  </a:lnTo>
                  <a:lnTo>
                    <a:pt x="37831" y="86272"/>
                  </a:lnTo>
                  <a:lnTo>
                    <a:pt x="37558" y="86122"/>
                  </a:lnTo>
                  <a:lnTo>
                    <a:pt x="37445" y="86052"/>
                  </a:lnTo>
                  <a:lnTo>
                    <a:pt x="37348" y="85981"/>
                  </a:lnTo>
                  <a:lnTo>
                    <a:pt x="37252" y="85911"/>
                  </a:lnTo>
                  <a:lnTo>
                    <a:pt x="37171" y="85849"/>
                  </a:lnTo>
                  <a:lnTo>
                    <a:pt x="37091" y="85779"/>
                  </a:lnTo>
                  <a:lnTo>
                    <a:pt x="37027" y="85699"/>
                  </a:lnTo>
                  <a:lnTo>
                    <a:pt x="36970" y="85638"/>
                  </a:lnTo>
                  <a:lnTo>
                    <a:pt x="36922" y="85567"/>
                  </a:lnTo>
                  <a:lnTo>
                    <a:pt x="36825" y="85426"/>
                  </a:lnTo>
                  <a:lnTo>
                    <a:pt x="36745" y="85285"/>
                  </a:lnTo>
                  <a:lnTo>
                    <a:pt x="36600" y="84968"/>
                  </a:lnTo>
                  <a:lnTo>
                    <a:pt x="36439" y="84607"/>
                  </a:lnTo>
                  <a:lnTo>
                    <a:pt x="36335" y="84405"/>
                  </a:lnTo>
                  <a:lnTo>
                    <a:pt x="36214" y="84184"/>
                  </a:lnTo>
                  <a:lnTo>
                    <a:pt x="36045" y="83955"/>
                  </a:lnTo>
                  <a:lnTo>
                    <a:pt x="35860" y="83691"/>
                  </a:lnTo>
                  <a:lnTo>
                    <a:pt x="35643" y="83541"/>
                  </a:lnTo>
                  <a:lnTo>
                    <a:pt x="35409" y="83374"/>
                  </a:lnTo>
                  <a:lnTo>
                    <a:pt x="35160" y="83171"/>
                  </a:lnTo>
                  <a:lnTo>
                    <a:pt x="34886" y="82951"/>
                  </a:lnTo>
                  <a:lnTo>
                    <a:pt x="34307" y="82467"/>
                  </a:lnTo>
                  <a:lnTo>
                    <a:pt x="33687" y="81921"/>
                  </a:lnTo>
                  <a:lnTo>
                    <a:pt x="33035" y="81348"/>
                  </a:lnTo>
                  <a:lnTo>
                    <a:pt x="32359" y="80802"/>
                  </a:lnTo>
                  <a:lnTo>
                    <a:pt x="32030" y="80538"/>
                  </a:lnTo>
                  <a:lnTo>
                    <a:pt x="31700" y="80282"/>
                  </a:lnTo>
                  <a:lnTo>
                    <a:pt x="31370" y="80045"/>
                  </a:lnTo>
                  <a:lnTo>
                    <a:pt x="31040" y="79824"/>
                  </a:lnTo>
                  <a:lnTo>
                    <a:pt x="30718" y="79631"/>
                  </a:lnTo>
                  <a:lnTo>
                    <a:pt x="30412" y="79454"/>
                  </a:lnTo>
                  <a:lnTo>
                    <a:pt x="30106" y="79322"/>
                  </a:lnTo>
                  <a:lnTo>
                    <a:pt x="29817" y="79217"/>
                  </a:lnTo>
                  <a:lnTo>
                    <a:pt x="29535" y="79137"/>
                  </a:lnTo>
                  <a:lnTo>
                    <a:pt x="29278" y="79111"/>
                  </a:lnTo>
                  <a:lnTo>
                    <a:pt x="29028" y="79120"/>
                  </a:lnTo>
                  <a:lnTo>
                    <a:pt x="28803" y="79173"/>
                  </a:lnTo>
                  <a:lnTo>
                    <a:pt x="28602" y="79278"/>
                  </a:lnTo>
                  <a:lnTo>
                    <a:pt x="28408" y="79437"/>
                  </a:lnTo>
                  <a:lnTo>
                    <a:pt x="28256" y="79657"/>
                  </a:lnTo>
                  <a:lnTo>
                    <a:pt x="28111" y="79939"/>
                  </a:lnTo>
                  <a:lnTo>
                    <a:pt x="28006" y="80274"/>
                  </a:lnTo>
                  <a:lnTo>
                    <a:pt x="27926" y="80679"/>
                  </a:lnTo>
                  <a:lnTo>
                    <a:pt x="27885" y="81163"/>
                  </a:lnTo>
                  <a:lnTo>
                    <a:pt x="27861" y="81709"/>
                  </a:lnTo>
                  <a:lnTo>
                    <a:pt x="27861" y="81841"/>
                  </a:lnTo>
                  <a:lnTo>
                    <a:pt x="27885" y="81974"/>
                  </a:lnTo>
                  <a:lnTo>
                    <a:pt x="27910" y="82088"/>
                  </a:lnTo>
                  <a:lnTo>
                    <a:pt x="27950" y="82194"/>
                  </a:lnTo>
                  <a:lnTo>
                    <a:pt x="27998" y="82282"/>
                  </a:lnTo>
                  <a:lnTo>
                    <a:pt x="28054" y="82379"/>
                  </a:lnTo>
                  <a:lnTo>
                    <a:pt x="28119" y="82467"/>
                  </a:lnTo>
                  <a:lnTo>
                    <a:pt x="28191" y="82537"/>
                  </a:lnTo>
                  <a:lnTo>
                    <a:pt x="28264" y="82608"/>
                  </a:lnTo>
                  <a:lnTo>
                    <a:pt x="28352" y="82687"/>
                  </a:lnTo>
                  <a:lnTo>
                    <a:pt x="28441" y="82749"/>
                  </a:lnTo>
                  <a:lnTo>
                    <a:pt x="28529" y="82802"/>
                  </a:lnTo>
                  <a:lnTo>
                    <a:pt x="28730" y="82907"/>
                  </a:lnTo>
                  <a:lnTo>
                    <a:pt x="28931" y="83004"/>
                  </a:lnTo>
                  <a:lnTo>
                    <a:pt x="29149" y="83101"/>
                  </a:lnTo>
                  <a:lnTo>
                    <a:pt x="29358" y="83189"/>
                  </a:lnTo>
                  <a:lnTo>
                    <a:pt x="29559" y="83277"/>
                  </a:lnTo>
                  <a:lnTo>
                    <a:pt x="29752" y="83383"/>
                  </a:lnTo>
                  <a:lnTo>
                    <a:pt x="29833" y="83436"/>
                  </a:lnTo>
                  <a:lnTo>
                    <a:pt x="29913" y="83497"/>
                  </a:lnTo>
                  <a:lnTo>
                    <a:pt x="29986" y="83559"/>
                  </a:lnTo>
                  <a:lnTo>
                    <a:pt x="30058" y="83629"/>
                  </a:lnTo>
                  <a:lnTo>
                    <a:pt x="30122" y="83700"/>
                  </a:lnTo>
                  <a:lnTo>
                    <a:pt x="30171" y="83770"/>
                  </a:lnTo>
                  <a:lnTo>
                    <a:pt x="30219" y="83858"/>
                  </a:lnTo>
                  <a:lnTo>
                    <a:pt x="30259" y="83955"/>
                  </a:lnTo>
                  <a:lnTo>
                    <a:pt x="30308" y="84149"/>
                  </a:lnTo>
                  <a:lnTo>
                    <a:pt x="30332" y="84316"/>
                  </a:lnTo>
                  <a:lnTo>
                    <a:pt x="30340" y="84484"/>
                  </a:lnTo>
                  <a:lnTo>
                    <a:pt x="30332" y="84625"/>
                  </a:lnTo>
                  <a:lnTo>
                    <a:pt x="30291" y="84748"/>
                  </a:lnTo>
                  <a:lnTo>
                    <a:pt x="30243" y="84863"/>
                  </a:lnTo>
                  <a:lnTo>
                    <a:pt x="30187" y="84968"/>
                  </a:lnTo>
                  <a:lnTo>
                    <a:pt x="30106" y="85048"/>
                  </a:lnTo>
                  <a:lnTo>
                    <a:pt x="30010" y="85127"/>
                  </a:lnTo>
                  <a:lnTo>
                    <a:pt x="29905" y="85188"/>
                  </a:lnTo>
                  <a:lnTo>
                    <a:pt x="29784" y="85241"/>
                  </a:lnTo>
                  <a:lnTo>
                    <a:pt x="29664" y="85285"/>
                  </a:lnTo>
                  <a:lnTo>
                    <a:pt x="29519" y="85312"/>
                  </a:lnTo>
                  <a:lnTo>
                    <a:pt x="29374" y="85338"/>
                  </a:lnTo>
                  <a:lnTo>
                    <a:pt x="29221" y="85356"/>
                  </a:lnTo>
                  <a:lnTo>
                    <a:pt x="29068" y="85356"/>
                  </a:lnTo>
                  <a:lnTo>
                    <a:pt x="28746" y="85356"/>
                  </a:lnTo>
                  <a:lnTo>
                    <a:pt x="28416" y="85338"/>
                  </a:lnTo>
                  <a:lnTo>
                    <a:pt x="28095" y="85303"/>
                  </a:lnTo>
                  <a:lnTo>
                    <a:pt x="27789" y="85259"/>
                  </a:lnTo>
                  <a:lnTo>
                    <a:pt x="27258" y="85180"/>
                  </a:lnTo>
                  <a:lnTo>
                    <a:pt x="26904" y="85144"/>
                  </a:lnTo>
                  <a:lnTo>
                    <a:pt x="26791" y="85144"/>
                  </a:lnTo>
                  <a:lnTo>
                    <a:pt x="26686" y="85153"/>
                  </a:lnTo>
                  <a:lnTo>
                    <a:pt x="26590" y="85180"/>
                  </a:lnTo>
                  <a:lnTo>
                    <a:pt x="26501" y="85197"/>
                  </a:lnTo>
                  <a:lnTo>
                    <a:pt x="26413" y="85233"/>
                  </a:lnTo>
                  <a:lnTo>
                    <a:pt x="26340" y="85259"/>
                  </a:lnTo>
                  <a:lnTo>
                    <a:pt x="26276" y="85303"/>
                  </a:lnTo>
                  <a:lnTo>
                    <a:pt x="26204" y="85338"/>
                  </a:lnTo>
                  <a:lnTo>
                    <a:pt x="26091" y="85426"/>
                  </a:lnTo>
                  <a:lnTo>
                    <a:pt x="25986" y="85523"/>
                  </a:lnTo>
                  <a:lnTo>
                    <a:pt x="25890" y="85620"/>
                  </a:lnTo>
                  <a:lnTo>
                    <a:pt x="25793" y="85708"/>
                  </a:lnTo>
                  <a:lnTo>
                    <a:pt x="25697" y="85796"/>
                  </a:lnTo>
                  <a:lnTo>
                    <a:pt x="25592" y="85858"/>
                  </a:lnTo>
                  <a:lnTo>
                    <a:pt x="25536" y="85893"/>
                  </a:lnTo>
                  <a:lnTo>
                    <a:pt x="25471" y="85911"/>
                  </a:lnTo>
                  <a:lnTo>
                    <a:pt x="25399" y="85920"/>
                  </a:lnTo>
                  <a:lnTo>
                    <a:pt x="25326" y="85928"/>
                  </a:lnTo>
                  <a:lnTo>
                    <a:pt x="25246" y="85928"/>
                  </a:lnTo>
                  <a:lnTo>
                    <a:pt x="25166" y="85928"/>
                  </a:lnTo>
                  <a:lnTo>
                    <a:pt x="25069" y="85920"/>
                  </a:lnTo>
                  <a:lnTo>
                    <a:pt x="24972" y="85893"/>
                  </a:lnTo>
                  <a:lnTo>
                    <a:pt x="24860" y="85858"/>
                  </a:lnTo>
                  <a:lnTo>
                    <a:pt x="24731" y="85814"/>
                  </a:lnTo>
                  <a:lnTo>
                    <a:pt x="24610" y="85761"/>
                  </a:lnTo>
                  <a:lnTo>
                    <a:pt x="24465" y="85699"/>
                  </a:lnTo>
                  <a:lnTo>
                    <a:pt x="24280" y="85594"/>
                  </a:lnTo>
                  <a:lnTo>
                    <a:pt x="24119" y="85488"/>
                  </a:lnTo>
                  <a:lnTo>
                    <a:pt x="23959" y="85373"/>
                  </a:lnTo>
                  <a:lnTo>
                    <a:pt x="23814" y="85250"/>
                  </a:lnTo>
                  <a:lnTo>
                    <a:pt x="23524" y="85004"/>
                  </a:lnTo>
                  <a:lnTo>
                    <a:pt x="23250" y="84783"/>
                  </a:lnTo>
                  <a:lnTo>
                    <a:pt x="23114" y="84695"/>
                  </a:lnTo>
                  <a:lnTo>
                    <a:pt x="22977" y="84625"/>
                  </a:lnTo>
                  <a:lnTo>
                    <a:pt x="22912" y="84598"/>
                  </a:lnTo>
                  <a:lnTo>
                    <a:pt x="22848" y="84581"/>
                  </a:lnTo>
                  <a:lnTo>
                    <a:pt x="22768" y="84563"/>
                  </a:lnTo>
                  <a:lnTo>
                    <a:pt x="22703" y="84563"/>
                  </a:lnTo>
                  <a:lnTo>
                    <a:pt x="22623" y="84563"/>
                  </a:lnTo>
                  <a:lnTo>
                    <a:pt x="22558" y="84572"/>
                  </a:lnTo>
                  <a:lnTo>
                    <a:pt x="22486" y="84590"/>
                  </a:lnTo>
                  <a:lnTo>
                    <a:pt x="22406" y="84607"/>
                  </a:lnTo>
                  <a:lnTo>
                    <a:pt x="22317" y="84651"/>
                  </a:lnTo>
                  <a:lnTo>
                    <a:pt x="22245" y="84695"/>
                  </a:lnTo>
                  <a:lnTo>
                    <a:pt x="22156" y="84757"/>
                  </a:lnTo>
                  <a:lnTo>
                    <a:pt x="22068" y="84819"/>
                  </a:lnTo>
                  <a:lnTo>
                    <a:pt x="18430" y="87937"/>
                  </a:lnTo>
                  <a:lnTo>
                    <a:pt x="18277" y="88060"/>
                  </a:lnTo>
                  <a:lnTo>
                    <a:pt x="18133" y="88166"/>
                  </a:lnTo>
                  <a:lnTo>
                    <a:pt x="17980" y="88262"/>
                  </a:lnTo>
                  <a:lnTo>
                    <a:pt x="17835" y="88333"/>
                  </a:lnTo>
                  <a:lnTo>
                    <a:pt x="17698" y="88395"/>
                  </a:lnTo>
                  <a:lnTo>
                    <a:pt x="17545" y="88447"/>
                  </a:lnTo>
                  <a:lnTo>
                    <a:pt x="17400" y="88500"/>
                  </a:lnTo>
                  <a:lnTo>
                    <a:pt x="17256" y="88518"/>
                  </a:lnTo>
                  <a:lnTo>
                    <a:pt x="17111" y="88544"/>
                  </a:lnTo>
                  <a:lnTo>
                    <a:pt x="16966" y="88553"/>
                  </a:lnTo>
                  <a:lnTo>
                    <a:pt x="16821" y="88553"/>
                  </a:lnTo>
                  <a:lnTo>
                    <a:pt x="16684" y="88553"/>
                  </a:lnTo>
                  <a:lnTo>
                    <a:pt x="16539" y="88536"/>
                  </a:lnTo>
                  <a:lnTo>
                    <a:pt x="16395" y="88509"/>
                  </a:lnTo>
                  <a:lnTo>
                    <a:pt x="16258" y="88483"/>
                  </a:lnTo>
                  <a:lnTo>
                    <a:pt x="16113" y="88439"/>
                  </a:lnTo>
                  <a:lnTo>
                    <a:pt x="15839" y="88342"/>
                  </a:lnTo>
                  <a:lnTo>
                    <a:pt x="15558" y="88227"/>
                  </a:lnTo>
                  <a:lnTo>
                    <a:pt x="15284" y="88095"/>
                  </a:lnTo>
                  <a:lnTo>
                    <a:pt x="15002" y="87945"/>
                  </a:lnTo>
                  <a:lnTo>
                    <a:pt x="14455" y="87628"/>
                  </a:lnTo>
                  <a:lnTo>
                    <a:pt x="13916" y="87329"/>
                  </a:lnTo>
                  <a:lnTo>
                    <a:pt x="13763" y="87250"/>
                  </a:lnTo>
                  <a:lnTo>
                    <a:pt x="13618" y="87188"/>
                  </a:lnTo>
                  <a:lnTo>
                    <a:pt x="13465" y="87144"/>
                  </a:lnTo>
                  <a:lnTo>
                    <a:pt x="13321" y="87126"/>
                  </a:lnTo>
                  <a:lnTo>
                    <a:pt x="13176" y="87109"/>
                  </a:lnTo>
                  <a:lnTo>
                    <a:pt x="13031" y="87109"/>
                  </a:lnTo>
                  <a:lnTo>
                    <a:pt x="12902" y="87117"/>
                  </a:lnTo>
                  <a:lnTo>
                    <a:pt x="12757" y="87126"/>
                  </a:lnTo>
                  <a:lnTo>
                    <a:pt x="12484" y="87179"/>
                  </a:lnTo>
                  <a:lnTo>
                    <a:pt x="12226" y="87241"/>
                  </a:lnTo>
                  <a:lnTo>
                    <a:pt x="11977" y="87320"/>
                  </a:lnTo>
                  <a:lnTo>
                    <a:pt x="11743" y="87382"/>
                  </a:lnTo>
                  <a:lnTo>
                    <a:pt x="11615" y="87399"/>
                  </a:lnTo>
                  <a:lnTo>
                    <a:pt x="11502" y="87417"/>
                  </a:lnTo>
                  <a:lnTo>
                    <a:pt x="11389" y="87435"/>
                  </a:lnTo>
                  <a:lnTo>
                    <a:pt x="11269" y="87443"/>
                  </a:lnTo>
                  <a:lnTo>
                    <a:pt x="11156" y="87435"/>
                  </a:lnTo>
                  <a:lnTo>
                    <a:pt x="11051" y="87408"/>
                  </a:lnTo>
                  <a:lnTo>
                    <a:pt x="10947" y="87382"/>
                  </a:lnTo>
                  <a:lnTo>
                    <a:pt x="10834" y="87329"/>
                  </a:lnTo>
                  <a:lnTo>
                    <a:pt x="10722" y="87267"/>
                  </a:lnTo>
                  <a:lnTo>
                    <a:pt x="10633" y="87179"/>
                  </a:lnTo>
                  <a:lnTo>
                    <a:pt x="10528" y="87073"/>
                  </a:lnTo>
                  <a:lnTo>
                    <a:pt x="10432" y="86950"/>
                  </a:lnTo>
                  <a:lnTo>
                    <a:pt x="10327" y="86800"/>
                  </a:lnTo>
                  <a:lnTo>
                    <a:pt x="10231" y="86633"/>
                  </a:lnTo>
                  <a:lnTo>
                    <a:pt x="10134" y="86448"/>
                  </a:lnTo>
                  <a:lnTo>
                    <a:pt x="10038" y="86219"/>
                  </a:lnTo>
                  <a:lnTo>
                    <a:pt x="10005" y="86149"/>
                  </a:lnTo>
                  <a:lnTo>
                    <a:pt x="9981" y="86096"/>
                  </a:lnTo>
                  <a:lnTo>
                    <a:pt x="9933" y="86052"/>
                  </a:lnTo>
                  <a:lnTo>
                    <a:pt x="9893" y="86008"/>
                  </a:lnTo>
                  <a:lnTo>
                    <a:pt x="9844" y="85964"/>
                  </a:lnTo>
                  <a:lnTo>
                    <a:pt x="9788" y="85920"/>
                  </a:lnTo>
                  <a:lnTo>
                    <a:pt x="9740" y="85893"/>
                  </a:lnTo>
                  <a:lnTo>
                    <a:pt x="9675" y="85867"/>
                  </a:lnTo>
                  <a:lnTo>
                    <a:pt x="9547" y="85831"/>
                  </a:lnTo>
                  <a:lnTo>
                    <a:pt x="9410" y="85814"/>
                  </a:lnTo>
                  <a:lnTo>
                    <a:pt x="9257" y="85805"/>
                  </a:lnTo>
                  <a:lnTo>
                    <a:pt x="9120" y="85805"/>
                  </a:lnTo>
                  <a:lnTo>
                    <a:pt x="8951" y="85831"/>
                  </a:lnTo>
                  <a:lnTo>
                    <a:pt x="8798" y="85849"/>
                  </a:lnTo>
                  <a:lnTo>
                    <a:pt x="8645" y="85893"/>
                  </a:lnTo>
                  <a:lnTo>
                    <a:pt x="8493" y="85920"/>
                  </a:lnTo>
                  <a:lnTo>
                    <a:pt x="8211" y="86008"/>
                  </a:lnTo>
                  <a:lnTo>
                    <a:pt x="7969" y="86078"/>
                  </a:lnTo>
                  <a:lnTo>
                    <a:pt x="7833" y="86131"/>
                  </a:lnTo>
                  <a:lnTo>
                    <a:pt x="7704" y="86219"/>
                  </a:lnTo>
                  <a:lnTo>
                    <a:pt x="7575" y="86307"/>
                  </a:lnTo>
                  <a:lnTo>
                    <a:pt x="7454" y="86439"/>
                  </a:lnTo>
                  <a:lnTo>
                    <a:pt x="7334" y="86571"/>
                  </a:lnTo>
                  <a:lnTo>
                    <a:pt x="7221" y="86730"/>
                  </a:lnTo>
                  <a:lnTo>
                    <a:pt x="7108" y="86888"/>
                  </a:lnTo>
                  <a:lnTo>
                    <a:pt x="7004" y="87065"/>
                  </a:lnTo>
                  <a:lnTo>
                    <a:pt x="6803" y="87435"/>
                  </a:lnTo>
                  <a:lnTo>
                    <a:pt x="6602" y="87822"/>
                  </a:lnTo>
                  <a:lnTo>
                    <a:pt x="6408" y="88183"/>
                  </a:lnTo>
                  <a:lnTo>
                    <a:pt x="6215" y="88536"/>
                  </a:lnTo>
                  <a:lnTo>
                    <a:pt x="6111" y="88676"/>
                  </a:lnTo>
                  <a:lnTo>
                    <a:pt x="6014" y="88826"/>
                  </a:lnTo>
                  <a:lnTo>
                    <a:pt x="5918" y="88941"/>
                  </a:lnTo>
                  <a:lnTo>
                    <a:pt x="5813" y="89046"/>
                  </a:lnTo>
                  <a:lnTo>
                    <a:pt x="5716" y="89126"/>
                  </a:lnTo>
                  <a:lnTo>
                    <a:pt x="5612" y="89196"/>
                  </a:lnTo>
                  <a:lnTo>
                    <a:pt x="5499" y="89223"/>
                  </a:lnTo>
                  <a:lnTo>
                    <a:pt x="5395" y="89223"/>
                  </a:lnTo>
                  <a:lnTo>
                    <a:pt x="5282" y="89196"/>
                  </a:lnTo>
                  <a:lnTo>
                    <a:pt x="5153" y="89126"/>
                  </a:lnTo>
                  <a:lnTo>
                    <a:pt x="5032" y="89038"/>
                  </a:lnTo>
                  <a:lnTo>
                    <a:pt x="4904" y="88897"/>
                  </a:lnTo>
                  <a:lnTo>
                    <a:pt x="4767" y="88712"/>
                  </a:lnTo>
                  <a:lnTo>
                    <a:pt x="4630" y="88492"/>
                  </a:lnTo>
                  <a:lnTo>
                    <a:pt x="4485" y="88227"/>
                  </a:lnTo>
                  <a:lnTo>
                    <a:pt x="4332" y="87901"/>
                  </a:lnTo>
                  <a:lnTo>
                    <a:pt x="4228" y="87672"/>
                  </a:lnTo>
                  <a:lnTo>
                    <a:pt x="4147" y="87443"/>
                  </a:lnTo>
                  <a:lnTo>
                    <a:pt x="4099" y="87232"/>
                  </a:lnTo>
                  <a:lnTo>
                    <a:pt x="4059" y="87021"/>
                  </a:lnTo>
                  <a:lnTo>
                    <a:pt x="4051" y="86827"/>
                  </a:lnTo>
                  <a:lnTo>
                    <a:pt x="4051" y="86642"/>
                  </a:lnTo>
                  <a:lnTo>
                    <a:pt x="4059" y="86457"/>
                  </a:lnTo>
                  <a:lnTo>
                    <a:pt x="4091" y="86289"/>
                  </a:lnTo>
                  <a:lnTo>
                    <a:pt x="4131" y="86122"/>
                  </a:lnTo>
                  <a:lnTo>
                    <a:pt x="4171" y="85964"/>
                  </a:lnTo>
                  <a:lnTo>
                    <a:pt x="4228" y="85805"/>
                  </a:lnTo>
                  <a:lnTo>
                    <a:pt x="4284" y="85646"/>
                  </a:lnTo>
                  <a:lnTo>
                    <a:pt x="4397" y="85356"/>
                  </a:lnTo>
                  <a:lnTo>
                    <a:pt x="4509" y="85065"/>
                  </a:lnTo>
                  <a:lnTo>
                    <a:pt x="4558" y="84915"/>
                  </a:lnTo>
                  <a:lnTo>
                    <a:pt x="4598" y="84757"/>
                  </a:lnTo>
                  <a:lnTo>
                    <a:pt x="4638" y="84607"/>
                  </a:lnTo>
                  <a:lnTo>
                    <a:pt x="4654" y="84457"/>
                  </a:lnTo>
                  <a:lnTo>
                    <a:pt x="4662" y="84299"/>
                  </a:lnTo>
                  <a:lnTo>
                    <a:pt x="4662" y="84132"/>
                  </a:lnTo>
                  <a:lnTo>
                    <a:pt x="4646" y="83964"/>
                  </a:lnTo>
                  <a:lnTo>
                    <a:pt x="4606" y="83779"/>
                  </a:lnTo>
                  <a:lnTo>
                    <a:pt x="4550" y="83594"/>
                  </a:lnTo>
                  <a:lnTo>
                    <a:pt x="4461" y="83392"/>
                  </a:lnTo>
                  <a:lnTo>
                    <a:pt x="4356" y="83198"/>
                  </a:lnTo>
                  <a:lnTo>
                    <a:pt x="4228" y="82978"/>
                  </a:lnTo>
                  <a:lnTo>
                    <a:pt x="4059" y="82757"/>
                  </a:lnTo>
                  <a:lnTo>
                    <a:pt x="3882" y="82511"/>
                  </a:lnTo>
                  <a:lnTo>
                    <a:pt x="3648" y="82264"/>
                  </a:lnTo>
                  <a:lnTo>
                    <a:pt x="3399" y="82000"/>
                  </a:lnTo>
                  <a:lnTo>
                    <a:pt x="3294" y="81903"/>
                  </a:lnTo>
                  <a:lnTo>
                    <a:pt x="3198" y="81815"/>
                  </a:lnTo>
                  <a:lnTo>
                    <a:pt x="3085" y="81718"/>
                  </a:lnTo>
                  <a:lnTo>
                    <a:pt x="2972" y="81639"/>
                  </a:lnTo>
                  <a:lnTo>
                    <a:pt x="2731" y="81463"/>
                  </a:lnTo>
                  <a:lnTo>
                    <a:pt x="2482" y="81313"/>
                  </a:lnTo>
                  <a:lnTo>
                    <a:pt x="2232" y="81146"/>
                  </a:lnTo>
                  <a:lnTo>
                    <a:pt x="1991" y="80978"/>
                  </a:lnTo>
                  <a:lnTo>
                    <a:pt x="1870" y="80881"/>
                  </a:lnTo>
                  <a:lnTo>
                    <a:pt x="1757" y="80776"/>
                  </a:lnTo>
                  <a:lnTo>
                    <a:pt x="1653" y="80670"/>
                  </a:lnTo>
                  <a:lnTo>
                    <a:pt x="1532" y="80547"/>
                  </a:lnTo>
                  <a:lnTo>
                    <a:pt x="1460" y="80441"/>
                  </a:lnTo>
                  <a:lnTo>
                    <a:pt x="1379" y="80335"/>
                  </a:lnTo>
                  <a:lnTo>
                    <a:pt x="1307" y="80212"/>
                  </a:lnTo>
                  <a:lnTo>
                    <a:pt x="1234" y="80080"/>
                  </a:lnTo>
                  <a:lnTo>
                    <a:pt x="1106" y="79833"/>
                  </a:lnTo>
                  <a:lnTo>
                    <a:pt x="993" y="79560"/>
                  </a:lnTo>
                  <a:lnTo>
                    <a:pt x="872" y="79278"/>
                  </a:lnTo>
                  <a:lnTo>
                    <a:pt x="760" y="79005"/>
                  </a:lnTo>
                  <a:lnTo>
                    <a:pt x="703" y="78882"/>
                  </a:lnTo>
                  <a:lnTo>
                    <a:pt x="631" y="78750"/>
                  </a:lnTo>
                  <a:lnTo>
                    <a:pt x="566" y="78626"/>
                  </a:lnTo>
                  <a:lnTo>
                    <a:pt x="502" y="78512"/>
                  </a:lnTo>
                  <a:lnTo>
                    <a:pt x="389" y="78336"/>
                  </a:lnTo>
                  <a:lnTo>
                    <a:pt x="269" y="78177"/>
                  </a:lnTo>
                  <a:lnTo>
                    <a:pt x="164" y="78019"/>
                  </a:lnTo>
                  <a:lnTo>
                    <a:pt x="59" y="77895"/>
                  </a:lnTo>
                  <a:lnTo>
                    <a:pt x="0" y="77825"/>
                  </a:lnTo>
                  <a:lnTo>
                    <a:pt x="553" y="77459"/>
                  </a:lnTo>
                  <a:lnTo>
                    <a:pt x="3551" y="74477"/>
                  </a:lnTo>
                  <a:lnTo>
                    <a:pt x="3551" y="72241"/>
                  </a:lnTo>
                  <a:lnTo>
                    <a:pt x="3551" y="69260"/>
                  </a:lnTo>
                  <a:lnTo>
                    <a:pt x="5799" y="68515"/>
                  </a:lnTo>
                  <a:lnTo>
                    <a:pt x="9546" y="67770"/>
                  </a:lnTo>
                  <a:lnTo>
                    <a:pt x="11045" y="66279"/>
                  </a:lnTo>
                  <a:lnTo>
                    <a:pt x="14043" y="62553"/>
                  </a:lnTo>
                  <a:lnTo>
                    <a:pt x="16291" y="60317"/>
                  </a:lnTo>
                  <a:lnTo>
                    <a:pt x="17790" y="57336"/>
                  </a:lnTo>
                  <a:lnTo>
                    <a:pt x="20039" y="54354"/>
                  </a:lnTo>
                  <a:lnTo>
                    <a:pt x="21538" y="51373"/>
                  </a:lnTo>
                  <a:lnTo>
                    <a:pt x="21538" y="49137"/>
                  </a:lnTo>
                  <a:lnTo>
                    <a:pt x="20788" y="44666"/>
                  </a:lnTo>
                  <a:lnTo>
                    <a:pt x="20039" y="42430"/>
                  </a:lnTo>
                  <a:lnTo>
                    <a:pt x="20039" y="41241"/>
                  </a:lnTo>
                  <a:lnTo>
                    <a:pt x="20178" y="41057"/>
                  </a:lnTo>
                  <a:lnTo>
                    <a:pt x="20374" y="40774"/>
                  </a:lnTo>
                  <a:lnTo>
                    <a:pt x="20586" y="40445"/>
                  </a:lnTo>
                  <a:lnTo>
                    <a:pt x="20696" y="40271"/>
                  </a:lnTo>
                  <a:lnTo>
                    <a:pt x="20806" y="40088"/>
                  </a:lnTo>
                  <a:lnTo>
                    <a:pt x="20916" y="39906"/>
                  </a:lnTo>
                  <a:lnTo>
                    <a:pt x="21000" y="39739"/>
                  </a:lnTo>
                  <a:lnTo>
                    <a:pt x="20636" y="39745"/>
                  </a:lnTo>
                  <a:lnTo>
                    <a:pt x="20676" y="39622"/>
                  </a:lnTo>
                  <a:lnTo>
                    <a:pt x="20692" y="39500"/>
                  </a:lnTo>
                  <a:lnTo>
                    <a:pt x="20708" y="39386"/>
                  </a:lnTo>
                  <a:lnTo>
                    <a:pt x="20732" y="39272"/>
                  </a:lnTo>
                  <a:lnTo>
                    <a:pt x="20732" y="39166"/>
                  </a:lnTo>
                  <a:lnTo>
                    <a:pt x="20724" y="39061"/>
                  </a:lnTo>
                  <a:lnTo>
                    <a:pt x="20708" y="38965"/>
                  </a:lnTo>
                  <a:lnTo>
                    <a:pt x="20684" y="38868"/>
                  </a:lnTo>
                  <a:lnTo>
                    <a:pt x="20644" y="38772"/>
                  </a:lnTo>
                  <a:lnTo>
                    <a:pt x="20596" y="38693"/>
                  </a:lnTo>
                  <a:lnTo>
                    <a:pt x="20540" y="38605"/>
                  </a:lnTo>
                  <a:lnTo>
                    <a:pt x="20477" y="38535"/>
                  </a:lnTo>
                  <a:lnTo>
                    <a:pt x="20389" y="38456"/>
                  </a:lnTo>
                  <a:lnTo>
                    <a:pt x="20293" y="38395"/>
                  </a:lnTo>
                  <a:lnTo>
                    <a:pt x="20189" y="38342"/>
                  </a:lnTo>
                  <a:lnTo>
                    <a:pt x="20070" y="38290"/>
                  </a:lnTo>
                  <a:lnTo>
                    <a:pt x="20039" y="38280"/>
                  </a:lnTo>
                  <a:lnTo>
                    <a:pt x="20039" y="37958"/>
                  </a:lnTo>
                  <a:lnTo>
                    <a:pt x="21538" y="34977"/>
                  </a:lnTo>
                  <a:lnTo>
                    <a:pt x="23786" y="31995"/>
                  </a:lnTo>
                  <a:lnTo>
                    <a:pt x="26784" y="29760"/>
                  </a:lnTo>
                  <a:lnTo>
                    <a:pt x="29782" y="26778"/>
                  </a:lnTo>
                  <a:lnTo>
                    <a:pt x="34278" y="25288"/>
                  </a:lnTo>
                  <a:lnTo>
                    <a:pt x="38025" y="25288"/>
                  </a:lnTo>
                  <a:lnTo>
                    <a:pt x="40274" y="20071"/>
                  </a:lnTo>
                  <a:lnTo>
                    <a:pt x="40274" y="17090"/>
                  </a:lnTo>
                  <a:lnTo>
                    <a:pt x="42522" y="12618"/>
                  </a:lnTo>
                  <a:lnTo>
                    <a:pt x="46269" y="11127"/>
                  </a:lnTo>
                  <a:lnTo>
                    <a:pt x="50017" y="8891"/>
                  </a:lnTo>
                  <a:lnTo>
                    <a:pt x="53014" y="5910"/>
                  </a:lnTo>
                  <a:lnTo>
                    <a:pt x="54495" y="4438"/>
                  </a:lnTo>
                  <a:lnTo>
                    <a:pt x="54558" y="4656"/>
                  </a:lnTo>
                  <a:lnTo>
                    <a:pt x="54646" y="4858"/>
                  </a:lnTo>
                  <a:lnTo>
                    <a:pt x="54750" y="5042"/>
                  </a:lnTo>
                  <a:lnTo>
                    <a:pt x="54877" y="5191"/>
                  </a:lnTo>
                  <a:lnTo>
                    <a:pt x="55021" y="5331"/>
                  </a:lnTo>
                  <a:lnTo>
                    <a:pt x="55197" y="5428"/>
                  </a:lnTo>
                  <a:lnTo>
                    <a:pt x="55380" y="5498"/>
                  </a:lnTo>
                  <a:lnTo>
                    <a:pt x="55611" y="5533"/>
                  </a:lnTo>
                  <a:lnTo>
                    <a:pt x="55859" y="5533"/>
                  </a:lnTo>
                  <a:lnTo>
                    <a:pt x="55979" y="5507"/>
                  </a:lnTo>
                  <a:lnTo>
                    <a:pt x="56114" y="5480"/>
                  </a:lnTo>
                  <a:lnTo>
                    <a:pt x="56258" y="5428"/>
                  </a:lnTo>
                  <a:lnTo>
                    <a:pt x="56393" y="5358"/>
                  </a:lnTo>
                  <a:lnTo>
                    <a:pt x="56545" y="5287"/>
                  </a:lnTo>
                  <a:lnTo>
                    <a:pt x="56681" y="5191"/>
                  </a:lnTo>
                  <a:lnTo>
                    <a:pt x="56848" y="5103"/>
                  </a:lnTo>
                  <a:lnTo>
                    <a:pt x="57000" y="4989"/>
                  </a:lnTo>
                  <a:lnTo>
                    <a:pt x="57319" y="4744"/>
                  </a:lnTo>
                  <a:lnTo>
                    <a:pt x="57646" y="4463"/>
                  </a:lnTo>
                  <a:lnTo>
                    <a:pt x="57973" y="4165"/>
                  </a:lnTo>
                  <a:lnTo>
                    <a:pt x="58309" y="3850"/>
                  </a:lnTo>
                  <a:lnTo>
                    <a:pt x="58628" y="3516"/>
                  </a:lnTo>
                  <a:lnTo>
                    <a:pt x="58955" y="3183"/>
                  </a:lnTo>
                  <a:lnTo>
                    <a:pt x="59266" y="2850"/>
                  </a:lnTo>
                  <a:lnTo>
                    <a:pt x="59561" y="2526"/>
                  </a:lnTo>
                  <a:lnTo>
                    <a:pt x="60096" y="1938"/>
                  </a:lnTo>
                  <a:lnTo>
                    <a:pt x="60519" y="1473"/>
                  </a:lnTo>
                  <a:lnTo>
                    <a:pt x="60655" y="1342"/>
                  </a:lnTo>
                  <a:lnTo>
                    <a:pt x="60782" y="1219"/>
                  </a:lnTo>
                  <a:lnTo>
                    <a:pt x="60918" y="1096"/>
                  </a:lnTo>
                  <a:lnTo>
                    <a:pt x="61054" y="982"/>
                  </a:lnTo>
                  <a:lnTo>
                    <a:pt x="61197" y="877"/>
                  </a:lnTo>
                  <a:lnTo>
                    <a:pt x="61325" y="772"/>
                  </a:lnTo>
                  <a:lnTo>
                    <a:pt x="61469" y="667"/>
                  </a:lnTo>
                  <a:lnTo>
                    <a:pt x="61612" y="570"/>
                  </a:lnTo>
                  <a:lnTo>
                    <a:pt x="61756" y="491"/>
                  </a:lnTo>
                  <a:lnTo>
                    <a:pt x="61884" y="404"/>
                  </a:lnTo>
                  <a:lnTo>
                    <a:pt x="62027" y="334"/>
                  </a:lnTo>
                  <a:lnTo>
                    <a:pt x="62171" y="272"/>
                  </a:lnTo>
                  <a:lnTo>
                    <a:pt x="62314" y="211"/>
                  </a:lnTo>
                  <a:lnTo>
                    <a:pt x="62450" y="158"/>
                  </a:lnTo>
                  <a:lnTo>
                    <a:pt x="62578" y="114"/>
                  </a:lnTo>
                  <a:lnTo>
                    <a:pt x="62713" y="71"/>
                  </a:lnTo>
                  <a:lnTo>
                    <a:pt x="62849" y="44"/>
                  </a:lnTo>
                  <a:lnTo>
                    <a:pt x="62969" y="18"/>
                  </a:lnTo>
                  <a:lnTo>
                    <a:pt x="63089" y="9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1431" tIns="45716" rIns="91431" bIns="45716">
              <a:noAutofit/>
            </a:bodyPr>
            <a:lstStyle/>
            <a:p>
              <a:endParaRPr lang="en-US" sz="1837" dirty="0">
                <a:solidFill>
                  <a:srgbClr val="000000"/>
                </a:solidFill>
              </a:endParaRPr>
            </a:p>
          </p:txBody>
        </p:sp>
      </p:grpSp>
      <p:sp>
        <p:nvSpPr>
          <p:cNvPr id="76" name="TextBox 75"/>
          <p:cNvSpPr txBox="1"/>
          <p:nvPr/>
        </p:nvSpPr>
        <p:spPr>
          <a:xfrm>
            <a:off x="5906237" y="499586"/>
            <a:ext cx="3130259" cy="4235509"/>
          </a:xfrm>
          <a:prstGeom prst="foldedCorner">
            <a:avLst>
              <a:gd name="adj" fmla="val 0"/>
            </a:avLst>
          </a:prstGeom>
          <a:solidFill>
            <a:schemeClr val="bg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63486" tIns="66553" rIns="63486" bIns="63486" numCol="1" anchor="ctr" anchorCtr="1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lnSpc>
                <a:spcPct val="114000"/>
              </a:lnSpc>
              <a:spcBef>
                <a:spcPts val="200"/>
              </a:spcBef>
              <a:spcAft>
                <a:spcPts val="400"/>
              </a:spcAft>
              <a:buClr>
                <a:schemeClr val="tx2"/>
              </a:buClr>
              <a:defRPr baseline="0">
                <a:latin typeface="Century Gothic" pitchFamily="34" charset="0"/>
              </a:defRPr>
            </a:lvl1pPr>
            <a:lvl2pPr marL="193675" lvl="1" indent="-192088" defTabSz="895350" eaLnBrk="1" hangingPunct="1">
              <a:lnSpc>
                <a:spcPct val="114000"/>
              </a:lnSpc>
              <a:spcBef>
                <a:spcPts val="200"/>
              </a:spcBef>
              <a:spcAft>
                <a:spcPts val="400"/>
              </a:spcAft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itchFamily="34" charset="0"/>
              </a:defRPr>
            </a:lvl2pPr>
            <a:lvl3pPr marL="457200" lvl="2" indent="-261938" defTabSz="895350" eaLnBrk="1" hangingPunct="1">
              <a:lnSpc>
                <a:spcPct val="114000"/>
              </a:lnSpc>
              <a:spcBef>
                <a:spcPts val="200"/>
              </a:spcBef>
              <a:spcAft>
                <a:spcPts val="400"/>
              </a:spcAft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itchFamily="34" charset="0"/>
              </a:defRPr>
            </a:lvl3pPr>
            <a:lvl4pPr marL="614363" lvl="3" indent="-155575" defTabSz="895350" eaLnBrk="1" hangingPunct="1">
              <a:lnSpc>
                <a:spcPct val="114000"/>
              </a:lnSpc>
              <a:spcBef>
                <a:spcPts val="200"/>
              </a:spcBef>
              <a:spcAft>
                <a:spcPts val="400"/>
              </a:spcAft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itchFamily="34" charset="0"/>
              </a:defRPr>
            </a:lvl4pPr>
            <a:lvl5pPr marL="749808" lvl="4" indent="-130175" defTabSz="895350" eaLnBrk="1" hangingPunct="1">
              <a:lnSpc>
                <a:spcPct val="114000"/>
              </a:lnSpc>
              <a:spcBef>
                <a:spcPts val="200"/>
              </a:spcBef>
              <a:spcAft>
                <a:spcPts val="40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6" lvl="1" indent="0">
              <a:buClr>
                <a:srgbClr val="404040"/>
              </a:buClr>
              <a:buFont typeface="Arial" charset="0"/>
              <a:buNone/>
            </a:pPr>
            <a:r>
              <a:rPr lang="en-US" b="1" u="sng" dirty="0" smtClean="0">
                <a:solidFill>
                  <a:srgbClr val="00B050"/>
                </a:solidFill>
              </a:rPr>
              <a:t>High Performing: </a:t>
            </a:r>
            <a:r>
              <a:rPr lang="en-US" sz="1600" dirty="0" smtClean="0">
                <a:solidFill>
                  <a:srgbClr val="000000"/>
                </a:solidFill>
              </a:rPr>
              <a:t>Gujarat, Maharashtra, </a:t>
            </a:r>
            <a:r>
              <a:rPr lang="en-US" sz="1600" dirty="0" err="1" smtClean="0">
                <a:solidFill>
                  <a:srgbClr val="000000"/>
                </a:solidFill>
              </a:rPr>
              <a:t>Odisha</a:t>
            </a:r>
            <a:r>
              <a:rPr lang="en-US" sz="1600" dirty="0" smtClean="0">
                <a:solidFill>
                  <a:srgbClr val="000000"/>
                </a:solidFill>
              </a:rPr>
              <a:t>, Punjab, </a:t>
            </a:r>
          </a:p>
          <a:p>
            <a:pPr marL="1586" lvl="1" indent="0">
              <a:buClr>
                <a:srgbClr val="404040"/>
              </a:buClr>
              <a:buFont typeface="Arial" charset="0"/>
              <a:buNone/>
            </a:pPr>
            <a:r>
              <a:rPr lang="en-US" b="1" u="sng" dirty="0" smtClean="0">
                <a:solidFill>
                  <a:srgbClr val="FFC000"/>
                </a:solidFill>
              </a:rPr>
              <a:t>Medium Performing: </a:t>
            </a:r>
            <a:r>
              <a:rPr lang="en-US" sz="1600" dirty="0" smtClean="0">
                <a:solidFill>
                  <a:prstClr val="black"/>
                </a:solidFill>
              </a:rPr>
              <a:t>M.P., </a:t>
            </a:r>
            <a:r>
              <a:rPr lang="en-US" sz="1600" dirty="0" smtClean="0">
                <a:solidFill>
                  <a:srgbClr val="000000"/>
                </a:solidFill>
              </a:rPr>
              <a:t>Jharkhand,  Chhattisgarh, Rajasthan, Karnataka, </a:t>
            </a:r>
            <a:r>
              <a:rPr lang="en-US" sz="1600" dirty="0" smtClean="0">
                <a:solidFill>
                  <a:prstClr val="black"/>
                </a:solidFill>
              </a:rPr>
              <a:t>A.P. </a:t>
            </a:r>
            <a:r>
              <a:rPr lang="en-US" sz="1600" dirty="0" err="1">
                <a:solidFill>
                  <a:prstClr val="black"/>
                </a:solidFill>
              </a:rPr>
              <a:t>Telangana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1586" lvl="1" indent="0">
              <a:buClr>
                <a:srgbClr val="404040"/>
              </a:buClr>
              <a:buFont typeface="Arial" charset="0"/>
              <a:buNone/>
            </a:pPr>
            <a:r>
              <a:rPr lang="en-US" sz="1600" b="1" dirty="0" smtClean="0">
                <a:solidFill>
                  <a:srgbClr val="C00000"/>
                </a:solidFill>
              </a:rPr>
              <a:t>Required to pick up pace (10 No.) </a:t>
            </a:r>
          </a:p>
          <a:p>
            <a:pPr marL="1586" lvl="1" indent="0">
              <a:buClr>
                <a:srgbClr val="404040"/>
              </a:buClr>
              <a:buFont typeface="Arial" charset="0"/>
              <a:buNone/>
            </a:pPr>
            <a:r>
              <a:rPr lang="en-US" sz="1600" dirty="0" smtClean="0">
                <a:solidFill>
                  <a:prstClr val="black"/>
                </a:solidFill>
              </a:rPr>
              <a:t>U.P.(3), Assam(2),  Manipur(2),  J&amp;K (2) , Bihar (1)]</a:t>
            </a:r>
          </a:p>
          <a:p>
            <a:pPr marL="1586" lvl="1" indent="0">
              <a:buClr>
                <a:srgbClr val="404040"/>
              </a:buClr>
              <a:buFont typeface="Arial" charset="0"/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Yet to Start (3 No.)</a:t>
            </a:r>
          </a:p>
          <a:p>
            <a:pPr marL="1586" lvl="1" indent="0">
              <a:buClr>
                <a:srgbClr val="404040"/>
              </a:buClr>
              <a:buFont typeface="Arial" charset="0"/>
              <a:buNone/>
            </a:pPr>
            <a:r>
              <a:rPr lang="en-US" sz="1600" dirty="0" smtClean="0">
                <a:solidFill>
                  <a:prstClr val="black"/>
                </a:solidFill>
              </a:rPr>
              <a:t>[Kerala (2), Goa (1)]</a:t>
            </a:r>
            <a:endParaRPr lang="en-GB" dirty="0">
              <a:solidFill>
                <a:prstClr val="black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020111" y="5095935"/>
            <a:ext cx="2020669" cy="1572305"/>
            <a:chOff x="5786446" y="4876800"/>
            <a:chExt cx="3011647" cy="1572305"/>
          </a:xfrm>
        </p:grpSpPr>
        <p:sp>
          <p:nvSpPr>
            <p:cNvPr id="67" name="LegendRectangle1"/>
            <p:cNvSpPr>
              <a:spLocks noChangeArrowheads="1"/>
            </p:cNvSpPr>
            <p:nvPr/>
          </p:nvSpPr>
          <p:spPr bwMode="auto">
            <a:xfrm>
              <a:off x="5791200" y="4876800"/>
              <a:ext cx="216748" cy="215711"/>
            </a:xfrm>
            <a:prstGeom prst="rect">
              <a:avLst/>
            </a:prstGeom>
            <a:solidFill>
              <a:srgbClr val="00B050"/>
            </a:solidFill>
            <a:ln w="9525">
              <a:noFill/>
              <a:round/>
              <a:headEnd/>
              <a:tailEnd/>
            </a:ln>
            <a:extLst/>
          </p:spPr>
          <p:txBody>
            <a:bodyPr>
              <a:noAutofit/>
            </a:bodyPr>
            <a:lstStyle/>
            <a:p>
              <a:endParaRPr lang="en-US" sz="1400" b="1" dirty="0">
                <a:solidFill>
                  <a:srgbClr val="FFFFFF"/>
                </a:solidFill>
                <a:latin typeface="Century Gothic" pitchFamily="34" charset="0"/>
              </a:endParaRPr>
            </a:p>
          </p:txBody>
        </p:sp>
        <p:sp>
          <p:nvSpPr>
            <p:cNvPr id="68" name="LegendRectangle1"/>
            <p:cNvSpPr>
              <a:spLocks noChangeArrowheads="1"/>
            </p:cNvSpPr>
            <p:nvPr/>
          </p:nvSpPr>
          <p:spPr bwMode="auto">
            <a:xfrm>
              <a:off x="5791201" y="5225301"/>
              <a:ext cx="216748" cy="217106"/>
            </a:xfrm>
            <a:prstGeom prst="rect">
              <a:avLst/>
            </a:prstGeom>
            <a:solidFill>
              <a:srgbClr val="FFC000"/>
            </a:solidFill>
            <a:ln w="9525">
              <a:noFill/>
              <a:round/>
              <a:headEnd/>
              <a:tailEnd/>
            </a:ln>
            <a:extLst/>
          </p:spPr>
          <p:txBody>
            <a:bodyPr>
              <a:noAutofit/>
            </a:bodyPr>
            <a:lstStyle/>
            <a:p>
              <a:endParaRPr lang="en-US" sz="1400" b="1" dirty="0">
                <a:solidFill>
                  <a:srgbClr val="FFFFFF"/>
                </a:solidFill>
                <a:latin typeface="Century Gothic" pitchFamily="34" charset="0"/>
              </a:endParaRP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5791201" y="5562600"/>
              <a:ext cx="216747" cy="232021"/>
            </a:xfrm>
            <a:prstGeom prst="rect">
              <a:avLst/>
            </a:prstGeom>
            <a:solidFill>
              <a:srgbClr val="C0000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endParaRPr lang="en-US" sz="1400" b="1" dirty="0">
                <a:solidFill>
                  <a:srgbClr val="FFFFFF"/>
                </a:solidFill>
                <a:latin typeface="Century Gothic" pitchFamily="34" charset="0"/>
              </a:endParaRPr>
            </a:p>
          </p:txBody>
        </p:sp>
        <p:sp>
          <p:nvSpPr>
            <p:cNvPr id="70" name="LegendRectangle1"/>
            <p:cNvSpPr>
              <a:spLocks noChangeArrowheads="1"/>
            </p:cNvSpPr>
            <p:nvPr/>
          </p:nvSpPr>
          <p:spPr bwMode="auto">
            <a:xfrm>
              <a:off x="5791201" y="5910106"/>
              <a:ext cx="216748" cy="217106"/>
            </a:xfrm>
            <a:prstGeom prst="rect">
              <a:avLst/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endParaRPr lang="en-US" sz="1400" b="1" dirty="0">
                <a:solidFill>
                  <a:srgbClr val="FFFFFF"/>
                </a:solidFill>
                <a:latin typeface="Century Gothic" pitchFamily="34" charset="0"/>
              </a:endParaRPr>
            </a:p>
          </p:txBody>
        </p:sp>
        <p:sp>
          <p:nvSpPr>
            <p:cNvPr id="71" name="Rectangle 70"/>
            <p:cNvSpPr>
              <a:spLocks/>
            </p:cNvSpPr>
            <p:nvPr/>
          </p:nvSpPr>
          <p:spPr>
            <a:xfrm>
              <a:off x="6160348" y="4876800"/>
              <a:ext cx="2297852" cy="2340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18400" rtlCol="0" anchor="ctr" anchorCtr="0">
              <a:spAutoFit/>
            </a:bodyPr>
            <a:lstStyle/>
            <a:p>
              <a:pPr defTabSz="913526">
                <a:buClr>
                  <a:srgbClr val="404040"/>
                </a:buClr>
              </a:pPr>
              <a:r>
                <a:rPr lang="en-US" sz="1400" dirty="0">
                  <a:solidFill>
                    <a:srgbClr val="000000"/>
                  </a:solidFill>
                  <a:latin typeface="Century Gothic" pitchFamily="34" charset="0"/>
                  <a:ea typeface="Arial Unicode MS" pitchFamily="34" charset="-128"/>
                  <a:cs typeface="Arial Unicode MS" pitchFamily="34" charset="-128"/>
                </a:rPr>
                <a:t>High Performing </a:t>
              </a:r>
              <a:endParaRPr lang="en-GB" sz="1400" dirty="0">
                <a:solidFill>
                  <a:srgbClr val="000000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2" name="Rectangle 71"/>
            <p:cNvSpPr>
              <a:spLocks/>
            </p:cNvSpPr>
            <p:nvPr/>
          </p:nvSpPr>
          <p:spPr>
            <a:xfrm>
              <a:off x="6160347" y="5216842"/>
              <a:ext cx="2637746" cy="2340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18400" rtlCol="0" anchor="ctr" anchorCtr="0">
              <a:spAutoFit/>
            </a:bodyPr>
            <a:lstStyle/>
            <a:p>
              <a:pPr defTabSz="913526">
                <a:buClr>
                  <a:srgbClr val="404040"/>
                </a:buClr>
              </a:pPr>
              <a:r>
                <a:rPr lang="en-GB" sz="1400" dirty="0">
                  <a:solidFill>
                    <a:srgbClr val="000000"/>
                  </a:solidFill>
                  <a:latin typeface="Century Gothic" pitchFamily="34" charset="0"/>
                  <a:ea typeface="Arial Unicode MS" pitchFamily="34" charset="-128"/>
                  <a:cs typeface="Arial Unicode MS" pitchFamily="34" charset="-128"/>
                </a:rPr>
                <a:t>Medium </a:t>
              </a:r>
              <a:r>
                <a:rPr lang="en-GB" sz="1400" dirty="0" smtClean="0">
                  <a:solidFill>
                    <a:srgbClr val="000000"/>
                  </a:solidFill>
                  <a:latin typeface="Century Gothic" pitchFamily="34" charset="0"/>
                  <a:ea typeface="Arial Unicode MS" pitchFamily="34" charset="-128"/>
                  <a:cs typeface="Arial Unicode MS" pitchFamily="34" charset="-128"/>
                </a:rPr>
                <a:t>Performing</a:t>
              </a:r>
              <a:endParaRPr lang="en-GB" sz="1400" dirty="0">
                <a:solidFill>
                  <a:srgbClr val="000000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3" name="Rectangle 72"/>
            <p:cNvSpPr>
              <a:spLocks/>
            </p:cNvSpPr>
            <p:nvPr/>
          </p:nvSpPr>
          <p:spPr>
            <a:xfrm>
              <a:off x="6160348" y="5570974"/>
              <a:ext cx="2637744" cy="2340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18400" rtlCol="0" anchor="ctr" anchorCtr="0">
              <a:spAutoFit/>
            </a:bodyPr>
            <a:lstStyle/>
            <a:p>
              <a:pPr defTabSz="913526">
                <a:buClr>
                  <a:srgbClr val="404040"/>
                </a:buClr>
              </a:pPr>
              <a:r>
                <a:rPr lang="en-GB" sz="1400" dirty="0" smtClean="0">
                  <a:solidFill>
                    <a:srgbClr val="000000"/>
                  </a:solidFill>
                  <a:latin typeface="Century Gothic" pitchFamily="34" charset="0"/>
                  <a:ea typeface="Arial Unicode MS" pitchFamily="34" charset="-128"/>
                  <a:cs typeface="Arial Unicode MS" pitchFamily="34" charset="-128"/>
                </a:rPr>
                <a:t>To pick up pace</a:t>
              </a:r>
              <a:endParaRPr lang="en-GB" sz="1400" dirty="0">
                <a:solidFill>
                  <a:srgbClr val="000000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4" name="Rectangle 73"/>
            <p:cNvSpPr>
              <a:spLocks/>
            </p:cNvSpPr>
            <p:nvPr/>
          </p:nvSpPr>
          <p:spPr>
            <a:xfrm>
              <a:off x="6160348" y="5893188"/>
              <a:ext cx="2297852" cy="2340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18400" rtlCol="0" anchor="ctr" anchorCtr="0">
              <a:spAutoFit/>
            </a:bodyPr>
            <a:lstStyle/>
            <a:p>
              <a:pPr defTabSz="913526">
                <a:buClr>
                  <a:srgbClr val="404040"/>
                </a:buClr>
              </a:pPr>
              <a:r>
                <a:rPr lang="en-US" sz="1400" dirty="0" smtClean="0">
                  <a:solidFill>
                    <a:srgbClr val="000000"/>
                  </a:solidFill>
                  <a:latin typeface="Century Gothic" pitchFamily="34" charset="0"/>
                  <a:ea typeface="Arial Unicode MS" pitchFamily="34" charset="-128"/>
                  <a:cs typeface="Arial Unicode MS" pitchFamily="34" charset="-128"/>
                </a:rPr>
                <a:t>Yet to start</a:t>
              </a:r>
              <a:endParaRPr lang="en-GB" sz="1400" dirty="0">
                <a:solidFill>
                  <a:srgbClr val="000000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" name="LegendRectangle1"/>
            <p:cNvSpPr>
              <a:spLocks noChangeArrowheads="1"/>
            </p:cNvSpPr>
            <p:nvPr/>
          </p:nvSpPr>
          <p:spPr bwMode="auto">
            <a:xfrm>
              <a:off x="5786446" y="6215082"/>
              <a:ext cx="216748" cy="217106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endParaRPr lang="en-US" sz="1400" b="1" dirty="0">
                <a:solidFill>
                  <a:srgbClr val="FFFFFF"/>
                </a:solidFill>
                <a:latin typeface="Century Gothic" pitchFamily="34" charset="0"/>
              </a:endParaRPr>
            </a:p>
          </p:txBody>
        </p:sp>
        <p:sp>
          <p:nvSpPr>
            <p:cNvPr id="54" name="Rectangle 53"/>
            <p:cNvSpPr>
              <a:spLocks/>
            </p:cNvSpPr>
            <p:nvPr/>
          </p:nvSpPr>
          <p:spPr>
            <a:xfrm>
              <a:off x="6143636" y="6215082"/>
              <a:ext cx="2297852" cy="2340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18400" rtlCol="0" anchor="ctr" anchorCtr="0">
              <a:spAutoFit/>
            </a:bodyPr>
            <a:lstStyle/>
            <a:p>
              <a:pPr defTabSz="913526">
                <a:buClr>
                  <a:srgbClr val="404040"/>
                </a:buClr>
              </a:pPr>
              <a:r>
                <a:rPr lang="en-US" sz="1400" dirty="0" smtClean="0">
                  <a:solidFill>
                    <a:srgbClr val="000000"/>
                  </a:solidFill>
                  <a:latin typeface="Century Gothic" pitchFamily="34" charset="0"/>
                  <a:ea typeface="Arial Unicode MS" pitchFamily="34" charset="-128"/>
                  <a:cs typeface="Arial Unicode MS" pitchFamily="34" charset="-128"/>
                </a:rPr>
                <a:t>No projects in States</a:t>
              </a:r>
              <a:endParaRPr lang="en-GB" sz="1400" dirty="0">
                <a:solidFill>
                  <a:srgbClr val="000000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5234091" y="4795897"/>
            <a:ext cx="3802405" cy="2062103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prstClr val="black"/>
                </a:solidFill>
              </a:rPr>
              <a:t>Hon’ble </a:t>
            </a:r>
            <a:r>
              <a:rPr lang="en-US" sz="1600" dirty="0" err="1" smtClean="0">
                <a:solidFill>
                  <a:prstClr val="black"/>
                </a:solidFill>
              </a:rPr>
              <a:t>MoS</a:t>
            </a:r>
            <a:r>
              <a:rPr lang="en-US" sz="1600" dirty="0" smtClean="0">
                <a:solidFill>
                  <a:prstClr val="black"/>
                </a:solidFill>
              </a:rPr>
              <a:t> &amp; HM (WR,RD &amp; GR) took meetings with UP on 14.6.17, 25.6.17 &amp; All States on 24.10.17,25.10.17, 01.11.17 &amp; Feb, 18 to expedite the projects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prstClr val="black"/>
                </a:solidFill>
              </a:rPr>
              <a:t>Secretary (WR, RD &amp; GR)  took meetings with States in April,17, July,17, Sept.,17 &amp; Feb,18 to expedite the projects.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677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9497" y="332656"/>
            <a:ext cx="6047856" cy="680120"/>
          </a:xfrm>
        </p:spPr>
        <p:txBody>
          <a:bodyPr/>
          <a:lstStyle/>
          <a:p>
            <a:pPr algn="ctr"/>
            <a:r>
              <a:rPr lang="en-IN" sz="4000" b="1" dirty="0">
                <a:solidFill>
                  <a:srgbClr val="002060"/>
                </a:solidFill>
              </a:rPr>
              <a:t>Status of HKKP (SMI &amp; RRR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959491268"/>
              </p:ext>
            </p:extLst>
          </p:nvPr>
        </p:nvGraphicFramePr>
        <p:xfrm>
          <a:off x="1403648" y="1052736"/>
          <a:ext cx="6711753" cy="5079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2759">
                  <a:extLst>
                    <a:ext uri="{9D8B030D-6E8A-4147-A177-3AD203B41FA5}">
                      <a16:colId xmlns="" xmlns:a16="http://schemas.microsoft.com/office/drawing/2014/main" val="603143371"/>
                    </a:ext>
                  </a:extLst>
                </a:gridCol>
                <a:gridCol w="2489585">
                  <a:extLst>
                    <a:ext uri="{9D8B030D-6E8A-4147-A177-3AD203B41FA5}">
                      <a16:colId xmlns="" xmlns:a16="http://schemas.microsoft.com/office/drawing/2014/main" val="489564969"/>
                    </a:ext>
                  </a:extLst>
                </a:gridCol>
                <a:gridCol w="1125242">
                  <a:extLst>
                    <a:ext uri="{9D8B030D-6E8A-4147-A177-3AD203B41FA5}">
                      <a16:colId xmlns="" xmlns:a16="http://schemas.microsoft.com/office/drawing/2014/main" val="2348185757"/>
                    </a:ext>
                  </a:extLst>
                </a:gridCol>
                <a:gridCol w="1244795">
                  <a:extLst>
                    <a:ext uri="{9D8B030D-6E8A-4147-A177-3AD203B41FA5}">
                      <a16:colId xmlns="" xmlns:a16="http://schemas.microsoft.com/office/drawing/2014/main" val="1536761572"/>
                    </a:ext>
                  </a:extLst>
                </a:gridCol>
                <a:gridCol w="1259372">
                  <a:extLst>
                    <a:ext uri="{9D8B030D-6E8A-4147-A177-3AD203B41FA5}">
                      <a16:colId xmlns="" xmlns:a16="http://schemas.microsoft.com/office/drawing/2014/main" val="3104096136"/>
                    </a:ext>
                  </a:extLst>
                </a:gridCol>
              </a:tblGrid>
              <a:tr h="48782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l. No.</a:t>
                      </a:r>
                    </a:p>
                  </a:txBody>
                  <a:tcPr marL="7144" marR="7144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cheme/Item</a:t>
                      </a:r>
                    </a:p>
                  </a:txBody>
                  <a:tcPr marL="7144" marR="7144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MI</a:t>
                      </a:r>
                    </a:p>
                  </a:txBody>
                  <a:tcPr marL="7144" marR="7144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RR</a:t>
                      </a:r>
                    </a:p>
                  </a:txBody>
                  <a:tcPr marL="7144" marR="7144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7144" marR="7144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34194180"/>
                  </a:ext>
                </a:extLst>
              </a:tr>
              <a:tr h="48782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f </a:t>
                      </a:r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Included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7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1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58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="" xmlns:a16="http://schemas.microsoft.com/office/drawing/2014/main" val="4191838080"/>
                  </a:ext>
                </a:extLst>
              </a:tr>
              <a:tr h="48782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timated Cost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22.0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9.66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31.66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="" xmlns:a16="http://schemas.microsoft.com/office/drawing/2014/main" val="4255857352"/>
                  </a:ext>
                </a:extLst>
              </a:tr>
              <a:tr h="48782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enditure </a:t>
                      </a:r>
                      <a:r>
                        <a:rPr lang="en-IN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to</a:t>
                      </a:r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03/2017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89.3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.46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87.76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="" xmlns:a16="http://schemas.microsoft.com/office/drawing/2014/main" val="981514622"/>
                  </a:ext>
                </a:extLst>
              </a:tr>
              <a:tr h="48782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lance Cost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2.7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1.2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43.90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="" xmlns:a16="http://schemas.microsoft.com/office/drawing/2014/main" val="1438943206"/>
                  </a:ext>
                </a:extLst>
              </a:tr>
              <a:tr h="48782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 release </a:t>
                      </a:r>
                      <a:r>
                        <a:rPr lang="en-IN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to</a:t>
                      </a:r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03/2017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7.83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.67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2.50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="" xmlns:a16="http://schemas.microsoft.com/office/drawing/2014/main" val="3731240748"/>
                  </a:ext>
                </a:extLst>
              </a:tr>
              <a:tr h="48782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 Release in 2017-18 (till date)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.30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30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.60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="" xmlns:a16="http://schemas.microsoft.com/office/drawing/2014/main" val="1928746703"/>
                  </a:ext>
                </a:extLst>
              </a:tr>
              <a:tr h="48782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. of Scheme Completed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6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7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="" xmlns:a16="http://schemas.microsoft.com/office/drawing/2014/main" val="3440900479"/>
                  </a:ext>
                </a:extLst>
              </a:tr>
              <a:tr h="48782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tential </a:t>
                      </a:r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  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8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6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4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="" xmlns:a16="http://schemas.microsoft.com/office/drawing/2014/main" val="1601567342"/>
                  </a:ext>
                </a:extLst>
              </a:tr>
              <a:tr h="487828"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/>
                        <a:t>9</a:t>
                      </a:r>
                      <a:endParaRPr lang="en-IN" dirty="0"/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tential Created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8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1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9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="" xmlns:a16="http://schemas.microsoft.com/office/drawing/2014/main" val="368583033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067944" y="6238829"/>
            <a:ext cx="40504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n-US" sz="1400" dirty="0" err="1">
                <a:solidFill>
                  <a:srgbClr val="FF0000"/>
                </a:solidFill>
                <a:latin typeface="Arial" charset="0"/>
              </a:rPr>
              <a:t>Rs</a:t>
            </a:r>
            <a:r>
              <a:rPr lang="en-US" sz="1400" dirty="0">
                <a:solidFill>
                  <a:srgbClr val="FF0000"/>
                </a:solidFill>
                <a:latin typeface="Arial" charset="0"/>
              </a:rPr>
              <a:t>. In </a:t>
            </a:r>
            <a:r>
              <a:rPr lang="en-US" sz="1400" dirty="0" smtClean="0">
                <a:solidFill>
                  <a:srgbClr val="FF0000"/>
                </a:solidFill>
                <a:latin typeface="Arial" charset="0"/>
              </a:rPr>
              <a:t>Cr. ; </a:t>
            </a:r>
            <a:r>
              <a:rPr lang="en-US" sz="1400" dirty="0">
                <a:solidFill>
                  <a:srgbClr val="FF0000"/>
                </a:solidFill>
                <a:latin typeface="Arial" charset="0"/>
              </a:rPr>
              <a:t>Potential in Lakh </a:t>
            </a:r>
            <a:r>
              <a:rPr lang="en-US" sz="1400" dirty="0" smtClean="0">
                <a:solidFill>
                  <a:srgbClr val="FF0000"/>
                </a:solidFill>
                <a:latin typeface="Arial" charset="0"/>
              </a:rPr>
              <a:t>Ha</a:t>
            </a:r>
            <a:r>
              <a:rPr lang="en-US" sz="1600" dirty="0" smtClean="0">
                <a:solidFill>
                  <a:srgbClr val="FF0000"/>
                </a:solidFill>
                <a:latin typeface="Arial" charset="0"/>
              </a:rPr>
              <a:t>.</a:t>
            </a:r>
            <a:endParaRPr lang="en-US" sz="1600" dirty="0">
              <a:solidFill>
                <a:srgbClr val="FF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77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5" name="Content Placeholder 2"/>
          <p:cNvSpPr>
            <a:spLocks noGrp="1"/>
          </p:cNvSpPr>
          <p:nvPr>
            <p:ph sz="quarter" idx="1"/>
          </p:nvPr>
        </p:nvSpPr>
        <p:spPr>
          <a:xfrm>
            <a:off x="234950" y="1124744"/>
            <a:ext cx="8763000" cy="5257800"/>
          </a:xfrm>
        </p:spPr>
        <p:txBody>
          <a:bodyPr>
            <a:normAutofit/>
          </a:bodyPr>
          <a:lstStyle/>
          <a:p>
            <a:pPr marL="288925" indent="-288925" algn="just" eaLnBrk="1" hangingPunct="1">
              <a:lnSpc>
                <a:spcPct val="15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Soil &amp; moisture conservation measures</a:t>
            </a:r>
          </a:p>
          <a:p>
            <a:pPr marL="288925" indent="-288925" algn="just" eaLnBrk="1" hangingPunct="1">
              <a:lnSpc>
                <a:spcPct val="15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Rainwater harvesting measures</a:t>
            </a:r>
          </a:p>
          <a:p>
            <a:pPr marL="288925" indent="-288925" algn="just" eaLnBrk="1" hangingPunct="1">
              <a:lnSpc>
                <a:spcPct val="15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Afforestation, horticulture and pasture development</a:t>
            </a:r>
          </a:p>
          <a:p>
            <a:pPr marL="288925" indent="-288925" algn="just" eaLnBrk="1" hangingPunct="1">
              <a:lnSpc>
                <a:spcPct val="15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Livelihood activities including production systems &amp; micro-enterprises</a:t>
            </a:r>
          </a:p>
          <a:p>
            <a:pPr marL="288925" indent="-288925" algn="just" eaLnBrk="1" hangingPunct="1">
              <a:lnSpc>
                <a:spcPct val="15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Capacity building and awareness generation</a:t>
            </a:r>
          </a:p>
          <a:p>
            <a:pPr marL="288925" indent="-288925" algn="just" eaLnBrk="1" hangingPunct="1">
              <a:lnSpc>
                <a:spcPct val="15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People’s participation - Entry Point; Planning &amp; Implementation; Sustainability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04800" y="223410"/>
            <a:ext cx="8623300" cy="6477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anchor="ctr"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sz="3200" b="1" dirty="0">
                <a:latin typeface="+mn-lt"/>
                <a:cs typeface="Arial" panose="020B0604020202020204" pitchFamily="34" charset="0"/>
              </a:rPr>
              <a:t>Activities under Watershed Projects</a:t>
            </a:r>
            <a:endParaRPr lang="en-IN" sz="3200" b="1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6279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3142" y="647700"/>
            <a:ext cx="8610600" cy="5833020"/>
          </a:xfrm>
        </p:spPr>
        <p:txBody>
          <a:bodyPr>
            <a:noAutofit/>
          </a:bodyPr>
          <a:lstStyle/>
          <a:p>
            <a:pPr marL="173038" indent="-153988" algn="just">
              <a:lnSpc>
                <a:spcPct val="120000"/>
              </a:lnSpc>
              <a:spcBef>
                <a:spcPts val="800"/>
              </a:spcBef>
              <a:spcAft>
                <a:spcPts val="1200"/>
              </a:spcAft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The Integrated Watershed Management Programme (IWMP) 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amalgamated 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as the Watershed Development Component (WDC) of the Pradhan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Mantri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Krishi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Sinchayee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 Yojana (PMKSY) in 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2015-16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.</a:t>
            </a:r>
            <a:endParaRPr lang="en-US" sz="2400" dirty="0" smtClean="0">
              <a:solidFill>
                <a:schemeClr val="accent1">
                  <a:lumMod val="75000"/>
                </a:schemeClr>
              </a:solidFill>
              <a:cs typeface="Arial" pitchFamily="34" charset="0"/>
            </a:endParaRPr>
          </a:p>
          <a:p>
            <a:pPr marL="173038" indent="-153988" algn="just">
              <a:lnSpc>
                <a:spcPct val="120000"/>
              </a:lnSpc>
              <a:spcBef>
                <a:spcPts val="800"/>
              </a:spcBef>
              <a:spcAft>
                <a:spcPts val="1200"/>
              </a:spcAft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8214 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watershed development projects sanctioned during 2009-10 to 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2014-15 in 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28 States (except Goa) involving an area of about 39.07 million 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ha with Rs.33,642.24 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crore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 as Central share (Total cost: Rs. 50,739.58 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crore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).</a:t>
            </a:r>
            <a:endParaRPr lang="en-US" sz="2400" dirty="0" smtClean="0">
              <a:solidFill>
                <a:schemeClr val="accent1">
                  <a:lumMod val="75000"/>
                </a:schemeClr>
              </a:solidFill>
              <a:cs typeface="Arial" pitchFamily="34" charset="0"/>
            </a:endParaRPr>
          </a:p>
          <a:p>
            <a:pPr marL="173038" indent="-153988" algn="just">
              <a:lnSpc>
                <a:spcPct val="120000"/>
              </a:lnSpc>
              <a:spcBef>
                <a:spcPts val="800"/>
              </a:spcBef>
              <a:spcAft>
                <a:spcPts val="1200"/>
              </a:spcAft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Central 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share of 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Rs.15,475.51 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cr. 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released since 2009 -10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upto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Feb’18. 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(During 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2017-18: 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Rs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. 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1490.17 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cr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.)</a:t>
            </a:r>
          </a:p>
          <a:p>
            <a:pPr marL="173038" indent="-153988" algn="just">
              <a:lnSpc>
                <a:spcPct val="120000"/>
              </a:lnSpc>
              <a:spcBef>
                <a:spcPts val="800"/>
              </a:spcBef>
              <a:spcAft>
                <a:spcPts val="1200"/>
              </a:spcAft>
            </a:pPr>
            <a:r>
              <a:rPr lang="en-IN" sz="2400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1195 (15%) projects Completion Reported (Administrative reports received), 351 projects (4%) in Consolidation Phase, 4342 (53%) in Works Phase and 2,326 (28%) projects in Preparatory Phase</a:t>
            </a:r>
            <a:r>
              <a:rPr lang="en-IN" sz="2400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.</a:t>
            </a:r>
            <a:endParaRPr lang="en-US" sz="2400" dirty="0" smtClean="0">
              <a:solidFill>
                <a:schemeClr val="accent1">
                  <a:lumMod val="75000"/>
                </a:schemeClr>
              </a:solidFill>
              <a:cs typeface="Arial" pitchFamily="34" charset="0"/>
            </a:endParaRPr>
          </a:p>
          <a:p>
            <a:pPr marL="19050" indent="0" algn="just">
              <a:lnSpc>
                <a:spcPct val="120000"/>
              </a:lnSpc>
              <a:spcBef>
                <a:spcPts val="800"/>
              </a:spcBef>
              <a:spcAft>
                <a:spcPts val="1200"/>
              </a:spcAft>
              <a:buNone/>
            </a:pPr>
            <a:r>
              <a:rPr lang="en-US" sz="2400" dirty="0" smtClean="0">
                <a:cs typeface="Arial" pitchFamily="34" charset="0"/>
              </a:rPr>
              <a:t>   </a:t>
            </a:r>
            <a:endParaRPr lang="en-US" sz="2400" dirty="0">
              <a:cs typeface="Arial" pitchFamily="34" charset="0"/>
            </a:endParaRPr>
          </a:p>
          <a:p>
            <a:pPr algn="just">
              <a:lnSpc>
                <a:spcPts val="3000"/>
              </a:lnSpc>
            </a:pPr>
            <a:endParaRPr lang="en-US" sz="2400" dirty="0" smtClean="0">
              <a:cs typeface="Arial" pitchFamily="34" charset="0"/>
            </a:endParaRPr>
          </a:p>
          <a:p>
            <a:pPr marL="0" indent="0" algn="just">
              <a:lnSpc>
                <a:spcPts val="3000"/>
              </a:lnSpc>
              <a:buNone/>
            </a:pPr>
            <a:endParaRPr lang="en-US" sz="2400" dirty="0" smtClean="0">
              <a:cs typeface="Arial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95536" y="0"/>
            <a:ext cx="8405812" cy="6477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anchor="ctr">
            <a:normAutofit fontScale="2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 algn="ctr" defTabSz="457200">
              <a:defRPr/>
            </a:pPr>
            <a:endParaRPr lang="en-US" sz="5100" b="1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algn="ctr" defTabSz="457200">
              <a:defRPr/>
            </a:pPr>
            <a:r>
              <a:rPr lang="en-US" sz="12800" b="1" dirty="0" smtClean="0">
                <a:latin typeface="+mn-lt"/>
                <a:cs typeface="Arial" panose="020B0604020202020204" pitchFamily="34" charset="0"/>
              </a:rPr>
              <a:t>Watershed Development Component</a:t>
            </a:r>
          </a:p>
          <a:p>
            <a:pPr>
              <a:defRPr/>
            </a:pPr>
            <a:r>
              <a:rPr lang="en-US" sz="3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3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578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emplate_internal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1"/>
          <p:cNvSpPr txBox="1">
            <a:spLocks noGrp="1"/>
          </p:cNvSpPr>
          <p:nvPr>
            <p:ph type="title"/>
          </p:nvPr>
        </p:nvSpPr>
        <p:spPr bwMode="auto">
          <a:xfrm>
            <a:off x="214313" y="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2800" b="1" dirty="0">
                <a:latin typeface="Georgia" pitchFamily="18" charset="0"/>
                <a:cs typeface="Times New Roman" pitchFamily="18" charset="0"/>
              </a:rPr>
              <a:t>PMKSY-Per Drop More Crop</a:t>
            </a:r>
            <a:br>
              <a:rPr lang="en-US" sz="2800" b="1" dirty="0">
                <a:latin typeface="Georgia" pitchFamily="18" charset="0"/>
                <a:cs typeface="Times New Roman" pitchFamily="18" charset="0"/>
              </a:rPr>
            </a:br>
            <a:r>
              <a:rPr lang="en-US" sz="2800" b="1" dirty="0">
                <a:latin typeface="Georgia" pitchFamily="18" charset="0"/>
                <a:cs typeface="Times New Roman" pitchFamily="18" charset="0"/>
              </a:rPr>
              <a:t> Physical Progress (Up to </a:t>
            </a:r>
            <a:r>
              <a:rPr lang="en-US" sz="2800" b="1" dirty="0" smtClean="0">
                <a:latin typeface="Georgia" pitchFamily="18" charset="0"/>
                <a:cs typeface="Times New Roman" pitchFamily="18" charset="0"/>
              </a:rPr>
              <a:t>07.03.2018)</a:t>
            </a:r>
            <a:endParaRPr lang="en-IN" sz="2800" b="1" dirty="0">
              <a:latin typeface="Georgia" pitchFamily="18" charset="0"/>
              <a:cs typeface="Times New Roman" pitchFamily="18" charset="0"/>
            </a:endParaRPr>
          </a:p>
        </p:txBody>
      </p:sp>
      <p:graphicFrame>
        <p:nvGraphicFramePr>
          <p:cNvPr id="8" name="Object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98183669"/>
              </p:ext>
            </p:extLst>
          </p:nvPr>
        </p:nvGraphicFramePr>
        <p:xfrm>
          <a:off x="500034" y="1357298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1"/>
          <p:cNvSpPr txBox="1"/>
          <p:nvPr/>
        </p:nvSpPr>
        <p:spPr>
          <a:xfrm rot="16200000">
            <a:off x="-1200150" y="3200400"/>
            <a:ext cx="3657600" cy="685800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800" b="1" dirty="0" smtClean="0">
                <a:solidFill>
                  <a:schemeClr val="accent2">
                    <a:lumMod val="75000"/>
                  </a:schemeClr>
                </a:solidFill>
              </a:rPr>
              <a:t>Area in Lakh Ha</a:t>
            </a:r>
            <a:endParaRPr lang="en-IN" sz="28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2428860" y="5572140"/>
            <a:ext cx="3657600" cy="428628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IN" sz="2800" b="1" dirty="0" smtClean="0">
                <a:solidFill>
                  <a:schemeClr val="accent2">
                    <a:lumMod val="75000"/>
                  </a:schemeClr>
                </a:solidFill>
              </a:rPr>
              <a:t>Financial year</a:t>
            </a:r>
          </a:p>
        </p:txBody>
      </p:sp>
    </p:spTree>
    <p:extLst>
      <p:ext uri="{BB962C8B-B14F-4D97-AF65-F5344CB8AC3E}">
        <p14:creationId xmlns:p14="http://schemas.microsoft.com/office/powerpoint/2010/main" val="1096010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/>
          </p:nvPr>
        </p:nvSpPr>
        <p:spPr>
          <a:xfrm>
            <a:off x="0" y="142875"/>
            <a:ext cx="8229600" cy="1143000"/>
          </a:xfrm>
        </p:spPr>
        <p:txBody>
          <a:bodyPr/>
          <a:lstStyle/>
          <a:p>
            <a:pPr eaLnBrk="1" hangingPunct="1"/>
            <a:r>
              <a:rPr lang="en-US" sz="3200" b="1" smtClean="0"/>
              <a:t>PMKSY-Per Drop More Crop</a:t>
            </a:r>
            <a:br>
              <a:rPr lang="en-US" sz="3200" b="1" smtClean="0"/>
            </a:br>
            <a:r>
              <a:rPr lang="en-US" sz="3200" b="1" smtClean="0"/>
              <a:t> Financial Progress (Up to 20.09.2017)</a:t>
            </a:r>
            <a:endParaRPr lang="en-IN" sz="3200" b="1" smtClean="0"/>
          </a:p>
        </p:txBody>
      </p:sp>
      <p:graphicFrame>
        <p:nvGraphicFramePr>
          <p:cNvPr id="4099" name="Content Placeholder 3"/>
          <p:cNvGraphicFramePr>
            <a:graphicFrameLocks noGrp="1"/>
          </p:cNvGraphicFramePr>
          <p:nvPr>
            <p:ph idx="1"/>
          </p:nvPr>
        </p:nvGraphicFramePr>
        <p:xfrm>
          <a:off x="1071563" y="1714500"/>
          <a:ext cx="7883525" cy="452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" r:id="rId5" imgW="7882811" imgH="4529721" progId="Excel.Chart.8">
                  <p:embed/>
                </p:oleObj>
              </mc:Choice>
              <mc:Fallback>
                <p:oleObj r:id="rId5" imgW="7882811" imgH="4529721" progId="Excel.Chart.8">
                  <p:embed/>
                  <p:pic>
                    <p:nvPicPr>
                      <p:cNvPr id="0" name="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1563" y="1714500"/>
                        <a:ext cx="7883525" cy="45259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0" name="Picture 3" descr="template_internal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1" name="Title 1"/>
          <p:cNvSpPr txBox="1">
            <a:spLocks/>
          </p:cNvSpPr>
          <p:nvPr/>
        </p:nvSpPr>
        <p:spPr bwMode="auto">
          <a:xfrm>
            <a:off x="214313" y="142875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2800" b="1" dirty="0" smtClean="0">
                <a:solidFill>
                  <a:srgbClr val="000000"/>
                </a:solidFill>
                <a:latin typeface="Georgia" pitchFamily="18" charset="0"/>
                <a:cs typeface="Times New Roman" pitchFamily="18" charset="0"/>
              </a:rPr>
              <a:t>PMKSY-Per Drop More Crop</a:t>
            </a:r>
            <a:br>
              <a:rPr lang="en-US" sz="2800" b="1" dirty="0" smtClean="0">
                <a:solidFill>
                  <a:srgbClr val="000000"/>
                </a:solidFill>
                <a:latin typeface="Georgia" pitchFamily="18" charset="0"/>
                <a:cs typeface="Times New Roman" pitchFamily="18" charset="0"/>
              </a:rPr>
            </a:br>
            <a:r>
              <a:rPr lang="en-US" sz="2800" b="1" dirty="0" smtClean="0">
                <a:solidFill>
                  <a:srgbClr val="000000"/>
                </a:solidFill>
                <a:latin typeface="Georgia" pitchFamily="18" charset="0"/>
                <a:cs typeface="Times New Roman" pitchFamily="18" charset="0"/>
              </a:rPr>
              <a:t> Financial </a:t>
            </a:r>
            <a:r>
              <a:rPr lang="en-US" sz="2800" b="1" dirty="0" smtClean="0">
                <a:solidFill>
                  <a:srgbClr val="000000"/>
                </a:solidFill>
                <a:latin typeface="Georgia" pitchFamily="18" charset="0"/>
                <a:cs typeface="Times New Roman" pitchFamily="18" charset="0"/>
              </a:rPr>
              <a:t>Progress</a:t>
            </a:r>
            <a:endParaRPr lang="en-IN" sz="2800" b="1" dirty="0" smtClean="0">
              <a:solidFill>
                <a:srgbClr val="000000"/>
              </a:solidFill>
              <a:latin typeface="Georgia" pitchFamily="18" charset="0"/>
              <a:cs typeface="Times New Roman" pitchFamily="18" charset="0"/>
            </a:endParaRPr>
          </a:p>
        </p:txBody>
      </p:sp>
      <p:graphicFrame>
        <p:nvGraphicFramePr>
          <p:cNvPr id="4102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7293610"/>
              </p:ext>
            </p:extLst>
          </p:nvPr>
        </p:nvGraphicFramePr>
        <p:xfrm>
          <a:off x="709613" y="1433513"/>
          <a:ext cx="8420100" cy="4352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" name="Chart" r:id="rId8" imgW="8391652" imgH="4343501" progId="Excel.Chart.8">
                  <p:embed/>
                </p:oleObj>
              </mc:Choice>
              <mc:Fallback>
                <p:oleObj name="Chart" r:id="rId8" imgW="8391652" imgH="4343501" progId="Excel.Chart.8">
                  <p:embed/>
                  <p:pic>
                    <p:nvPicPr>
                      <p:cNvPr id="0" name="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09613" y="1433513"/>
                        <a:ext cx="8420100" cy="4352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1"/>
          <p:cNvSpPr txBox="1"/>
          <p:nvPr/>
        </p:nvSpPr>
        <p:spPr>
          <a:xfrm rot="16200000">
            <a:off x="-1714500" y="3071813"/>
            <a:ext cx="4400550" cy="685800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800" b="1" dirty="0" smtClean="0">
                <a:solidFill>
                  <a:srgbClr val="333399">
                    <a:lumMod val="75000"/>
                  </a:srgbClr>
                </a:solidFill>
              </a:rPr>
              <a:t>Amount in Crore(Rs.)</a:t>
            </a:r>
            <a:endParaRPr lang="en-IN" sz="2800" b="1" dirty="0">
              <a:solidFill>
                <a:srgbClr val="333399">
                  <a:lumMod val="75000"/>
                </a:srgbClr>
              </a:solidFill>
            </a:endParaRPr>
          </a:p>
        </p:txBody>
      </p:sp>
      <p:sp>
        <p:nvSpPr>
          <p:cNvPr id="8" name="TextBox 1"/>
          <p:cNvSpPr txBox="1"/>
          <p:nvPr/>
        </p:nvSpPr>
        <p:spPr>
          <a:xfrm>
            <a:off x="2500313" y="5929313"/>
            <a:ext cx="3657600" cy="533400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IN" sz="2800" b="1" dirty="0" smtClean="0">
                <a:solidFill>
                  <a:srgbClr val="333399">
                    <a:lumMod val="75000"/>
                  </a:srgbClr>
                </a:solidFill>
              </a:rPr>
              <a:t>Financial year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198997" y="6264315"/>
            <a:ext cx="19442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For 2017-18 as available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603986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7704" y="135175"/>
            <a:ext cx="6607646" cy="720858"/>
          </a:xfrm>
        </p:spPr>
        <p:txBody>
          <a:bodyPr anchor="t">
            <a:normAutofit/>
          </a:bodyPr>
          <a:lstStyle/>
          <a:p>
            <a:r>
              <a:rPr lang="en-US" dirty="0" smtClean="0"/>
              <a:t>Challenges  </a:t>
            </a:r>
            <a:r>
              <a:rPr lang="en-US" dirty="0" smtClean="0"/>
              <a:t>-  </a:t>
            </a:r>
            <a:r>
              <a:rPr lang="en-US" dirty="0" smtClean="0"/>
              <a:t>Irrigation  Sector: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907704" y="986125"/>
            <a:ext cx="6927016" cy="563231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285750" indent="-342900" algn="ju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AB5C4">
                  <a:lumMod val="50000"/>
                </a:srgbClr>
              </a:buClr>
              <a:buFont typeface="Arial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Water: finite resource and main input for agriculture; Canal irrigation efficiency India - 25 %; Israel, China, Japan - 60 %.</a:t>
            </a:r>
          </a:p>
          <a:p>
            <a:pPr marL="285750" indent="-342900" algn="ju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AB5C4">
                  <a:lumMod val="50000"/>
                </a:srgbClr>
              </a:buClr>
              <a:buFont typeface="Arial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Large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gaps between 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Irrigation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P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otential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C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reated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(IPC) and 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Irrigation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P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otential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U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tilized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(IPU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).</a:t>
            </a:r>
            <a:endParaRPr lang="en-US" sz="2000" dirty="0">
              <a:solidFill>
                <a:prstClr val="black"/>
              </a:solidFill>
              <a:latin typeface="Arial" pitchFamily="34" charset="0"/>
              <a:cs typeface="+mn-cs"/>
            </a:endParaRPr>
          </a:p>
          <a:p>
            <a:pPr marL="285750" indent="-342900" algn="ju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AB5C4">
                  <a:lumMod val="50000"/>
                </a:srgbClr>
              </a:buClr>
              <a:buFont typeface="Arial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Poorly maintained Irrigation assets: require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huge 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investments</a:t>
            </a:r>
            <a:endParaRPr lang="en-US" sz="2000" dirty="0">
              <a:solidFill>
                <a:prstClr val="black"/>
              </a:solidFill>
              <a:latin typeface="Arial" pitchFamily="34" charset="0"/>
              <a:cs typeface="+mn-cs"/>
            </a:endParaRPr>
          </a:p>
          <a:p>
            <a:pPr marL="285750" indent="-342900" algn="ju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AB5C4">
                  <a:lumMod val="50000"/>
                </a:srgbClr>
              </a:buClr>
              <a:buFont typeface="Arial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65% of Irrigated area is dependent on 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Ground Water 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which is rapidly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depleting –  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unsustainable</a:t>
            </a:r>
            <a:endParaRPr lang="en-US" sz="2000" dirty="0">
              <a:solidFill>
                <a:prstClr val="black"/>
              </a:solidFill>
              <a:latin typeface="Arial" pitchFamily="34" charset="0"/>
              <a:cs typeface="+mn-cs"/>
            </a:endParaRPr>
          </a:p>
          <a:p>
            <a:pPr marL="285750" indent="-342900" algn="ju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AB5C4">
                  <a:lumMod val="50000"/>
                </a:srgbClr>
              </a:buClr>
              <a:buFont typeface="Arial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Reforms urgently required 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for efficiency improvement: participatory irrigation management (PIM);  transfer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of assets to Water User’s Association (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WUA); delivery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through 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pipes;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micro 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irrigation; change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in cropping 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and consumption pattern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+mn-cs"/>
              </a:rPr>
              <a:t>etc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.</a:t>
            </a:r>
            <a:endParaRPr lang="en-US" sz="2000" dirty="0">
              <a:solidFill>
                <a:prstClr val="black"/>
              </a:solidFill>
              <a:latin typeface="Arial" pitchFamily="34" charset="0"/>
              <a:cs typeface="+mn-cs"/>
            </a:endParaRPr>
          </a:p>
          <a:p>
            <a:pPr marL="285750" indent="-342900" algn="ju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AB5C4">
                  <a:lumMod val="50000"/>
                </a:srgbClr>
              </a:buClr>
              <a:buFont typeface="Arial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cs typeface="+mn-cs"/>
              </a:rPr>
              <a:t>Demand management key to water sector reforms.</a:t>
            </a:r>
            <a:endParaRPr lang="en-US" sz="2000" dirty="0">
              <a:solidFill>
                <a:prstClr val="black"/>
              </a:solidFill>
              <a:latin typeface="Arial" pitchFamily="34" charset="0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0377" y="260648"/>
            <a:ext cx="1673311" cy="6357787"/>
          </a:xfrm>
          <a:prstGeom prst="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 smtClean="0">
                <a:solidFill>
                  <a:prstClr val="white"/>
                </a:solidFill>
              </a:rPr>
              <a:t>Promotion of </a:t>
            </a:r>
            <a:r>
              <a:rPr lang="en-US" sz="2000" dirty="0">
                <a:solidFill>
                  <a:prstClr val="white"/>
                </a:solidFill>
              </a:rPr>
              <a:t>C</a:t>
            </a:r>
            <a:r>
              <a:rPr lang="en-US" sz="2000" dirty="0" smtClean="0">
                <a:solidFill>
                  <a:prstClr val="white"/>
                </a:solidFill>
              </a:rPr>
              <a:t>onvergence, Expansion of Cultivable </a:t>
            </a:r>
            <a:r>
              <a:rPr lang="en-US" sz="2000" dirty="0" smtClean="0">
                <a:solidFill>
                  <a:prstClr val="white"/>
                </a:solidFill>
              </a:rPr>
              <a:t>Area</a:t>
            </a:r>
            <a:r>
              <a:rPr lang="en-US" sz="2000" dirty="0" smtClean="0">
                <a:solidFill>
                  <a:prstClr val="white"/>
                </a:solidFill>
              </a:rPr>
              <a:t>, Water Management,  Water Use </a:t>
            </a:r>
            <a:r>
              <a:rPr lang="en-US" sz="2000" dirty="0" smtClean="0">
                <a:solidFill>
                  <a:prstClr val="white"/>
                </a:solidFill>
              </a:rPr>
              <a:t>Efficiency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 flipH="1">
            <a:off x="1907704" y="764608"/>
            <a:ext cx="7233084" cy="45719"/>
          </a:xfrm>
          <a:prstGeom prst="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6413" y="6522733"/>
            <a:ext cx="432535" cy="365125"/>
          </a:xfrm>
        </p:spPr>
        <p:txBody>
          <a:bodyPr/>
          <a:lstStyle/>
          <a:p>
            <a:fld id="{446009A7-F1CB-FB42-86C6-2C203E0570C4}" type="slidenum">
              <a:rPr lang="en-US" sz="1400" b="1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 sz="1400" b="1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728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 txBox="1">
            <a:spLocks noGrp="1"/>
          </p:cNvSpPr>
          <p:nvPr>
            <p:ph type="title"/>
          </p:nvPr>
        </p:nvSpPr>
        <p:spPr>
          <a:xfrm>
            <a:off x="326000" y="192004"/>
            <a:ext cx="8520600" cy="5727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/>
          <a:p>
            <a:r>
              <a:rPr lang="en" sz="3200" b="1" dirty="0" smtClean="0"/>
              <a:t>CONVERGENCE WITH MGNREGS</a:t>
            </a:r>
            <a:endParaRPr lang="en" sz="3200" b="1" dirty="0"/>
          </a:p>
        </p:txBody>
      </p:sp>
      <p:sp>
        <p:nvSpPr>
          <p:cNvPr id="67" name="Shape 67"/>
          <p:cNvSpPr txBox="1">
            <a:spLocks noGrp="1"/>
          </p:cNvSpPr>
          <p:nvPr>
            <p:ph type="body" idx="1"/>
          </p:nvPr>
        </p:nvSpPr>
        <p:spPr>
          <a:xfrm>
            <a:off x="179512" y="1052736"/>
            <a:ext cx="8856984" cy="504056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/>
          <a:p>
            <a:pPr marL="228600" indent="0">
              <a:lnSpc>
                <a:spcPct val="114000"/>
              </a:lnSpc>
              <a:spcBef>
                <a:spcPts val="2400"/>
              </a:spcBef>
              <a:buNone/>
            </a:pPr>
            <a:r>
              <a:rPr lang="en" sz="2800" b="1" dirty="0">
                <a:solidFill>
                  <a:schemeClr val="accent1">
                    <a:lumMod val="75000"/>
                  </a:schemeClr>
                </a:solidFill>
              </a:rPr>
              <a:t>MISSION WATER CONSERVATION</a:t>
            </a:r>
          </a:p>
          <a:p>
            <a:pPr marL="514350" indent="-285750">
              <a:lnSpc>
                <a:spcPct val="114000"/>
              </a:lnSpc>
              <a:spcBef>
                <a:spcPts val="1800"/>
              </a:spcBef>
            </a:pPr>
            <a:r>
              <a:rPr lang="en" sz="2800" dirty="0" smtClean="0">
                <a:solidFill>
                  <a:schemeClr val="accent1">
                    <a:lumMod val="75000"/>
                  </a:schemeClr>
                </a:solidFill>
              </a:rPr>
              <a:t>Actionable </a:t>
            </a:r>
            <a:r>
              <a:rPr lang="en" sz="2800" dirty="0">
                <a:solidFill>
                  <a:schemeClr val="accent1">
                    <a:lumMod val="75000"/>
                  </a:schemeClr>
                </a:solidFill>
              </a:rPr>
              <a:t>Framework jointly with MoWR and MoA &amp; FW</a:t>
            </a:r>
          </a:p>
          <a:p>
            <a:pPr marL="514350" indent="-285750">
              <a:lnSpc>
                <a:spcPct val="114000"/>
              </a:lnSpc>
              <a:spcBef>
                <a:spcPts val="1800"/>
              </a:spcBef>
            </a:pPr>
            <a:r>
              <a:rPr lang="en" sz="2800" dirty="0">
                <a:solidFill>
                  <a:schemeClr val="accent1">
                    <a:lumMod val="75000"/>
                  </a:schemeClr>
                </a:solidFill>
              </a:rPr>
              <a:t>Leverages the synergies amongst </a:t>
            </a:r>
            <a:r>
              <a:rPr lang="en" sz="2800" dirty="0" smtClean="0">
                <a:solidFill>
                  <a:schemeClr val="accent1">
                    <a:lumMod val="75000"/>
                  </a:schemeClr>
                </a:solidFill>
              </a:rPr>
              <a:t>MGNREGS and PMKSY</a:t>
            </a:r>
            <a:endParaRPr lang="en" sz="2800" dirty="0">
              <a:solidFill>
                <a:schemeClr val="accent1">
                  <a:lumMod val="75000"/>
                </a:schemeClr>
              </a:solidFill>
            </a:endParaRPr>
          </a:p>
          <a:p>
            <a:pPr marL="514350" indent="-285750">
              <a:lnSpc>
                <a:spcPct val="114000"/>
              </a:lnSpc>
              <a:spcBef>
                <a:spcPts val="1800"/>
              </a:spcBef>
            </a:pPr>
            <a:r>
              <a:rPr lang="en" sz="2800" dirty="0">
                <a:solidFill>
                  <a:schemeClr val="accent1">
                    <a:lumMod val="75000"/>
                  </a:schemeClr>
                </a:solidFill>
              </a:rPr>
              <a:t>2264 Mission Water Conservation Blocks identified</a:t>
            </a:r>
          </a:p>
          <a:p>
            <a:pPr marL="457200" indent="-228600">
              <a:lnSpc>
                <a:spcPct val="114000"/>
              </a:lnSpc>
              <a:spcBef>
                <a:spcPts val="1800"/>
              </a:spcBef>
              <a:buClr>
                <a:schemeClr val="dk1"/>
              </a:buClr>
            </a:pPr>
            <a:r>
              <a:rPr lang="en" sz="2800" dirty="0">
                <a:solidFill>
                  <a:schemeClr val="accent1">
                    <a:lumMod val="75000"/>
                  </a:schemeClr>
                </a:solidFill>
              </a:rPr>
              <a:t>At least 65% of total expenditure on NRM in these Blocks</a:t>
            </a:r>
          </a:p>
          <a:p>
            <a:pPr marL="457200" indent="-228600">
              <a:lnSpc>
                <a:spcPct val="114000"/>
              </a:lnSpc>
              <a:spcBef>
                <a:spcPts val="1800"/>
              </a:spcBef>
              <a:buClr>
                <a:schemeClr val="dk1"/>
              </a:buClr>
            </a:pPr>
            <a:r>
              <a:rPr lang="en" sz="2800" dirty="0">
                <a:solidFill>
                  <a:schemeClr val="accent1">
                    <a:lumMod val="75000"/>
                  </a:schemeClr>
                </a:solidFill>
              </a:rPr>
              <a:t>NRM works to be part of </a:t>
            </a:r>
            <a:r>
              <a:rPr lang="en" sz="2800" b="1" dirty="0">
                <a:solidFill>
                  <a:schemeClr val="accent1">
                    <a:lumMod val="75000"/>
                  </a:schemeClr>
                </a:solidFill>
              </a:rPr>
              <a:t>DIP </a:t>
            </a:r>
            <a:r>
              <a:rPr lang="en" sz="2800" dirty="0">
                <a:solidFill>
                  <a:schemeClr val="accent1">
                    <a:lumMod val="75000"/>
                  </a:schemeClr>
                </a:solidFill>
              </a:rPr>
              <a:t>under PMKSY.</a:t>
            </a:r>
          </a:p>
        </p:txBody>
      </p:sp>
    </p:spTree>
    <p:extLst>
      <p:ext uri="{BB962C8B-B14F-4D97-AF65-F5344CB8AC3E}">
        <p14:creationId xmlns:p14="http://schemas.microsoft.com/office/powerpoint/2010/main" val="981690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hape 60"/>
          <p:cNvSpPr txBox="1">
            <a:spLocks noGrp="1"/>
          </p:cNvSpPr>
          <p:nvPr>
            <p:ph type="title"/>
          </p:nvPr>
        </p:nvSpPr>
        <p:spPr>
          <a:xfrm>
            <a:off x="311700" y="192004"/>
            <a:ext cx="8520600" cy="5727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/>
          <a:p>
            <a:r>
              <a:rPr lang="en" sz="3200" b="1" dirty="0"/>
              <a:t>PMKSY – Contributions From MGNREGS</a:t>
            </a:r>
          </a:p>
        </p:txBody>
      </p:sp>
      <p:sp>
        <p:nvSpPr>
          <p:cNvPr id="61" name="Shape 61"/>
          <p:cNvSpPr txBox="1">
            <a:spLocks noGrp="1"/>
          </p:cNvSpPr>
          <p:nvPr>
            <p:ph type="body" idx="1"/>
          </p:nvPr>
        </p:nvSpPr>
        <p:spPr>
          <a:xfrm>
            <a:off x="251520" y="1052736"/>
            <a:ext cx="8652788" cy="5457312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/>
          <a:p>
            <a:pPr marL="514350" indent="-285750"/>
            <a:r>
              <a:rPr lang="en" sz="2800" b="1" dirty="0">
                <a:solidFill>
                  <a:schemeClr val="accent1">
                    <a:lumMod val="75000"/>
                  </a:schemeClr>
                </a:solidFill>
              </a:rPr>
              <a:t>NRM priority under MGNREGS</a:t>
            </a:r>
          </a:p>
          <a:p>
            <a:pPr marL="514350" indent="-285750"/>
            <a:r>
              <a:rPr lang="en" sz="2800" dirty="0">
                <a:solidFill>
                  <a:schemeClr val="accent1">
                    <a:lumMod val="75000"/>
                  </a:schemeClr>
                </a:solidFill>
              </a:rPr>
              <a:t>Renewed Focus on NRM and Water related works - FY 15-16 onwards</a:t>
            </a:r>
          </a:p>
          <a:p>
            <a:pPr>
              <a:buNone/>
            </a:pPr>
            <a:endParaRPr lang="en-US" sz="1800" dirty="0"/>
          </a:p>
          <a:p>
            <a:pPr lvl="1">
              <a:buNone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Expenditure on NRM and Water Related 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Works</a:t>
            </a:r>
          </a:p>
          <a:p>
            <a:pPr lvl="1">
              <a:buNone/>
            </a:pP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buNone/>
            </a:pP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buNone/>
            </a:pP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buNone/>
            </a:pPr>
            <a:endParaRPr lang="en-US" sz="800" dirty="0">
              <a:solidFill>
                <a:schemeClr val="accent1">
                  <a:lumMod val="75000"/>
                </a:schemeClr>
              </a:solidFill>
            </a:endParaRPr>
          </a:p>
          <a:p>
            <a:pPr lvl="1">
              <a:buNone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Farm 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Ponds</a:t>
            </a:r>
          </a:p>
          <a:p>
            <a:pPr>
              <a:buNone/>
            </a:pP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buNone/>
            </a:pP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  <a:p>
            <a:pPr lvl="2">
              <a:buNone/>
            </a:pPr>
            <a:endParaRPr lang="en-US" sz="18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algn="r">
              <a:buNone/>
            </a:pPr>
            <a:r>
              <a:rPr lang="en-US" sz="1600" dirty="0" smtClean="0"/>
              <a:t>* As Available</a:t>
            </a:r>
            <a:endParaRPr lang="en-US" sz="16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414750"/>
              </p:ext>
            </p:extLst>
          </p:nvPr>
        </p:nvGraphicFramePr>
        <p:xfrm>
          <a:off x="683568" y="3108568"/>
          <a:ext cx="7632848" cy="128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212">
                  <a:extLst>
                    <a:ext uri="{9D8B030D-6E8A-4147-A177-3AD203B41FA5}">
                      <a16:colId xmlns="" xmlns:a16="http://schemas.microsoft.com/office/drawing/2014/main" val="3152202077"/>
                    </a:ext>
                  </a:extLst>
                </a:gridCol>
                <a:gridCol w="1908212">
                  <a:extLst>
                    <a:ext uri="{9D8B030D-6E8A-4147-A177-3AD203B41FA5}">
                      <a16:colId xmlns="" xmlns:a16="http://schemas.microsoft.com/office/drawing/2014/main" val="3238633643"/>
                    </a:ext>
                  </a:extLst>
                </a:gridCol>
                <a:gridCol w="1908212">
                  <a:extLst>
                    <a:ext uri="{9D8B030D-6E8A-4147-A177-3AD203B41FA5}">
                      <a16:colId xmlns="" xmlns:a16="http://schemas.microsoft.com/office/drawing/2014/main" val="1876529963"/>
                    </a:ext>
                  </a:extLst>
                </a:gridCol>
                <a:gridCol w="1908212">
                  <a:extLst>
                    <a:ext uri="{9D8B030D-6E8A-4147-A177-3AD203B41FA5}">
                      <a16:colId xmlns="" xmlns:a16="http://schemas.microsoft.com/office/drawing/2014/main" val="16371258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200" dirty="0"/>
                        <a:t>Type  of 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/>
                        <a:t>FY 2015-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/>
                        <a:t>FY 2016-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/>
                        <a:t>FY </a:t>
                      </a:r>
                      <a:r>
                        <a:rPr lang="en-US" sz="2200" dirty="0" smtClean="0"/>
                        <a:t>2017-18</a:t>
                      </a:r>
                      <a:endParaRPr lang="en-US" sz="2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109472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dirty="0"/>
                        <a:t>N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Rs.29000 </a:t>
                      </a:r>
                      <a:r>
                        <a:rPr lang="en-US" sz="2200" dirty="0"/>
                        <a:t>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/>
                        <a:t>Rs.33000 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Rs.25000Cr*</a:t>
                      </a:r>
                      <a:endParaRPr lang="en-US" sz="2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337256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dirty="0"/>
                        <a:t>Water Rela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Rs.19400Cr</a:t>
                      </a:r>
                      <a:endParaRPr lang="en-US" sz="2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err="1"/>
                        <a:t>Rs</a:t>
                      </a:r>
                      <a:r>
                        <a:rPr lang="en-US" sz="2200" dirty="0"/>
                        <a:t>. 23000 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err="1"/>
                        <a:t>Rs</a:t>
                      </a:r>
                      <a:r>
                        <a:rPr lang="en-US" sz="2200" dirty="0"/>
                        <a:t>. </a:t>
                      </a:r>
                      <a:r>
                        <a:rPr lang="en-US" sz="2200" dirty="0" smtClean="0"/>
                        <a:t>18600Cr</a:t>
                      </a:r>
                      <a:endParaRPr lang="en-US" sz="2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90069210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5520174"/>
              </p:ext>
            </p:extLst>
          </p:nvPr>
        </p:nvGraphicFramePr>
        <p:xfrm>
          <a:off x="683568" y="4797152"/>
          <a:ext cx="7632848" cy="85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212">
                  <a:extLst>
                    <a:ext uri="{9D8B030D-6E8A-4147-A177-3AD203B41FA5}">
                      <a16:colId xmlns="" xmlns:a16="http://schemas.microsoft.com/office/drawing/2014/main" val="2981184640"/>
                    </a:ext>
                  </a:extLst>
                </a:gridCol>
                <a:gridCol w="1908212">
                  <a:extLst>
                    <a:ext uri="{9D8B030D-6E8A-4147-A177-3AD203B41FA5}">
                      <a16:colId xmlns="" xmlns:a16="http://schemas.microsoft.com/office/drawing/2014/main" val="1458634785"/>
                    </a:ext>
                  </a:extLst>
                </a:gridCol>
                <a:gridCol w="1908212">
                  <a:extLst>
                    <a:ext uri="{9D8B030D-6E8A-4147-A177-3AD203B41FA5}">
                      <a16:colId xmlns="" xmlns:a16="http://schemas.microsoft.com/office/drawing/2014/main" val="3805629026"/>
                    </a:ext>
                  </a:extLst>
                </a:gridCol>
                <a:gridCol w="1908212">
                  <a:extLst>
                    <a:ext uri="{9D8B030D-6E8A-4147-A177-3AD203B41FA5}">
                      <a16:colId xmlns="" xmlns:a16="http://schemas.microsoft.com/office/drawing/2014/main" val="37452882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200" dirty="0"/>
                        <a:t>Name of 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/>
                        <a:t>FY 2015-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/>
                        <a:t>FY 2016-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/>
                        <a:t>FY </a:t>
                      </a:r>
                      <a:r>
                        <a:rPr lang="en-US" sz="2200" dirty="0" smtClean="0"/>
                        <a:t>2017-18</a:t>
                      </a:r>
                      <a:endParaRPr lang="en-US" sz="2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7165719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dirty="0"/>
                        <a:t>Farm Po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/>
                        <a:t>1.57 lak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/>
                        <a:t>5.95 lak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/>
                        <a:t>2.16 </a:t>
                      </a:r>
                      <a:r>
                        <a:rPr lang="en-US" sz="2200" dirty="0" smtClean="0"/>
                        <a:t>lakh*</a:t>
                      </a:r>
                      <a:endParaRPr lang="en-US" sz="2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1947256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1006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DBC684-953B-4F4A-8FC6-D9C9E5184C3C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828800" y="3200400"/>
            <a:ext cx="5867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THANKS</a:t>
            </a:r>
            <a:endParaRPr lang="en-US" sz="54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210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9EA63F1-DBF4-4747-A8B9-03D7F2E04EE3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3189130"/>
              </p:ext>
            </p:extLst>
          </p:nvPr>
        </p:nvGraphicFramePr>
        <p:xfrm>
          <a:off x="76201" y="152400"/>
          <a:ext cx="8610602" cy="64425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8946"/>
                <a:gridCol w="1560310"/>
                <a:gridCol w="693471"/>
                <a:gridCol w="693471"/>
                <a:gridCol w="693471"/>
                <a:gridCol w="693471"/>
                <a:gridCol w="1097996"/>
                <a:gridCol w="1097996"/>
                <a:gridCol w="866839"/>
                <a:gridCol w="924631"/>
              </a:tblGrid>
              <a:tr h="618033">
                <a:tc gridSpan="10">
                  <a:txBody>
                    <a:bodyPr/>
                    <a:lstStyle/>
                    <a:p>
                      <a:pPr algn="ctr" fontAlgn="ctr"/>
                      <a:r>
                        <a:rPr lang="en-US" sz="3200" u="none" strike="noStrike" dirty="0">
                          <a:effectLst/>
                        </a:rPr>
                        <a:t> </a:t>
                      </a:r>
                      <a:r>
                        <a:rPr lang="en-US" sz="3200" b="1" u="none" strike="noStrike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Summary </a:t>
                      </a:r>
                      <a:r>
                        <a:rPr lang="en-US" sz="3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f 99 Priority </a:t>
                      </a:r>
                      <a:r>
                        <a:rPr lang="en-US" sz="3200" b="1" u="none" strike="noStrike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rojects</a:t>
                      </a:r>
                    </a:p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(</a:t>
                      </a:r>
                      <a:r>
                        <a:rPr lang="en-US" sz="1200" u="none" strike="noStrike" dirty="0" err="1" smtClean="0">
                          <a:solidFill>
                            <a:srgbClr val="000099"/>
                          </a:solidFill>
                          <a:effectLst/>
                        </a:rPr>
                        <a:t>Rs</a:t>
                      </a:r>
                      <a:r>
                        <a:rPr lang="en-US" sz="1200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. In </a:t>
                      </a:r>
                      <a:r>
                        <a:rPr lang="en-US" sz="1200" u="none" strike="noStrike" dirty="0" err="1" smtClean="0">
                          <a:solidFill>
                            <a:srgbClr val="000099"/>
                          </a:solidFill>
                          <a:effectLst/>
                        </a:rPr>
                        <a:t>crore</a:t>
                      </a:r>
                      <a:r>
                        <a:rPr lang="en-US" sz="1200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)</a:t>
                      </a:r>
                      <a:endParaRPr lang="en-US" sz="1200" b="0" i="0" u="none" strike="noStrike" dirty="0" smtClean="0">
                        <a:solidFill>
                          <a:srgbClr val="000099"/>
                        </a:solidFill>
                        <a:effectLst/>
                        <a:latin typeface="+mn-lt"/>
                      </a:endParaRPr>
                    </a:p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20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4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4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965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Sl. No.</a:t>
                      </a:r>
                      <a:endParaRPr lang="en-US" sz="12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State Name</a:t>
                      </a:r>
                      <a:endParaRPr lang="en-US" sz="12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No. </a:t>
                      </a:r>
                      <a:r>
                        <a:rPr lang="en-US" sz="12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of  Projects</a:t>
                      </a:r>
                      <a:endParaRPr lang="en-US" sz="12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en-US" sz="1200" b="1" u="none" strike="noStrike" dirty="0" smtClean="0">
                        <a:solidFill>
                          <a:srgbClr val="000099"/>
                        </a:solidFill>
                        <a:effectLst/>
                      </a:endParaRPr>
                    </a:p>
                    <a:p>
                      <a:pPr algn="ctr" fontAlgn="ctr"/>
                      <a:r>
                        <a:rPr lang="en-US" sz="12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Balance </a:t>
                      </a:r>
                      <a:r>
                        <a:rPr lang="en-US" sz="12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cost as </a:t>
                      </a:r>
                      <a:endParaRPr lang="en-US" sz="1200" b="1" u="none" strike="noStrike" dirty="0" smtClean="0">
                        <a:solidFill>
                          <a:srgbClr val="000099"/>
                        </a:solidFill>
                        <a:effectLst/>
                      </a:endParaRPr>
                    </a:p>
                    <a:p>
                      <a:pPr algn="ctr" fontAlgn="ctr"/>
                      <a:r>
                        <a:rPr lang="en-US" sz="12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on </a:t>
                      </a:r>
                      <a:r>
                        <a:rPr lang="en-US" sz="12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01.04.16  </a:t>
                      </a:r>
                      <a:br>
                        <a:rPr lang="en-US" sz="1200" b="1" u="none" strike="noStrike" dirty="0">
                          <a:solidFill>
                            <a:srgbClr val="000099"/>
                          </a:solidFill>
                          <a:effectLst/>
                        </a:rPr>
                      </a:br>
                      <a:endParaRPr lang="en-US" sz="12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Balance CA admissible as </a:t>
                      </a:r>
                      <a:endParaRPr lang="en-US" sz="1200" b="1" u="none" strike="noStrike" dirty="0" smtClean="0">
                        <a:solidFill>
                          <a:srgbClr val="000099"/>
                        </a:solidFill>
                        <a:effectLst/>
                      </a:endParaRPr>
                    </a:p>
                    <a:p>
                      <a:pPr algn="ctr" fontAlgn="ctr"/>
                      <a:r>
                        <a:rPr lang="en-US" sz="12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on </a:t>
                      </a:r>
                      <a:r>
                        <a:rPr lang="en-US" sz="12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01/04/2016</a:t>
                      </a:r>
                      <a:endParaRPr lang="en-US" sz="12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Balance State Share as on 1/4/16</a:t>
                      </a:r>
                      <a:endParaRPr lang="en-US" sz="12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Targeted Irrigation </a:t>
                      </a:r>
                      <a:r>
                        <a:rPr lang="en-US" sz="12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Potential</a:t>
                      </a:r>
                    </a:p>
                    <a:p>
                      <a:pPr algn="ctr" fontAlgn="ctr"/>
                      <a:r>
                        <a:rPr lang="en-US" sz="12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 </a:t>
                      </a:r>
                      <a:r>
                        <a:rPr lang="en-US" sz="12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(Th. Ha.)</a:t>
                      </a:r>
                      <a:endParaRPr lang="en-US" sz="12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965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Priority-I</a:t>
                      </a:r>
                      <a:endParaRPr lang="en-US" sz="12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+mn-lt"/>
                        </a:rPr>
                        <a:t>Priority-II</a:t>
                      </a:r>
                      <a:endParaRPr lang="en-US" sz="12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+mn-lt"/>
                        </a:rPr>
                        <a:t>Priority-III</a:t>
                      </a:r>
                      <a:endParaRPr lang="en-US" sz="12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Total</a:t>
                      </a:r>
                      <a:endParaRPr lang="en-US" sz="12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Andhra Pradesh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8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1818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611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208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263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Assam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832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307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525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25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Bihar</a:t>
                      </a:r>
                      <a:endParaRPr lang="en-US" sz="1600" b="1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459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99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260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37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4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Chhattisgarh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715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99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516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48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5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Goa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44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26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8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14.5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6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Gujarat</a:t>
                      </a:r>
                      <a:endParaRPr lang="en-US" sz="1600" b="1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8107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3686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4421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792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7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J </a:t>
                      </a:r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&amp; </a:t>
                      </a:r>
                      <a:r>
                        <a:rPr lang="en-US" sz="1600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K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4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356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84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72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61.4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8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Jharkhand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3426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2233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193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236.8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9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Karnataka 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5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3185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837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347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252.8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10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Kerala 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2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220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98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21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38.1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1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Madhya Pradesh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14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11732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3625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8107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872.6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12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Maharashtra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7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9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26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19950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5503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4447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850.8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13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Manipur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2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602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310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292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37.0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14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Odisha</a:t>
                      </a:r>
                      <a:endParaRPr lang="en-US" sz="1600" b="1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8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4628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2300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2328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327.7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15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Punjab</a:t>
                      </a:r>
                      <a:endParaRPr lang="en-US" sz="1600" b="1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2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363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44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219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92.0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16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Rajasthan</a:t>
                      </a:r>
                      <a:endParaRPr lang="en-US" sz="1600" b="1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2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1564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733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831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315.6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11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17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Telangana</a:t>
                      </a:r>
                      <a:endParaRPr lang="en-US" sz="1600" b="1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9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11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rgbClr val="000099"/>
                          </a:solidFill>
                          <a:effectLst/>
                        </a:rPr>
                        <a:t>7666</a:t>
                      </a:r>
                      <a:endParaRPr lang="en-US" sz="1600" b="1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4226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3440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585.1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22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18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Uttar Pradesh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rgbClr val="000099"/>
                          </a:solidFill>
                          <a:effectLst/>
                        </a:rPr>
                        <a:t>4</a:t>
                      </a:r>
                      <a:endParaRPr lang="en-US" sz="16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rgbClr val="000099"/>
                          </a:solidFill>
                          <a:effectLst/>
                        </a:rPr>
                        <a:t>11929</a:t>
                      </a:r>
                      <a:endParaRPr lang="en-US" sz="1600" b="1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5121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6808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1653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22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rgbClr val="000099"/>
                          </a:solidFill>
                          <a:effectLst/>
                        </a:rPr>
                        <a:t> 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 TOTAL 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23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31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45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99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77595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31342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solidFill>
                            <a:srgbClr val="000099"/>
                          </a:solidFill>
                          <a:effectLst/>
                        </a:rPr>
                        <a:t>46253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solidFill>
                            <a:srgbClr val="000099"/>
                          </a:solidFill>
                          <a:effectLst/>
                        </a:rPr>
                        <a:t>7603</a:t>
                      </a:r>
                      <a:endParaRPr lang="en-US" sz="1600" b="1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8354" marR="8354" marT="835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DBC684-953B-4F4A-8FC6-D9C9E5184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5252340"/>
              </p:ext>
            </p:extLst>
          </p:nvPr>
        </p:nvGraphicFramePr>
        <p:xfrm>
          <a:off x="323527" y="186906"/>
          <a:ext cx="8496945" cy="58431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3121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1747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0183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0211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3422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50211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464328">
                <a:tc gridSpan="6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solidFill>
                            <a:srgbClr val="F50B27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            </a:t>
                      </a:r>
                      <a:r>
                        <a:rPr lang="en-US" sz="2000" dirty="0" smtClean="0">
                          <a:solidFill>
                            <a:srgbClr val="F50B27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tate wise </a:t>
                      </a:r>
                      <a:r>
                        <a:rPr lang="en-US" sz="2000" baseline="0" dirty="0" smtClean="0">
                          <a:solidFill>
                            <a:srgbClr val="F50B27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CA proposals processed </a:t>
                      </a:r>
                      <a:r>
                        <a:rPr lang="en-US" sz="20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(</a:t>
                      </a:r>
                      <a:r>
                        <a:rPr lang="en-US" sz="2000" b="1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2016-17 &amp; 2017-18)-AIBP</a:t>
                      </a:r>
                      <a:endParaRPr lang="en-US" sz="2000" dirty="0">
                        <a:solidFill>
                          <a:srgbClr val="FF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8953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Sl. No.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Project Name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Balance Cost (</a:t>
                      </a:r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Rs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. </a:t>
                      </a:r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Crores</a:t>
                      </a: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) 03/16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Balance CA (</a:t>
                      </a:r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Rs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. </a:t>
                      </a:r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Crores</a:t>
                      </a: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) 03/16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CA Released (</a:t>
                      </a:r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Rs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. </a:t>
                      </a:r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Crores</a:t>
                      </a: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) 2016-17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A Released (Rs. </a:t>
                      </a:r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rores</a:t>
                      </a: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 2017-18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974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dhra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89.5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.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.7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ssa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5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.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9.0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6.0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6.3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hhattisgar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63.5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3.4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*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5932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o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ujara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873.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97.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61.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55.8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080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mmu Kashmi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5.4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1.9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5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harkh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92.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73.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5.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*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arnata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80.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37.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5.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2.0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eral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.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.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dhya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04.3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70.0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0.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1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12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harashtr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356.3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51.6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9.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3.6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13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ipu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3.4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1.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7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dis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214.5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68.8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7.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8.0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15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unjab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0.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2.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2.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16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jastha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18.9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9.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.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8.4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17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langa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450.0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52.9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5.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2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8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18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608.6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22.9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5.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*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706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177" marR="651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6163.05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857.55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307.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38.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95536" y="6237312"/>
            <a:ext cx="7776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prstClr val="black"/>
                </a:solidFill>
              </a:rPr>
              <a:t>* In Process along with other proposals amounting </a:t>
            </a:r>
            <a:r>
              <a:rPr lang="en-US" b="1" dirty="0" smtClean="0">
                <a:solidFill>
                  <a:srgbClr val="FF0000"/>
                </a:solidFill>
              </a:rPr>
              <a:t>Rs. 1540 Cr.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031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4893514"/>
              </p:ext>
            </p:extLst>
          </p:nvPr>
        </p:nvGraphicFramePr>
        <p:xfrm>
          <a:off x="1" y="-4"/>
          <a:ext cx="9144000" cy="684111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67543"/>
                <a:gridCol w="1224136"/>
                <a:gridCol w="792088"/>
                <a:gridCol w="792088"/>
                <a:gridCol w="936104"/>
                <a:gridCol w="792088"/>
                <a:gridCol w="951994"/>
                <a:gridCol w="774440"/>
                <a:gridCol w="937862"/>
                <a:gridCol w="604800"/>
                <a:gridCol w="870857"/>
              </a:tblGrid>
              <a:tr h="407636">
                <a:tc gridSpan="11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Details of  </a:t>
                      </a:r>
                      <a:r>
                        <a:rPr lang="en-US" sz="2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Ongoing </a:t>
                      </a:r>
                      <a:r>
                        <a:rPr lang="en-US" sz="2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SMI </a:t>
                      </a:r>
                      <a:r>
                        <a:rPr lang="en-US" sz="2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Schemes</a:t>
                      </a:r>
                      <a:endParaRPr lang="en-US" sz="24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09" marR="8409" marT="84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09" marR="8409" marT="84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09" marR="8409" marT="84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09" marR="8409" marT="84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09" marR="8409" marT="84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5064">
                <a:tc gridSpan="11"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 smtClean="0">
                          <a:effectLst/>
                        </a:rPr>
                        <a:t>(Rupees in Cr. &amp; Potential  in La. Ha.)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09" marR="8409" marT="84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09" marR="8409" marT="84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09" marR="8409" marT="84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09" marR="8409" marT="84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09" marR="8409" marT="84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09" marR="8409" marT="84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09" marR="8409" marT="84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00013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 err="1" smtClean="0">
                          <a:effectLst/>
                        </a:rPr>
                        <a:t>Sl</a:t>
                      </a:r>
                      <a:r>
                        <a:rPr lang="en-US" sz="1600" u="none" strike="noStrike" dirty="0" smtClean="0">
                          <a:effectLst/>
                        </a:rPr>
                        <a:t> </a:t>
                      </a:r>
                      <a:r>
                        <a:rPr lang="en-US" sz="1600" u="none" strike="noStrike" dirty="0">
                          <a:effectLst/>
                        </a:rPr>
                        <a:t>No.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States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 No of schemes included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 </a:t>
                      </a:r>
                      <a:r>
                        <a:rPr lang="en-US" sz="1600" u="none" strike="noStrike" dirty="0" smtClean="0">
                          <a:effectLst/>
                        </a:rPr>
                        <a:t>Estimate </a:t>
                      </a:r>
                      <a:r>
                        <a:rPr lang="en-US" sz="1600" u="none" strike="noStrike" dirty="0">
                          <a:effectLst/>
                        </a:rPr>
                        <a:t>Cost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 smtClean="0">
                          <a:effectLst/>
                        </a:rPr>
                        <a:t>Cum. Exp.</a:t>
                      </a:r>
                      <a:r>
                        <a:rPr lang="en-US" sz="16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600" u="none" strike="noStrike" dirty="0" smtClean="0">
                          <a:effectLst/>
                        </a:rPr>
                        <a:t>03/201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 smtClean="0">
                          <a:effectLst/>
                        </a:rPr>
                        <a:t>Bal. </a:t>
                      </a:r>
                      <a:r>
                        <a:rPr lang="en-US" sz="1600" u="none" strike="noStrike" dirty="0">
                          <a:effectLst/>
                        </a:rPr>
                        <a:t>cost </a:t>
                      </a:r>
                      <a:r>
                        <a:rPr lang="en-US" sz="1600" u="none" strike="noStrike" dirty="0" smtClean="0">
                          <a:effectLst/>
                        </a:rPr>
                        <a:t>03/201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 smtClean="0">
                          <a:effectLst/>
                        </a:rPr>
                        <a:t>Cum. </a:t>
                      </a:r>
                      <a:r>
                        <a:rPr lang="en-US" sz="1600" u="none" strike="noStrike" dirty="0">
                          <a:effectLst/>
                        </a:rPr>
                        <a:t>CA released </a:t>
                      </a:r>
                      <a:r>
                        <a:rPr lang="en-US" sz="1600" u="none" strike="noStrike" dirty="0" smtClean="0">
                          <a:effectLst/>
                        </a:rPr>
                        <a:t>03/201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CA </a:t>
                      </a:r>
                      <a:r>
                        <a:rPr lang="en-US" sz="1600" u="none" strike="noStrike" dirty="0" smtClean="0">
                          <a:effectLst/>
                        </a:rPr>
                        <a:t>Released2017-18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No of Schemes </a:t>
                      </a:r>
                      <a:r>
                        <a:rPr lang="en-US" sz="1600" u="none" strike="noStrike" dirty="0" smtClean="0">
                          <a:effectLst/>
                        </a:rPr>
                        <a:t>completed</a:t>
                      </a:r>
                      <a:r>
                        <a:rPr lang="en-US" sz="16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600" u="none" strike="noStrike" dirty="0" smtClean="0">
                          <a:effectLst/>
                        </a:rPr>
                        <a:t>03/201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 smtClean="0">
                          <a:effectLst/>
                        </a:rPr>
                        <a:t>Target Pot.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 smtClean="0">
                          <a:effectLst/>
                        </a:rPr>
                        <a:t>Cum. Pot.  </a:t>
                      </a:r>
                      <a:r>
                        <a:rPr lang="en-US" sz="1600" u="none" strike="noStrike" dirty="0">
                          <a:effectLst/>
                        </a:rPr>
                        <a:t>Achieved </a:t>
                      </a:r>
                      <a:r>
                        <a:rPr lang="en-US" sz="1600" u="none" strike="noStrike" dirty="0" smtClean="0">
                          <a:effectLst/>
                        </a:rPr>
                        <a:t>03/201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err="1" smtClean="0">
                          <a:effectLst/>
                        </a:rPr>
                        <a:t>Arun.Pradesh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31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6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6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5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Assam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01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75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67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07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53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6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6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3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Bihar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7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3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8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5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7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4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</a:rPr>
                        <a:t>Chhattisgarh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4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5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6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5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</a:rPr>
                        <a:t>H.P.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5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8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6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J&amp;K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41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17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2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74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7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7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Jharkhand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8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8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Karnatak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46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4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3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2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9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</a:rPr>
                        <a:t>M.P.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27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17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26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7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9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10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Manipur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0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0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11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Meghalaya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9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5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5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9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12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Mizoram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3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13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Nagaland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43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2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3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4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14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Sikkim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38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5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5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15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Tripura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2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16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Uttarakhand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65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1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6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4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70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</a:rPr>
                        <a:t> 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TOTAL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485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09" marR="8409" marT="84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22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89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3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77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66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8683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8192462"/>
              </p:ext>
            </p:extLst>
          </p:nvPr>
        </p:nvGraphicFramePr>
        <p:xfrm>
          <a:off x="0" y="-5"/>
          <a:ext cx="9144000" cy="685800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02281"/>
                <a:gridCol w="1195151"/>
                <a:gridCol w="781082"/>
                <a:gridCol w="803040"/>
                <a:gridCol w="856367"/>
                <a:gridCol w="766127"/>
                <a:gridCol w="865050"/>
                <a:gridCol w="853232"/>
                <a:gridCol w="915969"/>
                <a:gridCol w="790494"/>
                <a:gridCol w="715207"/>
              </a:tblGrid>
              <a:tr h="379591">
                <a:tc gridSpan="11"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Details of  </a:t>
                      </a:r>
                      <a:r>
                        <a:rPr lang="en-US" sz="2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Ongoing </a:t>
                      </a:r>
                      <a:r>
                        <a:rPr lang="en-US" sz="2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RRR Schemes</a:t>
                      </a:r>
                      <a:endParaRPr lang="en-US" sz="24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8478" marR="8478" marT="847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67360">
                <a:tc gridSpan="11"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effectLst/>
                        </a:rPr>
                        <a:t>(Rupees </a:t>
                      </a:r>
                      <a:r>
                        <a:rPr lang="en-US" sz="1400" u="none" strike="noStrike" dirty="0">
                          <a:effectLst/>
                        </a:rPr>
                        <a:t>in </a:t>
                      </a:r>
                      <a:r>
                        <a:rPr lang="en-US" sz="1400" u="none" strike="noStrike" dirty="0" smtClean="0">
                          <a:effectLst/>
                        </a:rPr>
                        <a:t>Cr. </a:t>
                      </a:r>
                      <a:r>
                        <a:rPr lang="en-US" sz="1400" u="none" strike="noStrike" dirty="0">
                          <a:effectLst/>
                        </a:rPr>
                        <a:t>&amp; Potential in </a:t>
                      </a:r>
                      <a:r>
                        <a:rPr lang="en-US" sz="1400" u="none" strike="noStrike" dirty="0" smtClean="0">
                          <a:effectLst/>
                        </a:rPr>
                        <a:t>La. Ha.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78" marR="8478" marT="847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279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Sl. No.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States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No of WBs included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en-US" sz="1600" u="none" strike="noStrike" dirty="0" smtClean="0">
                          <a:effectLst/>
                          <a:latin typeface="+mn-lt"/>
                        </a:rPr>
                        <a:t>Estimate </a:t>
                      </a: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Cost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 smtClean="0">
                          <a:effectLst/>
                          <a:latin typeface="+mn-lt"/>
                        </a:rPr>
                        <a:t>Cum. Exp.  </a:t>
                      </a: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3/201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 smtClean="0">
                          <a:effectLst/>
                          <a:latin typeface="+mn-lt"/>
                        </a:rPr>
                        <a:t>Bal. </a:t>
                      </a: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cost 03/201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 smtClean="0">
                          <a:effectLst/>
                          <a:latin typeface="+mn-lt"/>
                        </a:rPr>
                        <a:t>Cum. Release </a:t>
                      </a: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03/201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CA Released  2017-18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No of completed WBs 03/201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Potential Planned (ha)/CC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 smtClean="0">
                          <a:effectLst/>
                          <a:latin typeface="+mn-lt"/>
                        </a:rPr>
                        <a:t>Pot.</a:t>
                      </a:r>
                      <a:r>
                        <a:rPr lang="en-US" sz="1600" u="none" strike="noStrike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1600" u="none" strike="noStrike" dirty="0" smtClean="0">
                          <a:effectLst/>
                          <a:latin typeface="+mn-lt"/>
                        </a:rPr>
                        <a:t>restored  </a:t>
                      </a:r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3/201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4958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  <a:latin typeface="+mn-lt"/>
                        </a:rPr>
                        <a:t>M.P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2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83.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36.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47.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37.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82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58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Manipur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65.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2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53.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0.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58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Meghalaya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1.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2.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8.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2.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58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Orissa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86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449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234.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214.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07.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3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370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58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Rajasthan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68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87.8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58.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29.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35.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4.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24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58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Tamilnadu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5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78.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6.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62.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9.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05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58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Telengana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39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338.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338.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44.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38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58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8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  <a:latin typeface="+mn-lt"/>
                        </a:rPr>
                        <a:t>U.P.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7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83.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37.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46.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6.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58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Uttrakhand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2.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1.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1.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  <a:latin typeface="+mn-lt"/>
                        </a:rPr>
                        <a:t>0.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06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Grand Total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1701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1409.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498.5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911.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264.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55.3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581.0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1.3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0.6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478" marR="8478" marT="84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5492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DBC684-953B-4F4A-8FC6-D9C9E5184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9455283"/>
              </p:ext>
            </p:extLst>
          </p:nvPr>
        </p:nvGraphicFramePr>
        <p:xfrm>
          <a:off x="467544" y="332656"/>
          <a:ext cx="8064896" cy="5821694"/>
        </p:xfrm>
        <a:graphic>
          <a:graphicData uri="http://schemas.openxmlformats.org/drawingml/2006/table">
            <a:tbl>
              <a:tblPr/>
              <a:tblGrid>
                <a:gridCol w="90812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61567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4109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449993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Completion of Priority projects </a:t>
                      </a:r>
                      <a:r>
                        <a:rPr lang="en-US" sz="1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 2016-17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029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l. No.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Name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ltimate Irrigation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otential </a:t>
                      </a:r>
                      <a:endParaRPr lang="en-US" sz="16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. Ha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)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33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</a:t>
                      </a:r>
                      <a:r>
                        <a:rPr lang="en-US" sz="1800" b="1" i="0" u="none" strike="noStrike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Andhra Pradesh</a:t>
                      </a:r>
                      <a:r>
                        <a:rPr lang="en-US" sz="1800" b="1" i="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989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err="1">
                          <a:solidFill>
                            <a:srgbClr val="00B050"/>
                          </a:solidFill>
                          <a:effectLst/>
                          <a:latin typeface="Calibri"/>
                        </a:rPr>
                        <a:t>Maddigedda</a:t>
                      </a:r>
                      <a:r>
                        <a:rPr lang="en-US" sz="16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42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33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  </a:t>
                      </a:r>
                      <a:r>
                        <a:rPr lang="en-US" sz="1800" b="1" i="0" u="none" strike="noStrike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Chhattisgarh</a:t>
                      </a:r>
                      <a:r>
                        <a:rPr lang="en-US" sz="1800" b="1" i="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en-US" sz="1600" b="1" i="0" u="none" strike="noStrike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989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iyari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Tank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.52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989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harun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3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33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</a:t>
                      </a:r>
                      <a:r>
                        <a:rPr lang="en-US" sz="1800" b="1" i="0" u="none" strike="noStrike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Karnataka </a:t>
                      </a:r>
                      <a:r>
                        <a:rPr lang="en-US" sz="1800" b="1" i="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en-US" sz="1600" b="1" i="0" u="none" strike="noStrike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989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ri </a:t>
                      </a:r>
                      <a:r>
                        <a:rPr lang="en-U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meswar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Irrigation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8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33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</a:t>
                      </a:r>
                      <a:r>
                        <a:rPr lang="en-US" sz="1800" b="1" i="0" u="none" strike="noStrike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Madhya Pradesh</a:t>
                      </a:r>
                      <a:r>
                        <a:rPr lang="en-US" sz="1800" b="1" i="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en-US" sz="1600" b="1" i="0" u="none" strike="noStrike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989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nghpur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roject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2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989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huar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roject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78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989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Sagad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.06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98989"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 Maharashtra</a:t>
                      </a: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8989"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kern="120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kern="1200" dirty="0" err="1">
                          <a:solidFill>
                            <a:srgbClr val="000000"/>
                          </a:solidFill>
                          <a:latin typeface="Calibri"/>
                        </a:rPr>
                        <a:t>Bawanthadi</a:t>
                      </a:r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</a:rPr>
                        <a:t> (IS)</a:t>
                      </a:r>
                      <a:endParaRPr lang="en-US" sz="1800" b="0" i="0" u="none" strike="noStrike" dirty="0">
                        <a:latin typeface="Arial"/>
                      </a:endParaRP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kern="1200">
                          <a:solidFill>
                            <a:srgbClr val="000000"/>
                          </a:solidFill>
                          <a:latin typeface="Calibri"/>
                        </a:rPr>
                        <a:t>27.71</a:t>
                      </a:r>
                      <a:endParaRPr lang="en-US" sz="1800" b="0" i="0" u="none" strike="noStrike">
                        <a:latin typeface="Arial"/>
                      </a:endParaRP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8989"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kern="1200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</a:rPr>
                        <a:t>Lower </a:t>
                      </a:r>
                      <a:r>
                        <a:rPr lang="en-US" sz="1600" b="1" i="0" u="none" strike="noStrike" kern="1200" dirty="0" err="1">
                          <a:solidFill>
                            <a:srgbClr val="000000"/>
                          </a:solidFill>
                          <a:latin typeface="Calibri"/>
                        </a:rPr>
                        <a:t>Panzara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kern="1200">
                          <a:solidFill>
                            <a:srgbClr val="000000"/>
                          </a:solidFill>
                          <a:latin typeface="Calibri"/>
                        </a:rPr>
                        <a:t>6.79</a:t>
                      </a:r>
                      <a:endParaRPr lang="en-US" sz="1800" b="0" i="0" u="none" strike="noStrike">
                        <a:latin typeface="Arial"/>
                      </a:endParaRP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8989"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kern="120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kern="1200" dirty="0" err="1">
                          <a:solidFill>
                            <a:srgbClr val="009900"/>
                          </a:solidFill>
                          <a:latin typeface="Calibri"/>
                        </a:rPr>
                        <a:t>Dongargaon</a:t>
                      </a:r>
                      <a:endParaRPr lang="en-US" sz="1600" b="1" i="0" u="none" strike="noStrike" kern="1200" dirty="0">
                        <a:solidFill>
                          <a:srgbClr val="009900"/>
                        </a:solidFill>
                        <a:latin typeface="Calibri"/>
                      </a:endParaRP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kern="1200">
                          <a:solidFill>
                            <a:srgbClr val="000000"/>
                          </a:solidFill>
                          <a:latin typeface="Calibri"/>
                        </a:rPr>
                        <a:t>2.77</a:t>
                      </a:r>
                      <a:endParaRPr lang="en-US" sz="1800" b="0" i="0" u="none" strike="noStrike">
                        <a:latin typeface="Arial"/>
                      </a:endParaRP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8989"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kern="120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b="1" i="0" u="none" strike="noStrike" kern="1200">
                          <a:solidFill>
                            <a:srgbClr val="00B050"/>
                          </a:solidFill>
                          <a:latin typeface="Calibri"/>
                        </a:rPr>
                        <a:t>Warna</a:t>
                      </a: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</a:rPr>
                        <a:t>54.75</a:t>
                      </a:r>
                    </a:p>
                  </a:txBody>
                  <a:tcPr marL="4064" marR="4064" marT="40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44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DBC684-953B-4F4A-8FC6-D9C9E5184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5553824"/>
              </p:ext>
            </p:extLst>
          </p:nvPr>
        </p:nvGraphicFramePr>
        <p:xfrm>
          <a:off x="251520" y="449070"/>
          <a:ext cx="7632848" cy="4423197"/>
        </p:xfrm>
        <a:graphic>
          <a:graphicData uri="http://schemas.openxmlformats.org/drawingml/2006/table">
            <a:tbl>
              <a:tblPr/>
              <a:tblGrid>
                <a:gridCol w="83299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46900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33085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96074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Completion of Priority projects </a:t>
                      </a:r>
                      <a:r>
                        <a:rPr lang="en-US" sz="1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by June, 2017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569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l. No.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Name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ltimate</a:t>
                      </a:r>
                    </a:p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rrigation Potential </a:t>
                      </a:r>
                    </a:p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Th. Ha.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1" i="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en-US" sz="1800" b="1" i="0" u="none" strike="noStrike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Odisha</a:t>
                      </a:r>
                      <a:r>
                        <a:rPr lang="en-US" sz="1800" b="1" i="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Upper </a:t>
                      </a:r>
                      <a:r>
                        <a:rPr lang="en-US" sz="16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Indravati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(KBK)   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5.95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Rukura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-Tribal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65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   Punjab</a:t>
                      </a:r>
                      <a:endParaRPr lang="en-US" sz="1800" b="1" i="0" u="none" strike="noStrike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err="1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Kandi</a:t>
                      </a:r>
                      <a:r>
                        <a:rPr lang="en-US" sz="1600" b="1" i="0" u="none" strike="noStrike" dirty="0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 Canal Extension (</a:t>
                      </a:r>
                      <a:r>
                        <a:rPr lang="en-US" sz="1600" b="1" i="0" u="none" strike="noStrike" dirty="0" err="1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Ph.II</a:t>
                      </a:r>
                      <a:r>
                        <a:rPr lang="en-US" sz="1600" b="1" i="0" u="none" strike="noStrike" dirty="0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)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.33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Rehab </a:t>
                      </a:r>
                      <a:r>
                        <a:rPr lang="en-US" sz="1600" b="1" i="0" u="none" strike="noStrike" dirty="0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of </a:t>
                      </a:r>
                      <a:r>
                        <a:rPr lang="en-US" sz="1600" b="1" i="0" u="none" strike="noStrike" dirty="0" smtClean="0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Patiala </a:t>
                      </a:r>
                      <a:r>
                        <a:rPr lang="en-US" sz="1600" b="1" i="0" u="none" strike="noStrike" dirty="0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Feeder </a:t>
                      </a:r>
                      <a:r>
                        <a:rPr lang="en-US" sz="1600" b="1" i="0" u="none" strike="noStrike" dirty="0" smtClean="0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&amp;</a:t>
                      </a:r>
                      <a:r>
                        <a:rPr lang="en-US" sz="1600" b="1" i="0" u="none" strike="noStrike" baseline="0" dirty="0" smtClean="0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600" b="1" i="0" u="none" strike="noStrike" dirty="0" err="1" smtClean="0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Kotla</a:t>
                      </a:r>
                      <a:r>
                        <a:rPr lang="en-US" sz="1600" b="1" i="0" u="none" strike="noStrike" dirty="0" smtClean="0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Branch Project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.62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en-US" sz="1800" b="1" i="0" u="none" strike="noStrike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Telangana</a:t>
                      </a:r>
                      <a:r>
                        <a:rPr lang="en-US" sz="1800" b="1" i="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ollavagu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roject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85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llivagu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roject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43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thadivagu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roject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44</a:t>
                      </a:r>
                    </a:p>
                  </a:txBody>
                  <a:tcPr marL="4033" marR="4033" marT="403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Left Arrow 3">
            <a:hlinkClick r:id="rId2" action="ppaction://hlinksldjump"/>
          </p:cNvPr>
          <p:cNvSpPr/>
          <p:nvPr/>
        </p:nvSpPr>
        <p:spPr>
          <a:xfrm>
            <a:off x="7092280" y="5877272"/>
            <a:ext cx="720080" cy="36004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848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8669304"/>
              </p:ext>
            </p:extLst>
          </p:nvPr>
        </p:nvGraphicFramePr>
        <p:xfrm>
          <a:off x="0" y="0"/>
          <a:ext cx="9144000" cy="68580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8055">
                  <a:extLst>
                    <a:ext uri="{9D8B030D-6E8A-4147-A177-3AD203B41FA5}">
                      <a16:colId xmlns:a16="http://schemas.microsoft.com/office/drawing/2014/main" xmlns="" val="3015058990"/>
                    </a:ext>
                  </a:extLst>
                </a:gridCol>
                <a:gridCol w="2603378">
                  <a:extLst>
                    <a:ext uri="{9D8B030D-6E8A-4147-A177-3AD203B41FA5}">
                      <a16:colId xmlns:a16="http://schemas.microsoft.com/office/drawing/2014/main" xmlns="" val="2841714611"/>
                    </a:ext>
                  </a:extLst>
                </a:gridCol>
                <a:gridCol w="1146847">
                  <a:extLst>
                    <a:ext uri="{9D8B030D-6E8A-4147-A177-3AD203B41FA5}">
                      <a16:colId xmlns:a16="http://schemas.microsoft.com/office/drawing/2014/main" xmlns="" val="1487440115"/>
                    </a:ext>
                  </a:extLst>
                </a:gridCol>
                <a:gridCol w="1235065">
                  <a:extLst>
                    <a:ext uri="{9D8B030D-6E8A-4147-A177-3AD203B41FA5}">
                      <a16:colId xmlns:a16="http://schemas.microsoft.com/office/drawing/2014/main" xmlns="" val="1807414066"/>
                    </a:ext>
                  </a:extLst>
                </a:gridCol>
                <a:gridCol w="1024919">
                  <a:extLst>
                    <a:ext uri="{9D8B030D-6E8A-4147-A177-3AD203B41FA5}">
                      <a16:colId xmlns:a16="http://schemas.microsoft.com/office/drawing/2014/main" xmlns="" val="638986853"/>
                    </a:ext>
                  </a:extLst>
                </a:gridCol>
                <a:gridCol w="1054436"/>
                <a:gridCol w="1141300">
                  <a:extLst>
                    <a:ext uri="{9D8B030D-6E8A-4147-A177-3AD203B41FA5}">
                      <a16:colId xmlns:a16="http://schemas.microsoft.com/office/drawing/2014/main" xmlns="" val="471168747"/>
                    </a:ext>
                  </a:extLst>
                </a:gridCol>
              </a:tblGrid>
              <a:tr h="587609">
                <a:tc gridSpan="7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Completion of Priority projects during 2017-18</a:t>
                      </a:r>
                      <a:endParaRPr lang="en-IN" sz="2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2767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.No</a:t>
                      </a:r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roject Name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Balance cost as on 1.4.2016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 Balance CA admissible as per latest data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CA released under AIBP during 2016-17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CA released under AIBP during 2017-18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Targeted Irrigation Potential (Th. Ha.)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50736058"/>
                  </a:ext>
                </a:extLst>
              </a:tr>
              <a:tr h="48038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dhra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06161045"/>
                  </a:ext>
                </a:extLst>
              </a:tr>
              <a:tr h="4611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Gundlakamma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75.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.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.0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.79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2.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40776060"/>
                  </a:ext>
                </a:extLst>
              </a:tr>
              <a:tr h="4611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adipudi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LI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9.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3.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79801905"/>
                  </a:ext>
                </a:extLst>
              </a:tr>
              <a:tr h="4629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hotapally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52.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5.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8.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19910452"/>
                  </a:ext>
                </a:extLst>
              </a:tr>
              <a:tr h="4611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surumilli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3.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.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4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94548346"/>
                  </a:ext>
                </a:extLst>
              </a:tr>
              <a:tr h="4611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ushkara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LI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4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1.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21932789"/>
                  </a:ext>
                </a:extLst>
              </a:tr>
              <a:tr h="4611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Yerracalva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7.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.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.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11072257"/>
                  </a:ext>
                </a:extLst>
              </a:tr>
              <a:tr h="37169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2.8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5.5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.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1.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85890510"/>
                  </a:ext>
                </a:extLst>
              </a:tr>
              <a:tr h="4611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ssa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28769965"/>
                  </a:ext>
                </a:extLst>
              </a:tr>
              <a:tr h="4611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hansiri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9.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.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38228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9846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7704" y="135175"/>
            <a:ext cx="6935072" cy="720858"/>
          </a:xfrm>
        </p:spPr>
        <p:txBody>
          <a:bodyPr anchor="t">
            <a:normAutofit fontScale="90000"/>
          </a:bodyPr>
          <a:lstStyle/>
          <a:p>
            <a:r>
              <a:rPr lang="en-US" sz="36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radhan</a:t>
            </a:r>
            <a:r>
              <a:rPr lang="en-US" sz="3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Mantri</a:t>
            </a:r>
            <a:r>
              <a:rPr lang="en-US" sz="3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Krishi</a:t>
            </a:r>
            <a:r>
              <a:rPr lang="en-US" sz="3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Sinchayee</a:t>
            </a:r>
            <a:r>
              <a:rPr lang="en-US" sz="3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Yojana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907704" y="980728"/>
            <a:ext cx="6935072" cy="52290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514350" indent="-514350" algn="just">
              <a:lnSpc>
                <a:spcPct val="150000"/>
              </a:lnSpc>
              <a:buAutoNum type="arabicPeriod"/>
            </a:pPr>
            <a:r>
              <a:rPr lang="en-US" sz="2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IBP</a:t>
            </a:r>
          </a:p>
          <a:p>
            <a:pPr marL="514350" indent="-514350" algn="just">
              <a:lnSpc>
                <a:spcPct val="150000"/>
              </a:lnSpc>
              <a:buAutoNum type="arabicPeriod"/>
            </a:pPr>
            <a:r>
              <a:rPr lang="en-US" sz="2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KKP</a:t>
            </a:r>
          </a:p>
          <a:p>
            <a:pPr marL="1028700" lvl="1" indent="-571500" algn="just">
              <a:lnSpc>
                <a:spcPct val="150000"/>
              </a:lnSpc>
              <a:buFont typeface="+mj-lt"/>
              <a:buAutoNum type="romanUcPeriod"/>
            </a:pPr>
            <a:r>
              <a:rPr lang="en-US" sz="2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AD                               </a:t>
            </a:r>
            <a:r>
              <a:rPr lang="en-US" sz="2600" dirty="0" err="1" smtClean="0">
                <a:solidFill>
                  <a:schemeClr val="accent2">
                    <a:lumMod val="75000"/>
                  </a:schemeClr>
                </a:solidFill>
              </a:rPr>
              <a:t>MoWR,RD&amp;GR</a:t>
            </a:r>
            <a:endParaRPr lang="en-US" sz="2600" dirty="0">
              <a:solidFill>
                <a:schemeClr val="accent2">
                  <a:lumMod val="75000"/>
                </a:schemeClr>
              </a:solidFill>
            </a:endParaRPr>
          </a:p>
          <a:p>
            <a:pPr marL="1028700" lvl="1" indent="-571500" algn="just">
              <a:lnSpc>
                <a:spcPct val="150000"/>
              </a:lnSpc>
              <a:buFont typeface="+mj-lt"/>
              <a:buAutoNum type="romanUcPeriod"/>
            </a:pPr>
            <a:r>
              <a:rPr lang="en-US" sz="2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MI</a:t>
            </a:r>
          </a:p>
          <a:p>
            <a:pPr marL="1028700" lvl="1" indent="-571500" algn="just">
              <a:lnSpc>
                <a:spcPct val="150000"/>
              </a:lnSpc>
              <a:buFont typeface="+mj-lt"/>
              <a:buAutoNum type="romanUcPeriod"/>
            </a:pPr>
            <a:r>
              <a:rPr lang="en-US" sz="2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RR</a:t>
            </a:r>
          </a:p>
          <a:p>
            <a:pPr marL="571500" indent="-571500" algn="just">
              <a:lnSpc>
                <a:spcPct val="150000"/>
              </a:lnSpc>
              <a:buFont typeface="+mj-lt"/>
              <a:buAutoNum type="arabicPeriod"/>
            </a:pPr>
            <a:r>
              <a:rPr lang="en-US" sz="2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er Drop more Crop – Micro Irrigation </a:t>
            </a:r>
            <a:r>
              <a:rPr lang="en-US" sz="2600" dirty="0">
                <a:solidFill>
                  <a:schemeClr val="accent2">
                    <a:lumMod val="75000"/>
                  </a:schemeClr>
                </a:solidFill>
              </a:rPr>
              <a:t>(DAC&amp;FW)</a:t>
            </a:r>
          </a:p>
          <a:p>
            <a:pPr marL="571500" indent="-571500" algn="just">
              <a:lnSpc>
                <a:spcPct val="150000"/>
              </a:lnSpc>
              <a:buFont typeface="+mj-lt"/>
              <a:buAutoNum type="arabicPeriod"/>
            </a:pPr>
            <a:r>
              <a:rPr lang="en-US" sz="2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Watershed Development </a:t>
            </a:r>
            <a:r>
              <a:rPr lang="en-US" sz="2600" dirty="0">
                <a:solidFill>
                  <a:schemeClr val="accent2">
                    <a:lumMod val="75000"/>
                  </a:schemeClr>
                </a:solidFill>
              </a:rPr>
              <a:t>(</a:t>
            </a:r>
            <a:r>
              <a:rPr lang="en-US" sz="2600" dirty="0" err="1">
                <a:solidFill>
                  <a:schemeClr val="accent2">
                    <a:lumMod val="75000"/>
                  </a:schemeClr>
                </a:solidFill>
              </a:rPr>
              <a:t>DoLR</a:t>
            </a:r>
            <a:r>
              <a:rPr lang="en-US" sz="2600" dirty="0">
                <a:solidFill>
                  <a:schemeClr val="accent2">
                    <a:lumMod val="75000"/>
                  </a:schemeClr>
                </a:solidFill>
              </a:rPr>
              <a:t>) </a:t>
            </a:r>
          </a:p>
          <a:p>
            <a:pPr marL="285750" indent="-342900" algn="ju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AB5C4">
                  <a:lumMod val="50000"/>
                </a:srgbClr>
              </a:buClr>
              <a:buFont typeface="Arial" charset="0"/>
              <a:buChar char="•"/>
            </a:pPr>
            <a:endParaRPr lang="en-US" sz="2000" dirty="0">
              <a:solidFill>
                <a:prstClr val="black"/>
              </a:solidFill>
              <a:latin typeface="Arial" pitchFamily="34" charset="0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0377" y="332656"/>
            <a:ext cx="1673311" cy="5877131"/>
          </a:xfrm>
          <a:prstGeom prst="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prstClr val="white"/>
                </a:solidFill>
              </a:rPr>
              <a:t>Promotion of Convergence, Expansion of Cultivable </a:t>
            </a:r>
            <a:r>
              <a:rPr lang="en-US" sz="2000" dirty="0" smtClean="0">
                <a:solidFill>
                  <a:prstClr val="white"/>
                </a:solidFill>
              </a:rPr>
              <a:t>Area</a:t>
            </a:r>
            <a:r>
              <a:rPr lang="en-US" sz="2000" dirty="0">
                <a:solidFill>
                  <a:prstClr val="white"/>
                </a:solidFill>
              </a:rPr>
              <a:t>, Water Management,  Water Use </a:t>
            </a:r>
            <a:r>
              <a:rPr lang="en-US" sz="2000" dirty="0" smtClean="0">
                <a:solidFill>
                  <a:prstClr val="white"/>
                </a:solidFill>
              </a:rPr>
              <a:t>Efficiency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 flipH="1">
            <a:off x="1910916" y="712215"/>
            <a:ext cx="7233084" cy="45719"/>
          </a:xfrm>
          <a:prstGeom prst="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6413" y="6522733"/>
            <a:ext cx="432535" cy="365125"/>
          </a:xfrm>
        </p:spPr>
        <p:txBody>
          <a:bodyPr/>
          <a:lstStyle/>
          <a:p>
            <a:fld id="{446009A7-F1CB-FB42-86C6-2C203E0570C4}" type="slidenum">
              <a:rPr lang="en-US" sz="1400" b="1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US" sz="14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Right Brace 2"/>
          <p:cNvSpPr/>
          <p:nvPr/>
        </p:nvSpPr>
        <p:spPr>
          <a:xfrm>
            <a:off x="5004048" y="1268760"/>
            <a:ext cx="720080" cy="25202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19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9020415"/>
              </p:ext>
            </p:extLst>
          </p:nvPr>
        </p:nvGraphicFramePr>
        <p:xfrm>
          <a:off x="0" y="2"/>
          <a:ext cx="9144002" cy="67531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8055">
                  <a:extLst>
                    <a:ext uri="{9D8B030D-6E8A-4147-A177-3AD203B41FA5}">
                      <a16:colId xmlns:a16="http://schemas.microsoft.com/office/drawing/2014/main" xmlns="" val="3015058990"/>
                    </a:ext>
                  </a:extLst>
                </a:gridCol>
                <a:gridCol w="2603377">
                  <a:extLst>
                    <a:ext uri="{9D8B030D-6E8A-4147-A177-3AD203B41FA5}">
                      <a16:colId xmlns:a16="http://schemas.microsoft.com/office/drawing/2014/main" xmlns="" val="2841714611"/>
                    </a:ext>
                  </a:extLst>
                </a:gridCol>
                <a:gridCol w="1146848">
                  <a:extLst>
                    <a:ext uri="{9D8B030D-6E8A-4147-A177-3AD203B41FA5}">
                      <a16:colId xmlns:a16="http://schemas.microsoft.com/office/drawing/2014/main" xmlns="" val="1487440115"/>
                    </a:ext>
                  </a:extLst>
                </a:gridCol>
                <a:gridCol w="1235065">
                  <a:extLst>
                    <a:ext uri="{9D8B030D-6E8A-4147-A177-3AD203B41FA5}">
                      <a16:colId xmlns:a16="http://schemas.microsoft.com/office/drawing/2014/main" xmlns="" val="1807414066"/>
                    </a:ext>
                  </a:extLst>
                </a:gridCol>
                <a:gridCol w="1024919">
                  <a:extLst>
                    <a:ext uri="{9D8B030D-6E8A-4147-A177-3AD203B41FA5}">
                      <a16:colId xmlns:a16="http://schemas.microsoft.com/office/drawing/2014/main" xmlns="" val="638986853"/>
                    </a:ext>
                  </a:extLst>
                </a:gridCol>
                <a:gridCol w="1054437"/>
                <a:gridCol w="1141301">
                  <a:extLst>
                    <a:ext uri="{9D8B030D-6E8A-4147-A177-3AD203B41FA5}">
                      <a16:colId xmlns:a16="http://schemas.microsoft.com/office/drawing/2014/main" xmlns="" val="471168747"/>
                    </a:ext>
                  </a:extLst>
                </a:gridCol>
              </a:tblGrid>
              <a:tr h="454631">
                <a:tc gridSpan="7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Completion of Priority projects during 2017-18</a:t>
                      </a:r>
                      <a:endParaRPr lang="en-IN" sz="2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7030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.No</a:t>
                      </a:r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roject Name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Balance cost as on 1.4.2016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 Balance CA admissible as per latest data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CA released under AIBP during 2016-17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CA released under AIBP during 2017-18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Targeted Irrigation Potential (Th. Ha.)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50736058"/>
                  </a:ext>
                </a:extLst>
              </a:tr>
              <a:tr h="3716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hampamati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2.6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0.5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.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06161045"/>
                  </a:ext>
                </a:extLst>
              </a:tr>
              <a:tr h="356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2.3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.5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1.3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40776060"/>
                  </a:ext>
                </a:extLst>
              </a:tr>
              <a:tr h="356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nataka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79801905"/>
                  </a:ext>
                </a:extLst>
              </a:tr>
              <a:tr h="3581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hima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I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.7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.4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.44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2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19910452"/>
                  </a:ext>
                </a:extLst>
              </a:tr>
              <a:tr h="356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dhya Prades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4548346"/>
                  </a:ext>
                </a:extLst>
              </a:tr>
              <a:tr h="356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ndh Project Phase I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9.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.4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.517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2.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21932789"/>
                  </a:ext>
                </a:extLst>
              </a:tr>
              <a:tr h="75549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dira Sagar Project Canal Phase - I &amp; II (km. 0 to km. 142)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.9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.9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.35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3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.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11072257"/>
                  </a:ext>
                </a:extLst>
              </a:tr>
              <a:tr h="5036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mkareshwar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ject Canal Phase-IV (OSP lift)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5.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.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.27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5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.6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85890510"/>
                  </a:ext>
                </a:extLst>
              </a:tr>
              <a:tr h="75549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dira Sagar Project Canal Phase - V</a:t>
                      </a:r>
                      <a:b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Khargone Lift )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4.5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.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51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28769965"/>
                  </a:ext>
                </a:extLst>
              </a:tr>
              <a:tr h="356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7.84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2.64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84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2.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38228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1261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6793994"/>
              </p:ext>
            </p:extLst>
          </p:nvPr>
        </p:nvGraphicFramePr>
        <p:xfrm>
          <a:off x="0" y="2"/>
          <a:ext cx="9144002" cy="67985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8055">
                  <a:extLst>
                    <a:ext uri="{9D8B030D-6E8A-4147-A177-3AD203B41FA5}">
                      <a16:colId xmlns:a16="http://schemas.microsoft.com/office/drawing/2014/main" xmlns="" val="3015058990"/>
                    </a:ext>
                  </a:extLst>
                </a:gridCol>
                <a:gridCol w="2603377">
                  <a:extLst>
                    <a:ext uri="{9D8B030D-6E8A-4147-A177-3AD203B41FA5}">
                      <a16:colId xmlns:a16="http://schemas.microsoft.com/office/drawing/2014/main" xmlns="" val="2841714611"/>
                    </a:ext>
                  </a:extLst>
                </a:gridCol>
                <a:gridCol w="1146848">
                  <a:extLst>
                    <a:ext uri="{9D8B030D-6E8A-4147-A177-3AD203B41FA5}">
                      <a16:colId xmlns:a16="http://schemas.microsoft.com/office/drawing/2014/main" xmlns="" val="1487440115"/>
                    </a:ext>
                  </a:extLst>
                </a:gridCol>
                <a:gridCol w="1235065">
                  <a:extLst>
                    <a:ext uri="{9D8B030D-6E8A-4147-A177-3AD203B41FA5}">
                      <a16:colId xmlns:a16="http://schemas.microsoft.com/office/drawing/2014/main" xmlns="" val="1807414066"/>
                    </a:ext>
                  </a:extLst>
                </a:gridCol>
                <a:gridCol w="1024919">
                  <a:extLst>
                    <a:ext uri="{9D8B030D-6E8A-4147-A177-3AD203B41FA5}">
                      <a16:colId xmlns:a16="http://schemas.microsoft.com/office/drawing/2014/main" xmlns="" val="638986853"/>
                    </a:ext>
                  </a:extLst>
                </a:gridCol>
                <a:gridCol w="1054437"/>
                <a:gridCol w="1141301">
                  <a:extLst>
                    <a:ext uri="{9D8B030D-6E8A-4147-A177-3AD203B41FA5}">
                      <a16:colId xmlns:a16="http://schemas.microsoft.com/office/drawing/2014/main" xmlns="" val="471168747"/>
                    </a:ext>
                  </a:extLst>
                </a:gridCol>
              </a:tblGrid>
              <a:tr h="516344">
                <a:tc gridSpan="7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Completion of Priority projects  during 2017-18</a:t>
                      </a:r>
                      <a:endParaRPr lang="en-IN" sz="2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6992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.No</a:t>
                      </a:r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roject Name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Balance cost as on 1.4.2016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 Balance CA admissible as per latest data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CA released under AIBP during 2016-17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CA released under AIBP during 2017-18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Targeted Irrigation Potential (Th. Ha.)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50736058"/>
                  </a:ext>
                </a:extLst>
              </a:tr>
              <a:tr h="4221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harashtr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06161045"/>
                  </a:ext>
                </a:extLst>
              </a:tr>
              <a:tr h="4221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ower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udhn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24.6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6.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9.62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74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4.4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051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illari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'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99.5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.9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.94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.5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40776060"/>
                  </a:ext>
                </a:extLst>
              </a:tr>
              <a:tr h="5035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ndur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dhmeshwar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h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I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.4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.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.04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247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.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79801905"/>
                  </a:ext>
                </a:extLst>
              </a:tr>
              <a:tr h="4067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pper Kundalik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7.4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.0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1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039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19910452"/>
                  </a:ext>
                </a:extLst>
              </a:tr>
              <a:tr h="4051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02.0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6.4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.6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.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4.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4548346"/>
                  </a:ext>
                </a:extLst>
              </a:tr>
              <a:tr h="4051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dish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21932789"/>
                  </a:ext>
                </a:extLst>
              </a:tr>
              <a:tr h="4051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T irrig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66.0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0.7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4.40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.1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11072257"/>
                  </a:ext>
                </a:extLst>
              </a:tr>
              <a:tr h="32661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lengiri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8.8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8.9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8.31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1.6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8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85890510"/>
                  </a:ext>
                </a:extLst>
              </a:tr>
              <a:tr h="4051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ower Indra (KBK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30.8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4.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9.75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.8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28769965"/>
                  </a:ext>
                </a:extLst>
              </a:tr>
              <a:tr h="4051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75.7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24.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2.4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8.78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8.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38228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9169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416705"/>
              </p:ext>
            </p:extLst>
          </p:nvPr>
        </p:nvGraphicFramePr>
        <p:xfrm>
          <a:off x="0" y="2"/>
          <a:ext cx="9144002" cy="68579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8055">
                  <a:extLst>
                    <a:ext uri="{9D8B030D-6E8A-4147-A177-3AD203B41FA5}">
                      <a16:colId xmlns:a16="http://schemas.microsoft.com/office/drawing/2014/main" xmlns="" val="3015058990"/>
                    </a:ext>
                  </a:extLst>
                </a:gridCol>
                <a:gridCol w="2603377">
                  <a:extLst>
                    <a:ext uri="{9D8B030D-6E8A-4147-A177-3AD203B41FA5}">
                      <a16:colId xmlns:a16="http://schemas.microsoft.com/office/drawing/2014/main" xmlns="" val="2841714611"/>
                    </a:ext>
                  </a:extLst>
                </a:gridCol>
                <a:gridCol w="1146848">
                  <a:extLst>
                    <a:ext uri="{9D8B030D-6E8A-4147-A177-3AD203B41FA5}">
                      <a16:colId xmlns:a16="http://schemas.microsoft.com/office/drawing/2014/main" xmlns="" val="1487440115"/>
                    </a:ext>
                  </a:extLst>
                </a:gridCol>
                <a:gridCol w="1235065">
                  <a:extLst>
                    <a:ext uri="{9D8B030D-6E8A-4147-A177-3AD203B41FA5}">
                      <a16:colId xmlns:a16="http://schemas.microsoft.com/office/drawing/2014/main" xmlns="" val="1807414066"/>
                    </a:ext>
                  </a:extLst>
                </a:gridCol>
                <a:gridCol w="1024919">
                  <a:extLst>
                    <a:ext uri="{9D8B030D-6E8A-4147-A177-3AD203B41FA5}">
                      <a16:colId xmlns:a16="http://schemas.microsoft.com/office/drawing/2014/main" xmlns="" val="638986853"/>
                    </a:ext>
                  </a:extLst>
                </a:gridCol>
                <a:gridCol w="1054437"/>
                <a:gridCol w="1141301">
                  <a:extLst>
                    <a:ext uri="{9D8B030D-6E8A-4147-A177-3AD203B41FA5}">
                      <a16:colId xmlns:a16="http://schemas.microsoft.com/office/drawing/2014/main" xmlns="" val="471168747"/>
                    </a:ext>
                  </a:extLst>
                </a:gridCol>
              </a:tblGrid>
              <a:tr h="571237">
                <a:tc gridSpan="7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Completion of Priority projects  during 2017-18</a:t>
                      </a:r>
                      <a:endParaRPr lang="en-IN" sz="2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5808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.No</a:t>
                      </a:r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roject Name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Balance cost as on 1.4.2016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 Balance CA admissible as per latest data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CA released under AIBP during 2016-17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CA released under AIBP during 2017-18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Targeted Irrigation Potential (Th. Ha.)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50736058"/>
                  </a:ext>
                </a:extLst>
              </a:tr>
              <a:tr h="46699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jastha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06161045"/>
                  </a:ext>
                </a:extLst>
              </a:tr>
              <a:tr h="46699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rmada Can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6.8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27.8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.79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99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5.8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99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d. of Gang Can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.0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.0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.10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44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9.6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99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18.9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9.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.8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8.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5.5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44825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langan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40776060"/>
                  </a:ext>
                </a:extLst>
              </a:tr>
              <a:tr h="5570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ddavagu @ Neelwai proje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2.0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67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.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79801905"/>
                  </a:ext>
                </a:extLst>
              </a:tr>
              <a:tr h="45000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lemvagu proje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4.0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19910452"/>
                  </a:ext>
                </a:extLst>
              </a:tr>
              <a:tr h="44825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RSP St.I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6.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8.3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.01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24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8.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94548346"/>
                  </a:ext>
                </a:extLst>
              </a:tr>
              <a:tr h="5570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jiv Bheema L.I. Schem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16.7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2.7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.48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2.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219327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8617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1300056"/>
              </p:ext>
            </p:extLst>
          </p:nvPr>
        </p:nvGraphicFramePr>
        <p:xfrm>
          <a:off x="1" y="214287"/>
          <a:ext cx="9143998" cy="42797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8054">
                  <a:extLst>
                    <a:ext uri="{9D8B030D-6E8A-4147-A177-3AD203B41FA5}">
                      <a16:colId xmlns:a16="http://schemas.microsoft.com/office/drawing/2014/main" xmlns="" val="3015058990"/>
                    </a:ext>
                  </a:extLst>
                </a:gridCol>
                <a:gridCol w="2603377">
                  <a:extLst>
                    <a:ext uri="{9D8B030D-6E8A-4147-A177-3AD203B41FA5}">
                      <a16:colId xmlns:a16="http://schemas.microsoft.com/office/drawing/2014/main" xmlns="" val="2841714611"/>
                    </a:ext>
                  </a:extLst>
                </a:gridCol>
                <a:gridCol w="1146847">
                  <a:extLst>
                    <a:ext uri="{9D8B030D-6E8A-4147-A177-3AD203B41FA5}">
                      <a16:colId xmlns:a16="http://schemas.microsoft.com/office/drawing/2014/main" xmlns="" val="1487440115"/>
                    </a:ext>
                  </a:extLst>
                </a:gridCol>
                <a:gridCol w="1235066">
                  <a:extLst>
                    <a:ext uri="{9D8B030D-6E8A-4147-A177-3AD203B41FA5}">
                      <a16:colId xmlns:a16="http://schemas.microsoft.com/office/drawing/2014/main" xmlns="" val="1807414066"/>
                    </a:ext>
                  </a:extLst>
                </a:gridCol>
                <a:gridCol w="938054">
                  <a:extLst>
                    <a:ext uri="{9D8B030D-6E8A-4147-A177-3AD203B41FA5}">
                      <a16:colId xmlns:a16="http://schemas.microsoft.com/office/drawing/2014/main" xmlns="" val="638986853"/>
                    </a:ext>
                  </a:extLst>
                </a:gridCol>
                <a:gridCol w="96720"/>
                <a:gridCol w="1044580"/>
                <a:gridCol w="1141300">
                  <a:extLst>
                    <a:ext uri="{9D8B030D-6E8A-4147-A177-3AD203B41FA5}">
                      <a16:colId xmlns:a16="http://schemas.microsoft.com/office/drawing/2014/main" xmlns="" val="471168747"/>
                    </a:ext>
                  </a:extLst>
                </a:gridCol>
              </a:tblGrid>
              <a:tr h="500069">
                <a:tc gridSpan="8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Completion of Priority projects  during 2017-18</a:t>
                      </a:r>
                      <a:endParaRPr lang="en-IN" sz="2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5963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.No</a:t>
                      </a:r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roject Name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Balance cost as on 1.4.2016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 Balance CA admissible as per latest data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CA released under AIBP during 2016-17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CA released under AIBP during 2017-18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Targeted Irrigation Potential (Th. Ha.)</a:t>
                      </a:r>
                      <a:endParaRPr lang="en-IN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3" marR="7253" marT="72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50736058"/>
                  </a:ext>
                </a:extLst>
              </a:tr>
              <a:tr h="4088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riKomaram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heem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roje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7.5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9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06161045"/>
                  </a:ext>
                </a:extLst>
              </a:tr>
              <a:tr h="4088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56.6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5.6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2.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0.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4088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ttar Prades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4088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ansagar</a:t>
                      </a: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Can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87.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3.5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.637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3.3606</a:t>
                      </a: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50.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2412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40776060"/>
                  </a:ext>
                </a:extLst>
              </a:tr>
              <a:tr h="3924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and 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602.8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08.5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86.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99.49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78.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79801905"/>
                  </a:ext>
                </a:extLst>
              </a:tr>
            </a:tbl>
          </a:graphicData>
        </a:graphic>
      </p:graphicFrame>
      <p:sp>
        <p:nvSpPr>
          <p:cNvPr id="2" name="Left Arrow 1">
            <a:hlinkClick r:id="rId2" action="ppaction://hlinksldjump"/>
          </p:cNvPr>
          <p:cNvSpPr/>
          <p:nvPr/>
        </p:nvSpPr>
        <p:spPr>
          <a:xfrm>
            <a:off x="8028384" y="6093296"/>
            <a:ext cx="834392" cy="41262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749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shreyash\Downloads\lower panjara.jpg"/>
          <p:cNvPicPr>
            <a:picLocks noChangeAspect="1" noChangeArrowheads="1"/>
          </p:cNvPicPr>
          <p:nvPr/>
        </p:nvPicPr>
        <p:blipFill rotWithShape="1">
          <a:blip r:embed="rId2" cstate="print"/>
          <a:srcRect l="-1286" t="8965" r="1286"/>
          <a:stretch/>
        </p:blipFill>
        <p:spPr bwMode="auto">
          <a:xfrm>
            <a:off x="261280" y="764705"/>
            <a:ext cx="3749040" cy="2565123"/>
          </a:xfrm>
          <a:prstGeom prst="rect">
            <a:avLst/>
          </a:prstGeom>
          <a:noFill/>
        </p:spPr>
      </p:pic>
      <p:pic>
        <p:nvPicPr>
          <p:cNvPr id="3" name="Picture 2" descr="C:\Users\Assteic\Desktop\AIBP Meeting on 01.03.2017\UIIP\Trial Irrgn. in REMC at 10 KM.jpe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68094" y="764704"/>
            <a:ext cx="3749040" cy="2565124"/>
          </a:xfrm>
          <a:prstGeom prst="roundRect">
            <a:avLst>
              <a:gd name="adj" fmla="val 16667"/>
            </a:avLst>
          </a:prstGeom>
          <a:ln>
            <a:solidFill>
              <a:srgbClr val="FF0000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4" name="TextBox 18"/>
          <p:cNvSpPr txBox="1">
            <a:spLocks noChangeArrowheads="1"/>
          </p:cNvSpPr>
          <p:nvPr/>
        </p:nvSpPr>
        <p:spPr bwMode="auto">
          <a:xfrm>
            <a:off x="5148065" y="3475001"/>
            <a:ext cx="3240360" cy="400110"/>
          </a:xfrm>
          <a:prstGeom prst="rect">
            <a:avLst/>
          </a:prstGeom>
          <a:solidFill>
            <a:srgbClr val="002060"/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IN" altLang="en-US" sz="2000" b="1" dirty="0" err="1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Rukura</a:t>
            </a:r>
            <a:r>
              <a:rPr lang="en-IN" altLang="en-US" sz="20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IN" altLang="en-US" sz="2000" b="1" dirty="0" err="1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Odisha</a:t>
            </a:r>
            <a:r>
              <a:rPr lang="en-IN" altLang="en-US" sz="20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en-IN" altLang="en-US" sz="2000" b="1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18"/>
          <p:cNvSpPr txBox="1">
            <a:spLocks noChangeArrowheads="1"/>
          </p:cNvSpPr>
          <p:nvPr/>
        </p:nvSpPr>
        <p:spPr bwMode="auto">
          <a:xfrm>
            <a:off x="467544" y="3473945"/>
            <a:ext cx="3432920" cy="400110"/>
          </a:xfrm>
          <a:prstGeom prst="rect">
            <a:avLst/>
          </a:prstGeom>
          <a:solidFill>
            <a:srgbClr val="002060"/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IN" altLang="en-US" sz="20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Lower </a:t>
            </a:r>
            <a:r>
              <a:rPr lang="en-IN" altLang="en-US" sz="2000" b="1" dirty="0" err="1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Panzara</a:t>
            </a:r>
            <a:r>
              <a:rPr lang="en-IN" altLang="en-US" sz="20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IN" altLang="en-US" sz="2000" b="1" dirty="0" err="1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Mah</a:t>
            </a:r>
            <a:r>
              <a:rPr lang="en-IN" altLang="en-US" sz="20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)</a:t>
            </a:r>
            <a:endParaRPr lang="en-IN" altLang="en-US" sz="2000" b="1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3" y="118070"/>
            <a:ext cx="70567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Photographs</a:t>
            </a: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of</a:t>
            </a: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projects getting completed</a:t>
            </a:r>
            <a:endParaRPr lang="en-US" sz="24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099" name="Picture 3" descr="D:\Draft PPTs\PS to PM-4-8-17\material\AIBP-Pics\Sri Rameshwara Lift  Irrigation Scheme\VISIT-1\Untitled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46" y="4044459"/>
            <a:ext cx="3749040" cy="2224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8"/>
          <p:cNvSpPr txBox="1">
            <a:spLocks noChangeArrowheads="1"/>
          </p:cNvSpPr>
          <p:nvPr/>
        </p:nvSpPr>
        <p:spPr bwMode="auto">
          <a:xfrm>
            <a:off x="467545" y="6412743"/>
            <a:ext cx="3240360" cy="400110"/>
          </a:xfrm>
          <a:prstGeom prst="rect">
            <a:avLst/>
          </a:prstGeom>
          <a:solidFill>
            <a:srgbClr val="002060"/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IN" altLang="en-US" sz="20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Sri </a:t>
            </a:r>
            <a:r>
              <a:rPr lang="en-IN" altLang="en-US" sz="2000" b="1" dirty="0" err="1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Rameshwara</a:t>
            </a:r>
            <a:r>
              <a:rPr lang="en-IN" altLang="en-US" sz="20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IN" altLang="en-US" sz="2000" b="1" dirty="0" err="1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Kar</a:t>
            </a:r>
            <a:r>
              <a:rPr lang="en-IN" altLang="en-US" sz="20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)</a:t>
            </a:r>
            <a:endParaRPr lang="en-IN" altLang="en-US" sz="2000" b="1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101" name="Picture 5" descr="D:\Draft PPTs\PS to PM-4-8-17\material\AIBP-Pics\Upper Indravati(KBK) Extension Project\VISIT-1\UpperIndravati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8094" y="4044458"/>
            <a:ext cx="3749040" cy="2224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8"/>
          <p:cNvSpPr txBox="1">
            <a:spLocks noChangeArrowheads="1"/>
          </p:cNvSpPr>
          <p:nvPr/>
        </p:nvSpPr>
        <p:spPr bwMode="auto">
          <a:xfrm>
            <a:off x="4926930" y="6412743"/>
            <a:ext cx="3672409" cy="400110"/>
          </a:xfrm>
          <a:prstGeom prst="rect">
            <a:avLst/>
          </a:prstGeom>
          <a:solidFill>
            <a:srgbClr val="002060"/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IN" altLang="en-US" sz="20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Upper </a:t>
            </a:r>
            <a:r>
              <a:rPr lang="en-IN" altLang="en-US" sz="20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Indravati</a:t>
            </a:r>
            <a:r>
              <a:rPr lang="en-IN" altLang="en-US" sz="20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IN" altLang="en-US" sz="20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Extn</a:t>
            </a:r>
            <a:r>
              <a:rPr lang="en-IN" altLang="en-US" sz="20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 (</a:t>
            </a:r>
            <a:r>
              <a:rPr lang="en-IN" altLang="en-US" sz="2000" b="1" dirty="0" err="1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Odisha</a:t>
            </a:r>
            <a:r>
              <a:rPr lang="en-IN" altLang="en-US" sz="20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en-IN" altLang="en-US" sz="2000" b="1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27000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DBC684-953B-4F4A-8FC6-D9C9E5184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5843" name="Picture 3" descr="H:\Draft PPTs\PS to PM-4-8-17\Dam site.jpg"/>
          <p:cNvPicPr>
            <a:picLocks noChangeAspect="1" noChangeArrowheads="1"/>
          </p:cNvPicPr>
          <p:nvPr/>
        </p:nvPicPr>
        <p:blipFill>
          <a:blip r:embed="rId2" cstate="print"/>
          <a:srcRect r="26430" b="26913"/>
          <a:stretch>
            <a:fillRect/>
          </a:stretch>
        </p:blipFill>
        <p:spPr bwMode="auto">
          <a:xfrm>
            <a:off x="757522" y="3913835"/>
            <a:ext cx="3431324" cy="2377440"/>
          </a:xfrm>
          <a:prstGeom prst="rect">
            <a:avLst/>
          </a:prstGeom>
          <a:noFill/>
        </p:spPr>
      </p:pic>
      <p:pic>
        <p:nvPicPr>
          <p:cNvPr id="35845" name="Picture 5" descr="H:\Draft PPTs\PS to PM-4-8-17\RD 3780 RBC piped canal aqueduc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28026" y="879219"/>
            <a:ext cx="3632406" cy="2494849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899592" y="3454063"/>
            <a:ext cx="3096344" cy="369332"/>
          </a:xfrm>
          <a:prstGeom prst="rect">
            <a:avLst/>
          </a:prstGeom>
          <a:solidFill>
            <a:srgbClr val="0000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 smtClean="0">
                <a:solidFill>
                  <a:prstClr val="white"/>
                </a:solidFill>
              </a:rPr>
              <a:t>Sagad</a:t>
            </a:r>
            <a:r>
              <a:rPr lang="en-US" b="1" dirty="0" smtClean="0">
                <a:solidFill>
                  <a:prstClr val="white"/>
                </a:solidFill>
              </a:rPr>
              <a:t> (M.P.)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99591" y="6293733"/>
            <a:ext cx="2952330" cy="369332"/>
          </a:xfrm>
          <a:prstGeom prst="rect">
            <a:avLst/>
          </a:prstGeom>
          <a:solidFill>
            <a:srgbClr val="0000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 smtClean="0">
                <a:solidFill>
                  <a:prstClr val="white"/>
                </a:solidFill>
              </a:rPr>
              <a:t>Mahuar</a:t>
            </a:r>
            <a:r>
              <a:rPr lang="en-US" b="1" dirty="0" smtClean="0">
                <a:solidFill>
                  <a:prstClr val="white"/>
                </a:solidFill>
              </a:rPr>
              <a:t> (M.P.)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076056" y="3454063"/>
            <a:ext cx="3099161" cy="369332"/>
          </a:xfrm>
          <a:prstGeom prst="rect">
            <a:avLst/>
          </a:prstGeom>
          <a:solidFill>
            <a:srgbClr val="0000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 smtClean="0">
                <a:solidFill>
                  <a:prstClr val="white"/>
                </a:solidFill>
              </a:rPr>
              <a:t>Mahuar</a:t>
            </a:r>
            <a:r>
              <a:rPr lang="en-US" b="1" dirty="0" smtClean="0">
                <a:solidFill>
                  <a:prstClr val="white"/>
                </a:solidFill>
              </a:rPr>
              <a:t> (M.P.)</a:t>
            </a:r>
            <a:endParaRPr lang="en-US" b="1" dirty="0">
              <a:solidFill>
                <a:prstClr val="white"/>
              </a:solidFill>
            </a:endParaRPr>
          </a:p>
        </p:txBody>
      </p:sp>
      <p:pic>
        <p:nvPicPr>
          <p:cNvPr id="3074" name="Picture 2" descr="D:\Draft PPTs\PS to PM-4-8-17\material\AIBP-Pics\Sagad Project\VISIT-1\Sagad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224"/>
          <a:stretch/>
        </p:blipFill>
        <p:spPr bwMode="auto">
          <a:xfrm>
            <a:off x="755576" y="879219"/>
            <a:ext cx="3433270" cy="2494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D:\Draft PPTs\PS to PM-4-8-17\material\AIBP-Pics\Singhpur Barrage Project\VISIT-1\Singhpu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8026" y="4005065"/>
            <a:ext cx="3632406" cy="22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5070485" y="6293733"/>
            <a:ext cx="3099162" cy="369332"/>
          </a:xfrm>
          <a:prstGeom prst="rect">
            <a:avLst/>
          </a:prstGeom>
          <a:solidFill>
            <a:srgbClr val="0000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 smtClean="0">
                <a:solidFill>
                  <a:prstClr val="white"/>
                </a:solidFill>
              </a:rPr>
              <a:t>Singhpur</a:t>
            </a:r>
            <a:r>
              <a:rPr lang="en-US" b="1" dirty="0" smtClean="0">
                <a:solidFill>
                  <a:prstClr val="white"/>
                </a:solidFill>
              </a:rPr>
              <a:t> (M.P.)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12864" y="223093"/>
            <a:ext cx="70567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Photographs</a:t>
            </a: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of</a:t>
            </a: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projects getting completed</a:t>
            </a:r>
            <a:endParaRPr lang="en-US" sz="24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092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35175"/>
            <a:ext cx="8591256" cy="720858"/>
          </a:xfrm>
        </p:spPr>
        <p:txBody>
          <a:bodyPr anchor="t">
            <a:normAutofit/>
          </a:bodyPr>
          <a:lstStyle/>
          <a:p>
            <a:r>
              <a:rPr lang="en-US" sz="36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radhan</a:t>
            </a:r>
            <a:r>
              <a:rPr lang="en-US" sz="3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Mantri</a:t>
            </a:r>
            <a:r>
              <a:rPr lang="en-US" sz="3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Krishi</a:t>
            </a:r>
            <a:r>
              <a:rPr lang="en-US" sz="3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Sinchayee</a:t>
            </a:r>
            <a:r>
              <a:rPr lang="en-US" sz="3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Yojana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 flipH="1">
            <a:off x="899592" y="689355"/>
            <a:ext cx="7233084" cy="45719"/>
          </a:xfrm>
          <a:prstGeom prst="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6413" y="6522733"/>
            <a:ext cx="432535" cy="365125"/>
          </a:xfrm>
        </p:spPr>
        <p:txBody>
          <a:bodyPr/>
          <a:lstStyle/>
          <a:p>
            <a:fld id="{446009A7-F1CB-FB42-86C6-2C203E0570C4}" type="slidenum">
              <a:rPr lang="en-US" sz="1400" b="1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 sz="1400" b="1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710961"/>
              </p:ext>
            </p:extLst>
          </p:nvPr>
        </p:nvGraphicFramePr>
        <p:xfrm>
          <a:off x="467543" y="980726"/>
          <a:ext cx="8136906" cy="52539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2302"/>
                <a:gridCol w="2712302"/>
                <a:gridCol w="2712302"/>
              </a:tblGrid>
              <a:tr h="952915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Component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Potential/ CCA (Lakh</a:t>
                      </a:r>
                      <a:r>
                        <a:rPr lang="en-US" sz="2400" b="1" baseline="0" dirty="0" smtClean="0"/>
                        <a:t> Ha.)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Outlay                      (</a:t>
                      </a:r>
                      <a:r>
                        <a:rPr lang="en-US" sz="2400" b="1" dirty="0" err="1" smtClean="0"/>
                        <a:t>Rs</a:t>
                      </a:r>
                      <a:r>
                        <a:rPr lang="en-US" sz="2400" b="1" dirty="0" smtClean="0"/>
                        <a:t>. </a:t>
                      </a:r>
                      <a:r>
                        <a:rPr lang="en-US" sz="2400" b="1" dirty="0" err="1" smtClean="0"/>
                        <a:t>Crore</a:t>
                      </a:r>
                      <a:r>
                        <a:rPr lang="en-US" sz="2400" b="1" dirty="0" smtClean="0"/>
                        <a:t>)</a:t>
                      </a:r>
                      <a:endParaRPr lang="en-US" sz="2400" b="1" dirty="0"/>
                    </a:p>
                  </a:txBody>
                  <a:tcPr/>
                </a:tc>
              </a:tr>
              <a:tr h="541963">
                <a:tc gridSpan="3"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2015-16 to 2019-20</a:t>
                      </a:r>
                      <a:endParaRPr lang="en-US" sz="24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541963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AIBP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7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11060</a:t>
                      </a:r>
                      <a:endParaRPr lang="en-US" sz="2400" dirty="0"/>
                    </a:p>
                  </a:txBody>
                  <a:tcPr anchor="ctr"/>
                </a:tc>
              </a:tr>
              <a:tr h="798055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CAD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15</a:t>
                      </a:r>
                      <a:endParaRPr lang="en-US" sz="2400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9050</a:t>
                      </a:r>
                      <a:endParaRPr lang="en-US" sz="2400" dirty="0"/>
                    </a:p>
                  </a:txBody>
                  <a:tcPr anchor="ctr"/>
                </a:tc>
              </a:tr>
              <a:tr h="798055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GW/RRR/SMI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6</a:t>
                      </a:r>
                      <a:endParaRPr lang="en-US" sz="24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798055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MICRO IRRIGATION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100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16300</a:t>
                      </a:r>
                      <a:endParaRPr lang="en-US" sz="2400" dirty="0"/>
                    </a:p>
                  </a:txBody>
                  <a:tcPr anchor="ctr"/>
                </a:tc>
              </a:tr>
              <a:tr h="798055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WATERSHED DEVELOPMEMNT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11.5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13590</a:t>
                      </a:r>
                      <a:endParaRPr lang="en-US" sz="2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945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Rot="1" noChangeArrowheads="1"/>
          </p:cNvSpPr>
          <p:nvPr>
            <p:ph type="ctrTitle"/>
          </p:nvPr>
        </p:nvSpPr>
        <p:spPr>
          <a:xfrm>
            <a:off x="533400" y="304800"/>
            <a:ext cx="8153400" cy="838200"/>
          </a:xfrm>
        </p:spPr>
        <p:txBody>
          <a:bodyPr/>
          <a:lstStyle/>
          <a:p>
            <a:pPr eaLnBrk="1" hangingPunct="1"/>
            <a:r>
              <a:rPr lang="en-US" sz="2400" b="1" dirty="0" smtClean="0">
                <a:solidFill>
                  <a:prstClr val="black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99 </a:t>
            </a:r>
            <a:r>
              <a:rPr lang="en-US" sz="2400" b="1" dirty="0">
                <a:solidFill>
                  <a:prstClr val="black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ongoing projects with CAD – completion by 2019 with Long Term Irrigation Fund (LTIF) in NABARD</a:t>
            </a:r>
            <a:endParaRPr lang="en-US" b="1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363" name="Slide Number Placeholder 4"/>
          <p:cNvSpPr txBox="1">
            <a:spLocks noGrp="1"/>
          </p:cNvSpPr>
          <p:nvPr/>
        </p:nvSpPr>
        <p:spPr bwMode="auto">
          <a:xfrm>
            <a:off x="6553200" y="624840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0E4E7937-5364-46BD-9074-C291A395BE91}" type="slidenum">
              <a:rPr lang="en-US" sz="1200">
                <a:latin typeface="Arial" charset="0"/>
              </a:rPr>
              <a:pPr algn="r"/>
              <a:t>5</a:t>
            </a:fld>
            <a:endParaRPr lang="en-US" sz="1200">
              <a:latin typeface="Arial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228608" y="1447806"/>
          <a:ext cx="8762999" cy="50641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8716"/>
                <a:gridCol w="1033084"/>
                <a:gridCol w="1170710"/>
                <a:gridCol w="1200784"/>
                <a:gridCol w="1139902"/>
                <a:gridCol w="1039025"/>
                <a:gridCol w="1240778"/>
              </a:tblGrid>
              <a:tr h="640066">
                <a:tc rowSpan="2"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Category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No. of Projects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Fund required</a:t>
                      </a:r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</a:rPr>
                        <a:t> for completion</a:t>
                      </a:r>
                    </a:p>
                    <a:p>
                      <a:pPr algn="ctr"/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</a:rPr>
                        <a:t>(Rs. in </a:t>
                      </a:r>
                      <a:r>
                        <a:rPr lang="en-US" sz="1800" b="1" baseline="0" dirty="0" err="1" smtClean="0">
                          <a:solidFill>
                            <a:schemeClr val="bg1"/>
                          </a:solidFill>
                        </a:rPr>
                        <a:t>crore</a:t>
                      </a:r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Central Shar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</a:rPr>
                        <a:t>(Rs. in </a:t>
                      </a:r>
                      <a:r>
                        <a:rPr lang="en-US" sz="1800" b="1" baseline="0" dirty="0" err="1" smtClean="0">
                          <a:solidFill>
                            <a:schemeClr val="bg1"/>
                          </a:solidFill>
                        </a:rPr>
                        <a:t>crore</a:t>
                      </a:r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en-US" sz="1800" b="1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Irrigation Potential </a:t>
                      </a:r>
                      <a:r>
                        <a:rPr lang="en-US" sz="1800" b="1" dirty="0" err="1" smtClean="0">
                          <a:solidFill>
                            <a:schemeClr val="bg1"/>
                          </a:solidFill>
                        </a:rPr>
                        <a:t>Utilisation</a:t>
                      </a:r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</a:rPr>
                        <a:t>(Lakh Ha.)</a:t>
                      </a:r>
                      <a:endParaRPr lang="en-US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822954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AIBP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CAD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TOTAL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778375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Priority-I projects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(Completion by 3/2017)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23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7956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5466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13423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6535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14.53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1921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Priority-II project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ion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 by 3/2018)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31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8080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4825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12905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4269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12.95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4781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Priority-III projects 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(Completion by 12/2019)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45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32510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18757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51268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20538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48.55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55708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TOTAL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99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48546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29049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77595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31342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76.03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T="45715" marB="457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16632"/>
            <a:ext cx="8229600" cy="648072"/>
          </a:xfrm>
        </p:spPr>
        <p:txBody>
          <a:bodyPr/>
          <a:lstStyle/>
          <a:p>
            <a:r>
              <a:rPr lang="en-IN" sz="3200" b="1" dirty="0" smtClean="0"/>
              <a:t>Progress of Prioritized Projects- AIBP</a:t>
            </a:r>
            <a:endParaRPr lang="en-IN" sz="32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84614438"/>
              </p:ext>
            </p:extLst>
          </p:nvPr>
        </p:nvGraphicFramePr>
        <p:xfrm>
          <a:off x="611560" y="908720"/>
          <a:ext cx="7920880" cy="54726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162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2960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015015"/>
                <a:gridCol w="202463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622183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IN" sz="1800" b="1" i="0" u="none" strike="noStrike" dirty="0" err="1">
                          <a:solidFill>
                            <a:schemeClr val="bg1"/>
                          </a:solidFill>
                          <a:latin typeface="Arial"/>
                        </a:rPr>
                        <a:t>S.No</a:t>
                      </a:r>
                      <a:r>
                        <a:rPr lang="en-IN" sz="18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IN" sz="18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% </a:t>
                      </a:r>
                      <a:r>
                        <a:rPr lang="en-IN" sz="18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 Progress</a:t>
                      </a:r>
                      <a:endParaRPr lang="en-IN" sz="18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1" i="0" u="none" strike="noStrike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Progress (Dec,16)</a:t>
                      </a:r>
                      <a:endParaRPr lang="en-IN" sz="1800" b="1" i="0" u="none" strike="noStrike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Present</a:t>
                      </a:r>
                      <a:r>
                        <a:rPr lang="en-IN" sz="1800" b="1" i="0" u="none" strike="noStrike" baseline="0" dirty="0" smtClean="0">
                          <a:solidFill>
                            <a:schemeClr val="bg1"/>
                          </a:solidFill>
                          <a:latin typeface="Arial"/>
                        </a:rPr>
                        <a:t> Progress</a:t>
                      </a:r>
                      <a:endParaRPr lang="en-IN" sz="18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8886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541092"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 smtClean="0">
                          <a:solidFill>
                            <a:srgbClr val="000099"/>
                          </a:solidFill>
                          <a:latin typeface="Arial"/>
                        </a:rPr>
                        <a:t>1</a:t>
                      </a:r>
                      <a:endParaRPr lang="en-IN" sz="2000" b="0" i="0" u="none" strike="noStrike" dirty="0">
                        <a:solidFill>
                          <a:srgbClr val="000099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 smtClean="0">
                          <a:solidFill>
                            <a:srgbClr val="000099"/>
                          </a:solidFill>
                          <a:latin typeface="Arial"/>
                        </a:rPr>
                        <a:t>Completed </a:t>
                      </a:r>
                      <a:endParaRPr lang="en-IN" sz="2000" b="0" i="0" u="none" strike="noStrike" dirty="0">
                        <a:solidFill>
                          <a:srgbClr val="000099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 smtClean="0">
                          <a:solidFill>
                            <a:srgbClr val="000099"/>
                          </a:solidFill>
                          <a:latin typeface="Calibri"/>
                        </a:rPr>
                        <a:t>2</a:t>
                      </a:r>
                      <a:endParaRPr lang="en-IN" sz="2000" b="1" i="0" u="none" strike="noStrike" dirty="0">
                        <a:solidFill>
                          <a:srgbClr val="000099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rgbClr val="000099"/>
                          </a:solidFill>
                          <a:latin typeface="+mn-lt"/>
                        </a:rPr>
                        <a:t>18</a:t>
                      </a:r>
                      <a:endParaRPr lang="en-US" sz="2000" b="1" dirty="0">
                        <a:solidFill>
                          <a:srgbClr val="000099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22183"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99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99"/>
                          </a:solidFill>
                          <a:latin typeface="Arial"/>
                        </a:rPr>
                        <a:t>90 and abov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 smtClean="0">
                          <a:solidFill>
                            <a:srgbClr val="000099"/>
                          </a:solidFill>
                          <a:latin typeface="Calibri"/>
                        </a:rPr>
                        <a:t>21</a:t>
                      </a:r>
                      <a:endParaRPr lang="en-IN" sz="2000" b="1" i="0" u="none" strike="noStrike" dirty="0">
                        <a:solidFill>
                          <a:srgbClr val="000099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rgbClr val="000099"/>
                          </a:solidFill>
                          <a:latin typeface="+mn-lt"/>
                        </a:rPr>
                        <a:t>24</a:t>
                      </a:r>
                      <a:endParaRPr lang="en-US" sz="2000" b="1" dirty="0">
                        <a:solidFill>
                          <a:srgbClr val="000099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5783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99"/>
                          </a:solidFill>
                          <a:latin typeface="Arial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99"/>
                          </a:solidFill>
                          <a:latin typeface="Arial"/>
                        </a:rPr>
                        <a:t>80  to &lt; 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 smtClean="0">
                          <a:solidFill>
                            <a:srgbClr val="000099"/>
                          </a:solidFill>
                          <a:latin typeface="Calibri"/>
                        </a:rPr>
                        <a:t>25</a:t>
                      </a:r>
                      <a:endParaRPr lang="en-IN" sz="2000" b="1" i="0" u="none" strike="noStrike" dirty="0">
                        <a:solidFill>
                          <a:srgbClr val="000099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rgbClr val="000099"/>
                          </a:solidFill>
                          <a:latin typeface="+mn-lt"/>
                        </a:rPr>
                        <a:t>19</a:t>
                      </a:r>
                      <a:endParaRPr lang="en-US" sz="2000" b="1" dirty="0">
                        <a:solidFill>
                          <a:srgbClr val="000099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08016"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99"/>
                          </a:solidFill>
                          <a:latin typeface="Arial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99"/>
                          </a:solidFill>
                          <a:latin typeface="Arial"/>
                        </a:rPr>
                        <a:t>70  to &lt; 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>
                          <a:solidFill>
                            <a:srgbClr val="000099"/>
                          </a:solidFill>
                          <a:latin typeface="Calibri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rgbClr val="000099"/>
                          </a:solidFill>
                          <a:latin typeface="+mn-lt"/>
                        </a:rPr>
                        <a:t>8</a:t>
                      </a:r>
                      <a:endParaRPr lang="en-US" sz="2000" b="1" dirty="0">
                        <a:solidFill>
                          <a:srgbClr val="000099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63525"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99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99"/>
                          </a:solidFill>
                          <a:latin typeface="Arial"/>
                        </a:rPr>
                        <a:t>60  to &lt; 7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 smtClean="0">
                          <a:solidFill>
                            <a:srgbClr val="000099"/>
                          </a:solidFill>
                          <a:latin typeface="Calibri"/>
                        </a:rPr>
                        <a:t>12</a:t>
                      </a:r>
                      <a:endParaRPr lang="en-IN" sz="2000" b="1" i="0" u="none" strike="noStrike" dirty="0">
                        <a:solidFill>
                          <a:srgbClr val="000099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rgbClr val="000099"/>
                          </a:solidFill>
                          <a:latin typeface="+mn-lt"/>
                        </a:rPr>
                        <a:t>15</a:t>
                      </a:r>
                      <a:endParaRPr lang="en-US" sz="2000" b="1" dirty="0">
                        <a:solidFill>
                          <a:srgbClr val="000099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89638"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99"/>
                          </a:solidFill>
                          <a:latin typeface="Arial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 smtClean="0">
                          <a:solidFill>
                            <a:srgbClr val="000099"/>
                          </a:solidFill>
                          <a:latin typeface="Arial"/>
                        </a:rPr>
                        <a:t>&lt; </a:t>
                      </a:r>
                      <a:r>
                        <a:rPr lang="en-IN" sz="2000" b="0" i="0" u="none" strike="noStrike" dirty="0">
                          <a:solidFill>
                            <a:srgbClr val="000099"/>
                          </a:solidFill>
                          <a:latin typeface="Arial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 smtClean="0">
                          <a:solidFill>
                            <a:srgbClr val="000099"/>
                          </a:solidFill>
                          <a:latin typeface="Calibri"/>
                        </a:rPr>
                        <a:t>33</a:t>
                      </a:r>
                      <a:endParaRPr lang="en-IN" sz="2000" b="1" i="0" u="none" strike="noStrike" dirty="0">
                        <a:solidFill>
                          <a:srgbClr val="000099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rgbClr val="000099"/>
                          </a:solidFill>
                          <a:latin typeface="+mn-lt"/>
                        </a:rPr>
                        <a:t>22</a:t>
                      </a:r>
                      <a:endParaRPr lang="en-US" sz="2000" b="1" dirty="0">
                        <a:solidFill>
                          <a:srgbClr val="000099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89638">
                <a:tc>
                  <a:txBody>
                    <a:bodyPr/>
                    <a:lstStyle/>
                    <a:p>
                      <a:pPr algn="l" fontAlgn="b"/>
                      <a:r>
                        <a:rPr lang="en-IN" sz="2000" b="0" i="0" u="none" strike="noStrike" dirty="0">
                          <a:solidFill>
                            <a:srgbClr val="000099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>
                          <a:solidFill>
                            <a:srgbClr val="000099"/>
                          </a:solidFill>
                          <a:latin typeface="Arial"/>
                        </a:rPr>
                        <a:t>Total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 smtClean="0">
                          <a:solidFill>
                            <a:srgbClr val="000099"/>
                          </a:solidFill>
                          <a:latin typeface="Calibri"/>
                        </a:rPr>
                        <a:t>106*</a:t>
                      </a:r>
                      <a:endParaRPr lang="en-IN" sz="2000" b="1" i="0" u="none" strike="noStrike" dirty="0">
                        <a:solidFill>
                          <a:srgbClr val="000099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rgbClr val="000099"/>
                          </a:solidFill>
                        </a:rPr>
                        <a:t>106*</a:t>
                      </a:r>
                      <a:endParaRPr lang="en-US" sz="2000" b="1" dirty="0">
                        <a:solidFill>
                          <a:srgbClr val="000099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89638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IN" sz="2000" b="0" i="0" u="none" strike="noStrike" dirty="0" smtClean="0">
                          <a:solidFill>
                            <a:srgbClr val="000099"/>
                          </a:solidFill>
                          <a:latin typeface="Arial"/>
                        </a:rPr>
                        <a:t>                                                            *99 Projects and 7 Phases</a:t>
                      </a:r>
                      <a:endParaRPr lang="en-IN" sz="2000" b="0" i="0" u="none" strike="noStrike" dirty="0">
                        <a:solidFill>
                          <a:srgbClr val="000099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IN" sz="2000" b="1" i="0" u="none" strike="noStrike" dirty="0">
                        <a:solidFill>
                          <a:srgbClr val="000099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rgbClr val="000099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9180009-56EA-4F8F-BC71-F79CDFB3FA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68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560" y="0"/>
            <a:ext cx="7772400" cy="548680"/>
          </a:xfrm>
        </p:spPr>
        <p:txBody>
          <a:bodyPr anchor="t"/>
          <a:lstStyle/>
          <a:p>
            <a:r>
              <a:rPr lang="en-US" sz="3200" b="1" dirty="0" smtClean="0"/>
              <a:t>Monitoring &amp; Review of projects</a:t>
            </a:r>
            <a:endParaRPr lang="en-US" sz="32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520" y="692696"/>
            <a:ext cx="8640960" cy="6048672"/>
          </a:xfrm>
        </p:spPr>
        <p:txBody>
          <a:bodyPr/>
          <a:lstStyle/>
          <a:p>
            <a:pPr marL="457200" indent="-457200" algn="just">
              <a:spcBef>
                <a:spcPts val="0"/>
              </a:spcBef>
              <a:spcAft>
                <a:spcPts val="0"/>
              </a:spcAft>
            </a:pPr>
            <a:endParaRPr lang="en-US" sz="2000" b="1" dirty="0">
              <a:solidFill>
                <a:srgbClr val="FF0000"/>
              </a:solidFill>
            </a:endParaRPr>
          </a:p>
          <a:p>
            <a:pPr marL="457200" indent="-457200" algn="just">
              <a:spcAft>
                <a:spcPts val="600"/>
              </a:spcAft>
            </a:pPr>
            <a:endParaRPr lang="en-US" sz="2000" dirty="0" smtClean="0">
              <a:solidFill>
                <a:srgbClr val="000099"/>
              </a:solidFill>
            </a:endParaRPr>
          </a:p>
          <a:p>
            <a:pPr marL="457200" indent="-457200" algn="just">
              <a:buFont typeface="Wingdings" pitchFamily="2" charset="2"/>
              <a:buChar char="§"/>
            </a:pPr>
            <a:endParaRPr lang="en-US" sz="2000" dirty="0" smtClean="0">
              <a:solidFill>
                <a:srgbClr val="000099"/>
              </a:solidFill>
            </a:endParaRPr>
          </a:p>
          <a:p>
            <a:pPr marL="457200" indent="-457200" algn="just">
              <a:buFont typeface="Arial" pitchFamily="34" charset="0"/>
              <a:buChar char="•"/>
            </a:pPr>
            <a:endParaRPr lang="en-US" sz="2800" dirty="0" smtClean="0">
              <a:solidFill>
                <a:srgbClr val="0000FF"/>
              </a:solidFill>
            </a:endParaRPr>
          </a:p>
          <a:p>
            <a:pPr marL="457200" indent="-457200" algn="just">
              <a:buFont typeface="Arial" pitchFamily="34" charset="0"/>
              <a:buChar char="•"/>
            </a:pPr>
            <a:endParaRPr lang="en-US" dirty="0" smtClean="0"/>
          </a:p>
          <a:p>
            <a:pPr marL="457200" indent="-457200" algn="just">
              <a:buFont typeface="Arial" pitchFamily="34" charset="0"/>
              <a:buChar char="•"/>
            </a:pPr>
            <a:endParaRPr lang="en-US" dirty="0"/>
          </a:p>
          <a:p>
            <a:pPr marL="457200" indent="-457200" algn="just">
              <a:buFont typeface="Arial" pitchFamily="34" charset="0"/>
              <a:buChar char="•"/>
            </a:pPr>
            <a:endParaRPr lang="en-US" dirty="0" smtClean="0"/>
          </a:p>
          <a:p>
            <a:pPr algn="just"/>
            <a:endParaRPr lang="en-US" dirty="0" smtClean="0"/>
          </a:p>
          <a:p>
            <a:pPr marL="457200" indent="-457200" algn="just">
              <a:buFont typeface="Arial" pitchFamily="34" charset="0"/>
              <a:buChar char="•"/>
            </a:pP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700576"/>
              </p:ext>
            </p:extLst>
          </p:nvPr>
        </p:nvGraphicFramePr>
        <p:xfrm>
          <a:off x="0" y="548680"/>
          <a:ext cx="8784976" cy="60589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7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9634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23224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80831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57024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S. </a:t>
                      </a:r>
                      <a:r>
                        <a:rPr lang="en-US" sz="2000" dirty="0" smtClean="0"/>
                        <a:t>No.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Item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2016-17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2017-18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27152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Monitoring by CWC/NITI Aayog/NABARD/PMU through field visits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200+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180+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56631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Review at  Ministers Level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Oct.,16. </a:t>
                      </a:r>
                      <a:r>
                        <a:rPr lang="en-US" sz="2000" baseline="0" dirty="0" smtClean="0">
                          <a:solidFill>
                            <a:schemeClr val="tx1"/>
                          </a:solidFill>
                        </a:rPr>
                        <a:t> &amp; Nov.,16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May, 17/</a:t>
                      </a:r>
                      <a:r>
                        <a:rPr lang="en-US" sz="2000" baseline="0" dirty="0" smtClean="0">
                          <a:solidFill>
                            <a:schemeClr val="tx1"/>
                          </a:solidFill>
                        </a:rPr>
                        <a:t>Oct 24-25/Nov,17/Feb,18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227614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Review  at Secretary Level 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tx1"/>
                          </a:solidFill>
                        </a:rPr>
                        <a:t>Regular Review </a:t>
                      </a:r>
                    </a:p>
                    <a:p>
                      <a:pPr algn="ctr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(with all States-Sept,16  &amp;  Feb,17)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(Video Conferencing /meetings with States/CWC - April, 17,  July, 17, 7</a:t>
                      </a:r>
                      <a:r>
                        <a:rPr lang="en-US" sz="2000" baseline="30000" dirty="0" smtClean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 Sept,17, Feb,18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56631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Review by PMKSY Council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Oct.,16.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May,17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56631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r>
                        <a:rPr lang="en-US" sz="20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 in</a:t>
                      </a:r>
                      <a:r>
                        <a:rPr lang="en-US" sz="20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dirty="0" err="1" smtClean="0">
                          <a:solidFill>
                            <a:schemeClr val="tx1"/>
                          </a:solidFill>
                        </a:rPr>
                        <a:t>Jal</a:t>
                      </a:r>
                      <a:r>
                        <a:rPr lang="en-US" sz="2000" b="1" dirty="0" smtClean="0">
                          <a:solidFill>
                            <a:schemeClr val="tx1"/>
                          </a:solidFill>
                        </a:rPr>
                        <a:t> Manthan-4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8-07-17</a:t>
                      </a:r>
                      <a:endParaRPr lang="en-US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90696">
                <a:tc gridSpan="4">
                  <a:txBody>
                    <a:bodyPr/>
                    <a:lstStyle/>
                    <a:p>
                      <a:pPr marL="61913" lvl="1" indent="0" algn="just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sz="2000" b="1" dirty="0" smtClean="0">
                          <a:solidFill>
                            <a:schemeClr val="tx2"/>
                          </a:solidFill>
                        </a:rPr>
                        <a:t>Progress reviewed by PS to PM (3-11-2016 , 17-3-2017,</a:t>
                      </a:r>
                      <a:r>
                        <a:rPr lang="en-US" sz="2000" b="1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2000" b="1" dirty="0" smtClean="0">
                          <a:solidFill>
                            <a:schemeClr val="tx2"/>
                          </a:solidFill>
                        </a:rPr>
                        <a:t>4-8-17,</a:t>
                      </a:r>
                      <a:r>
                        <a:rPr lang="en-US" sz="2000" b="1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2000" b="1" dirty="0" smtClean="0">
                          <a:solidFill>
                            <a:schemeClr val="tx2"/>
                          </a:solidFill>
                        </a:rPr>
                        <a:t>10-10-17 &amp; 04-11-17) and Hon’ble PM also reviewed the progress (30-3-2017).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800" kern="1200" dirty="0">
                        <a:solidFill>
                          <a:srgbClr val="00009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5333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6531" y="0"/>
            <a:ext cx="7772400" cy="650503"/>
          </a:xfrm>
        </p:spPr>
        <p:txBody>
          <a:bodyPr/>
          <a:lstStyle/>
          <a:p>
            <a:r>
              <a:rPr lang="en-US" sz="3200" b="1" dirty="0" smtClean="0">
                <a:solidFill>
                  <a:srgbClr val="FF0000"/>
                </a:solidFill>
              </a:rPr>
              <a:t> </a:t>
            </a:r>
            <a:r>
              <a:rPr lang="en-US" sz="3200" b="1" dirty="0" smtClean="0"/>
              <a:t>INNOVATIVE MEASURES</a:t>
            </a:r>
            <a:endParaRPr lang="en-US" sz="32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1560" y="692696"/>
            <a:ext cx="8208912" cy="5733256"/>
          </a:xfrm>
        </p:spPr>
        <p:txBody>
          <a:bodyPr/>
          <a:lstStyle/>
          <a:p>
            <a:pPr marL="342900" indent="-342900" algn="just">
              <a:buFont typeface="Arial" pitchFamily="34" charset="0"/>
              <a:buChar char="•"/>
            </a:pPr>
            <a:r>
              <a:rPr lang="en-US" altLang="en-US" sz="2400" dirty="0" smtClean="0">
                <a:solidFill>
                  <a:schemeClr val="accent1">
                    <a:lumMod val="75000"/>
                  </a:schemeClr>
                </a:solidFill>
              </a:rPr>
              <a:t>Adoption </a:t>
            </a:r>
            <a:r>
              <a:rPr lang="en-US" altLang="en-US" sz="2400" dirty="0">
                <a:solidFill>
                  <a:schemeClr val="accent1">
                    <a:lumMod val="75000"/>
                  </a:schemeClr>
                </a:solidFill>
              </a:rPr>
              <a:t>of  Piped Distribution Network (PDN) to reduce the Land </a:t>
            </a:r>
            <a:r>
              <a:rPr lang="en-US" altLang="en-US" sz="2400" dirty="0" smtClean="0">
                <a:solidFill>
                  <a:schemeClr val="accent1">
                    <a:lumMod val="75000"/>
                  </a:schemeClr>
                </a:solidFill>
              </a:rPr>
              <a:t>Acquisition.</a:t>
            </a:r>
          </a:p>
          <a:p>
            <a:pPr marL="342900" indent="-342900" algn="just">
              <a:buFont typeface="Arial" pitchFamily="34" charset="0"/>
              <a:buChar char="•"/>
            </a:pPr>
            <a:endParaRPr lang="en-US" alt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0" lvl="2" algn="just">
              <a:spcBef>
                <a:spcPts val="0"/>
              </a:spcBef>
              <a:tabLst>
                <a:tab pos="341313" algn="l"/>
                <a:tab pos="1028700" algn="l"/>
              </a:tabLst>
            </a:pPr>
            <a:endParaRPr lang="en-US" altLang="en-US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341313" lvl="2" indent="-341313" algn="just">
              <a:spcBef>
                <a:spcPts val="2400"/>
              </a:spcBef>
              <a:buFont typeface="Arial" pitchFamily="34" charset="0"/>
              <a:buChar char="•"/>
              <a:tabLst>
                <a:tab pos="341313" algn="l"/>
                <a:tab pos="1028700" algn="l"/>
              </a:tabLst>
            </a:pPr>
            <a:endParaRPr lang="en-US" altLang="en-US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341313" lvl="2" indent="-341313" algn="just">
              <a:spcBef>
                <a:spcPts val="600"/>
              </a:spcBef>
              <a:buFont typeface="Arial" pitchFamily="34" charset="0"/>
              <a:buChar char="•"/>
              <a:tabLst>
                <a:tab pos="341313" algn="l"/>
                <a:tab pos="1028700" algn="l"/>
              </a:tabLst>
            </a:pPr>
            <a:r>
              <a:rPr lang="en-US" altLang="en-US" dirty="0" smtClean="0">
                <a:solidFill>
                  <a:schemeClr val="accent1">
                    <a:lumMod val="75000"/>
                  </a:schemeClr>
                </a:solidFill>
              </a:rPr>
              <a:t>Guidelines for Piped Irrigation Network prepared and circulated to the States</a:t>
            </a:r>
          </a:p>
          <a:p>
            <a:pPr marL="347663" lvl="3" indent="-347663" algn="just">
              <a:spcBef>
                <a:spcPts val="600"/>
              </a:spcBef>
              <a:buFont typeface="Arial" pitchFamily="34" charset="0"/>
              <a:buChar char="•"/>
              <a:tabLst>
                <a:tab pos="347663" algn="l"/>
              </a:tabLst>
            </a:pPr>
            <a:r>
              <a:rPr lang="en-US" altLang="en-US" sz="2400" dirty="0" smtClean="0">
                <a:solidFill>
                  <a:schemeClr val="accent1">
                    <a:lumMod val="75000"/>
                  </a:schemeClr>
                </a:solidFill>
              </a:rPr>
              <a:t>Workshop on the “ Use of Large Diameter Pipelines for Mega Water Conveyance Projects” held on 09.03.2017</a:t>
            </a:r>
          </a:p>
          <a:p>
            <a:pPr marL="341313" lvl="2" indent="-341313" algn="just">
              <a:spcBef>
                <a:spcPts val="600"/>
              </a:spcBef>
              <a:buFont typeface="Arial" pitchFamily="34" charset="0"/>
              <a:buChar char="•"/>
              <a:tabLst>
                <a:tab pos="341313" algn="l"/>
                <a:tab pos="1028700" algn="l"/>
              </a:tabLst>
            </a:pPr>
            <a:r>
              <a:rPr lang="en-US" altLang="en-US" dirty="0">
                <a:solidFill>
                  <a:schemeClr val="accent1">
                    <a:lumMod val="75000"/>
                  </a:schemeClr>
                </a:solidFill>
              </a:rPr>
              <a:t>Special Provision for RR by Maharashtra (</a:t>
            </a:r>
            <a:r>
              <a:rPr lang="en-US" altLang="en-US" dirty="0" err="1">
                <a:solidFill>
                  <a:schemeClr val="accent1">
                    <a:lumMod val="75000"/>
                  </a:schemeClr>
                </a:solidFill>
              </a:rPr>
              <a:t>Goshikhurd</a:t>
            </a:r>
            <a:r>
              <a:rPr lang="en-US" altLang="en-US" dirty="0">
                <a:solidFill>
                  <a:schemeClr val="accent1">
                    <a:lumMod val="75000"/>
                  </a:schemeClr>
                </a:solidFill>
              </a:rPr>
              <a:t> &amp; </a:t>
            </a:r>
            <a:r>
              <a:rPr lang="en-US" altLang="en-US" dirty="0" err="1">
                <a:solidFill>
                  <a:schemeClr val="accent1">
                    <a:lumMod val="75000"/>
                  </a:schemeClr>
                </a:solidFill>
              </a:rPr>
              <a:t>Nandur</a:t>
            </a:r>
            <a:r>
              <a:rPr lang="en-US" altLang="en-US" dirty="0">
                <a:solidFill>
                  <a:schemeClr val="accent1">
                    <a:lumMod val="75000"/>
                  </a:schemeClr>
                </a:solidFill>
              </a:rPr>
              <a:t> Projects) and for faster land acquisition by </a:t>
            </a:r>
            <a:r>
              <a:rPr lang="en-US" altLang="en-US" dirty="0" err="1" smtClean="0">
                <a:solidFill>
                  <a:schemeClr val="accent1">
                    <a:lumMod val="75000"/>
                  </a:schemeClr>
                </a:solidFill>
              </a:rPr>
              <a:t>Odisha</a:t>
            </a:r>
            <a:r>
              <a:rPr lang="en-US" altLang="en-US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  <a:p>
            <a:pPr marL="341313" lvl="2" indent="-341313" algn="just">
              <a:spcBef>
                <a:spcPts val="600"/>
              </a:spcBef>
              <a:buFont typeface="Arial" pitchFamily="34" charset="0"/>
              <a:buChar char="•"/>
              <a:tabLst>
                <a:tab pos="341313" algn="l"/>
                <a:tab pos="1028700" algn="l"/>
              </a:tabLst>
            </a:pPr>
            <a:r>
              <a:rPr lang="en-US" altLang="en-US" dirty="0" smtClean="0">
                <a:solidFill>
                  <a:schemeClr val="accent1">
                    <a:lumMod val="75000"/>
                  </a:schemeClr>
                </a:solidFill>
              </a:rPr>
              <a:t>MIS Dashboard fully functional. State/ CWC nodal officers for each project identified and all user IDs are active.</a:t>
            </a:r>
            <a:endParaRPr lang="en-US" altLang="en-US" dirty="0">
              <a:solidFill>
                <a:schemeClr val="accent1">
                  <a:lumMod val="75000"/>
                </a:schemeClr>
              </a:solidFill>
            </a:endParaRPr>
          </a:p>
          <a:p>
            <a:pPr marL="341313" lvl="2" indent="-341313" algn="just">
              <a:spcBef>
                <a:spcPts val="600"/>
              </a:spcBef>
              <a:buFont typeface="Arial" pitchFamily="34" charset="0"/>
              <a:buChar char="•"/>
              <a:tabLst>
                <a:tab pos="341313" algn="l"/>
                <a:tab pos="1028700" algn="l"/>
              </a:tabLst>
            </a:pPr>
            <a:endParaRPr lang="en-US" altLang="en-US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1768475" lvl="2" algn="just">
              <a:spcBef>
                <a:spcPts val="2400"/>
              </a:spcBef>
            </a:pPr>
            <a:endParaRPr lang="en-US" b="1" dirty="0">
              <a:solidFill>
                <a:srgbClr val="0000CC"/>
              </a:solidFill>
            </a:endParaRPr>
          </a:p>
          <a:p>
            <a:pPr algn="just"/>
            <a:endParaRPr lang="en-US" altLang="en-US" sz="2000" dirty="0" smtClean="0">
              <a:solidFill>
                <a:srgbClr val="0000CC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en-US" altLang="en-US" sz="2000" dirty="0" smtClean="0">
              <a:solidFill>
                <a:srgbClr val="0000CC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en-US" altLang="en-US" sz="2000" dirty="0" smtClean="0">
              <a:solidFill>
                <a:srgbClr val="0000CC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en-US" sz="2400" dirty="0" smtClean="0">
                <a:cs typeface="Arial" panose="020B0604020202020204" pitchFamily="34" charset="0"/>
              </a:rPr>
              <a:t>.</a:t>
            </a:r>
          </a:p>
          <a:p>
            <a:pPr algn="just"/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90F4085-0D29-4570-9D04-D87922A368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98771" y="1330926"/>
            <a:ext cx="1440160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42976" y="1663671"/>
            <a:ext cx="573328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lvl="2" algn="just">
              <a:spcBef>
                <a:spcPts val="2400"/>
              </a:spcBef>
              <a:tabLst>
                <a:tab pos="627063" algn="l"/>
                <a:tab pos="1028700" algn="l"/>
              </a:tabLst>
            </a:pPr>
            <a:r>
              <a:rPr lang="en-US" altLang="en-US" sz="2000" dirty="0">
                <a:solidFill>
                  <a:schemeClr val="accent1">
                    <a:lumMod val="50000"/>
                  </a:schemeClr>
                </a:solidFill>
                <a:latin typeface="Calibri"/>
              </a:rPr>
              <a:t>In </a:t>
            </a:r>
            <a:r>
              <a:rPr lang="en-US" altLang="en-US" sz="2000" dirty="0" err="1">
                <a:solidFill>
                  <a:schemeClr val="accent1">
                    <a:lumMod val="50000"/>
                  </a:schemeClr>
                </a:solidFill>
                <a:latin typeface="Calibri"/>
              </a:rPr>
              <a:t>Odisha</a:t>
            </a:r>
            <a:r>
              <a:rPr lang="en-US" altLang="en-US" sz="2000" dirty="0">
                <a:solidFill>
                  <a:schemeClr val="accent1">
                    <a:lumMod val="50000"/>
                  </a:schemeClr>
                </a:solidFill>
                <a:latin typeface="Calibri"/>
              </a:rPr>
              <a:t> &amp; Maharashtra, Land acquisition </a:t>
            </a:r>
            <a:r>
              <a:rPr lang="en-US" altLang="en-US" sz="2000" dirty="0" smtClean="0">
                <a:solidFill>
                  <a:schemeClr val="accent1">
                    <a:lumMod val="50000"/>
                  </a:schemeClr>
                </a:solidFill>
                <a:latin typeface="Calibri"/>
              </a:rPr>
              <a:t>of 2970 </a:t>
            </a:r>
            <a:r>
              <a:rPr lang="en-US" altLang="en-US" sz="2000" dirty="0">
                <a:solidFill>
                  <a:schemeClr val="accent1">
                    <a:lumMod val="50000"/>
                  </a:schemeClr>
                </a:solidFill>
                <a:latin typeface="Calibri"/>
              </a:rPr>
              <a:t>ha &amp; 2060 ha avoided in distribution </a:t>
            </a:r>
            <a:r>
              <a:rPr lang="en-US" altLang="en-US" sz="2000" dirty="0" smtClean="0">
                <a:solidFill>
                  <a:schemeClr val="accent1">
                    <a:lumMod val="50000"/>
                  </a:schemeClr>
                </a:solidFill>
                <a:latin typeface="Calibri"/>
              </a:rPr>
              <a:t>system </a:t>
            </a:r>
            <a:r>
              <a:rPr lang="en-US" altLang="en-US" sz="2000" dirty="0">
                <a:solidFill>
                  <a:schemeClr val="accent1">
                    <a:lumMod val="50000"/>
                  </a:schemeClr>
                </a:solidFill>
                <a:latin typeface="Calibri"/>
              </a:rPr>
              <a:t>by adopting  underground PDN- </a:t>
            </a:r>
            <a:r>
              <a:rPr lang="en-US" altLang="en-US" sz="2000" dirty="0" err="1">
                <a:solidFill>
                  <a:schemeClr val="accent1">
                    <a:lumMod val="50000"/>
                  </a:schemeClr>
                </a:solidFill>
                <a:latin typeface="Calibri"/>
              </a:rPr>
              <a:t>Appx</a:t>
            </a:r>
            <a:r>
              <a:rPr lang="en-US" altLang="en-US" sz="2000" dirty="0">
                <a:solidFill>
                  <a:schemeClr val="accent1">
                    <a:lumMod val="50000"/>
                  </a:schemeClr>
                </a:solidFill>
                <a:latin typeface="Calibri"/>
              </a:rPr>
              <a:t> cost saving- </a:t>
            </a:r>
            <a:r>
              <a:rPr lang="en-US" altLang="en-US" sz="2000" b="1" dirty="0" err="1">
                <a:solidFill>
                  <a:schemeClr val="accent1">
                    <a:lumMod val="50000"/>
                  </a:schemeClr>
                </a:solidFill>
                <a:latin typeface="Calibri"/>
              </a:rPr>
              <a:t>Rs</a:t>
            </a:r>
            <a:r>
              <a:rPr lang="en-US" altLang="en-US" sz="2000" b="1" dirty="0">
                <a:solidFill>
                  <a:schemeClr val="accent1">
                    <a:lumMod val="50000"/>
                  </a:schemeClr>
                </a:solidFill>
                <a:latin typeface="Calibri"/>
              </a:rPr>
              <a:t>. 1050 cr</a:t>
            </a:r>
            <a:r>
              <a:rPr lang="en-US" altLang="en-US" sz="2000" dirty="0" smtClean="0">
                <a:solidFill>
                  <a:schemeClr val="accent1">
                    <a:lumMod val="50000"/>
                  </a:schemeClr>
                </a:solidFill>
                <a:latin typeface="Calibri"/>
              </a:rPr>
              <a:t>. MP also using PDN extensively.</a:t>
            </a:r>
          </a:p>
        </p:txBody>
      </p:sp>
    </p:spTree>
    <p:extLst>
      <p:ext uri="{BB962C8B-B14F-4D97-AF65-F5344CB8AC3E}">
        <p14:creationId xmlns:p14="http://schemas.microsoft.com/office/powerpoint/2010/main" val="3969314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706090"/>
          </a:xfrm>
        </p:spPr>
        <p:txBody>
          <a:bodyPr>
            <a:normAutofit fontScale="90000"/>
          </a:bodyPr>
          <a:lstStyle/>
          <a:p>
            <a:r>
              <a:rPr lang="en-IN" dirty="0" smtClean="0"/>
              <a:t>PMKSY-AIBP Dashboard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124744"/>
            <a:ext cx="8194068" cy="5370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30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294.875"/>
  <p:tag name="ORIGTOP" val="133.125"/>
  <p:tag name="ORIGHEIGHT" val="2.25"/>
  <p:tag name="ORIGWIDTH" val="3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Office Theme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Diseño predeterminado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redeterminad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iseño predeterminado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50</TotalTime>
  <Words>3117</Words>
  <Application>Microsoft Office PowerPoint</Application>
  <PresentationFormat>On-screen Show (4:3)</PresentationFormat>
  <Paragraphs>1550</Paragraphs>
  <Slides>35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45" baseType="lpstr">
      <vt:lpstr>Office Theme</vt:lpstr>
      <vt:lpstr>2_Office Theme</vt:lpstr>
      <vt:lpstr>3_Office Theme</vt:lpstr>
      <vt:lpstr>4_Office Theme</vt:lpstr>
      <vt:lpstr>5_Office Theme</vt:lpstr>
      <vt:lpstr>1_Office Theme</vt:lpstr>
      <vt:lpstr>7_Office Theme</vt:lpstr>
      <vt:lpstr>Diseño predeterminado</vt:lpstr>
      <vt:lpstr>think-cell Slide</vt:lpstr>
      <vt:lpstr>Microsoft Excel Chart</vt:lpstr>
      <vt:lpstr>PowerPoint Presentation</vt:lpstr>
      <vt:lpstr>Challenges  -  Irrigation  Sector:</vt:lpstr>
      <vt:lpstr>Pradhan Mantri Krishi Sinchayee Yojana</vt:lpstr>
      <vt:lpstr>Pradhan Mantri Krishi Sinchayee Yojana</vt:lpstr>
      <vt:lpstr>99 ongoing projects with CAD – completion by 2019 with Long Term Irrigation Fund (LTIF) in NABARD</vt:lpstr>
      <vt:lpstr>Progress of Prioritized Projects- AIBP</vt:lpstr>
      <vt:lpstr>Monitoring &amp; Review of projects</vt:lpstr>
      <vt:lpstr> INNOVATIVE MEASURES</vt:lpstr>
      <vt:lpstr>PMKSY-AIBP Dashboard</vt:lpstr>
      <vt:lpstr>PowerPoint Presentation</vt:lpstr>
      <vt:lpstr>Overall Funds released during 2016-17 &amp; 2017-18</vt:lpstr>
      <vt:lpstr>PowerPoint Presentation</vt:lpstr>
      <vt:lpstr>PowerPoint Presentation</vt:lpstr>
      <vt:lpstr>PMKSY-AIBP State performance</vt:lpstr>
      <vt:lpstr>Status of HKKP (SMI &amp; RRR)</vt:lpstr>
      <vt:lpstr>PowerPoint Presentation</vt:lpstr>
      <vt:lpstr>PowerPoint Presentation</vt:lpstr>
      <vt:lpstr>PMKSY-Per Drop More Crop  Physical Progress (Up to 07.03.2018)</vt:lpstr>
      <vt:lpstr>PMKSY-Per Drop More Crop  Financial Progress (Up to 20.09.2017)</vt:lpstr>
      <vt:lpstr>CONVERGENCE WITH MGNREGS</vt:lpstr>
      <vt:lpstr>PMKSY – Contributions From MGNREG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b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FORMANCE OF AIBP</dc:title>
  <dc:creator>SJCPR</dc:creator>
  <cp:lastModifiedBy>CommPR</cp:lastModifiedBy>
  <cp:revision>800</cp:revision>
  <cp:lastPrinted>2017-01-12T14:40:42Z</cp:lastPrinted>
  <dcterms:created xsi:type="dcterms:W3CDTF">2007-06-17T10:53:34Z</dcterms:created>
  <dcterms:modified xsi:type="dcterms:W3CDTF">2018-03-13T07:04:06Z</dcterms:modified>
</cp:coreProperties>
</file>